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58" r:id="rId2"/>
    <p:sldMasterId id="2147483817" r:id="rId3"/>
    <p:sldMasterId id="2147483839" r:id="rId4"/>
  </p:sldMasterIdLst>
  <p:notesMasterIdLst>
    <p:notesMasterId r:id="rId12"/>
  </p:notesMasterIdLst>
  <p:sldIdLst>
    <p:sldId id="2147483558" r:id="rId5"/>
    <p:sldId id="259" r:id="rId6"/>
    <p:sldId id="2147483647" r:id="rId7"/>
    <p:sldId id="2147483646" r:id="rId8"/>
    <p:sldId id="258" r:id="rId9"/>
    <p:sldId id="260" r:id="rId10"/>
    <p:sldId id="214748364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02"/>
    <p:restoredTop sz="94748"/>
  </p:normalViewPr>
  <p:slideViewPr>
    <p:cSldViewPr snapToGrid="0">
      <p:cViewPr varScale="1">
        <p:scale>
          <a:sx n="96" d="100"/>
          <a:sy n="96" d="100"/>
        </p:scale>
        <p:origin x="776" y="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A0521B-4D58-4D4C-B23A-1868665267FC}" type="datetimeFigureOut">
              <a:rPr lang="en-US" smtClean="0"/>
              <a:t>4/27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E3BBF7-A9B5-5D40-B77E-97909931FF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88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B588D8-C966-DC9A-1F7A-8C01D0CBCB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8F0501C-2D16-31C3-4AA7-D237EFF4AB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A5DF919-17BD-9D18-FC35-07F33BF2DD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3094B90-1FCE-3497-CDA3-6AF06ED3FD4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s-E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</a:t>
            </a:fld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86235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9701C-1D51-5348-8FA7-B7B2A77811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15640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ABD6E-888A-5C01-A147-437B94376C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8212F4D-B410-5419-865E-E87DFF658F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EFB2F70-1546-F07D-A836-0101D8D97A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E036C05-F8E8-4072-9C17-55B12E1A1CE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s-E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6</a:t>
            </a:fld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4428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3" Type="http://schemas.openxmlformats.org/officeDocument/2006/relationships/image" Target="../media/image4.jpeg"/><Relationship Id="rId21" Type="http://schemas.openxmlformats.org/officeDocument/2006/relationships/image" Target="../media/image49.pn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10" Type="http://schemas.openxmlformats.org/officeDocument/2006/relationships/image" Target="../media/image5.jpeg"/><Relationship Id="rId4" Type="http://schemas.openxmlformats.org/officeDocument/2006/relationships/image" Target="../media/image24.png"/><Relationship Id="rId9" Type="http://schemas.openxmlformats.org/officeDocument/2006/relationships/image" Target="../media/image52.jpeg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3" Type="http://schemas.openxmlformats.org/officeDocument/2006/relationships/hyperlink" Target="https://www.namirial.com/en/namirial-acquisition-netheos/" TargetMode="External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" Type="http://schemas.openxmlformats.org/officeDocument/2006/relationships/image" Target="../media/image57.png"/><Relationship Id="rId16" Type="http://schemas.openxmlformats.org/officeDocument/2006/relationships/image" Target="../media/image6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11" Type="http://schemas.openxmlformats.org/officeDocument/2006/relationships/image" Target="../media/image63.png"/><Relationship Id="rId5" Type="http://schemas.openxmlformats.org/officeDocument/2006/relationships/hyperlink" Target="https://www.namirial.com/en/ambienta-acquisition-bit4id-integration-namirial-platform/" TargetMode="External"/><Relationship Id="rId15" Type="http://schemas.openxmlformats.org/officeDocument/2006/relationships/image" Target="../media/image67.png"/><Relationship Id="rId10" Type="http://schemas.openxmlformats.org/officeDocument/2006/relationships/image" Target="../media/image62.png"/><Relationship Id="rId4" Type="http://schemas.openxmlformats.org/officeDocument/2006/relationships/hyperlink" Target="https://www.namirial.com/en/namirial-acquisition-evicertia/" TargetMode="External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10" Type="http://schemas.openxmlformats.org/officeDocument/2006/relationships/image" Target="../media/image5.jpeg"/><Relationship Id="rId4" Type="http://schemas.openxmlformats.org/officeDocument/2006/relationships/image" Target="../media/image24.png"/><Relationship Id="rId9" Type="http://schemas.openxmlformats.org/officeDocument/2006/relationships/image" Target="../media/image29.jpe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75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76.emf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 preserve="1" userDrawn="1">
  <p:cSld name="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D8B54FD-DBEF-24FD-3527-07999DE020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662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B54FD-DBEF-24FD-3527-07999DE02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4" name="Google Shape;454;p14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200">
                <a:latin typeface="+mj-lt"/>
                <a:ea typeface="Open Sans" panose="020B0606030504020204" pitchFamily="34" charset="0"/>
                <a:cs typeface="Open Sans" panose="020B0606030504020204" pitchFamily="34" charset="0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36;p5">
            <a:extLst>
              <a:ext uri="{FF2B5EF4-FFF2-40B4-BE49-F238E27FC236}">
                <a16:creationId xmlns:a16="http://schemas.microsoft.com/office/drawing/2014/main" id="{05A21437-59F7-929B-A279-86CA21F163CA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1184856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670183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+ Subtext">
  <p:cSld name="V2 Headline + Subtext"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D8AB8F9-6ADC-0486-7BF0-E924990841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075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8AB8F9-6ADC-0486-7BF0-E92499084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9" name="Google Shape;459;p16"/>
          <p:cNvSpPr txBox="1">
            <a:spLocks noGrp="1"/>
          </p:cNvSpPr>
          <p:nvPr>
            <p:ph type="ctrTitle"/>
          </p:nvPr>
        </p:nvSpPr>
        <p:spPr>
          <a:xfrm>
            <a:off x="1" y="2150470"/>
            <a:ext cx="12266022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>
            <a:lvl1pPr lvl="0" algn="ctr">
              <a:spcBef>
                <a:spcPct val="0"/>
              </a:spcBef>
              <a:spcAft>
                <a:spcPct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0" name="Google Shape;460;p16"/>
          <p:cNvSpPr txBox="1">
            <a:spLocks noGrp="1"/>
          </p:cNvSpPr>
          <p:nvPr>
            <p:ph type="body" idx="1"/>
          </p:nvPr>
        </p:nvSpPr>
        <p:spPr>
          <a:xfrm>
            <a:off x="3410094" y="2850423"/>
            <a:ext cx="5207954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3483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6509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4210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51803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34722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956657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502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712375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73537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7126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3713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Two Speakers">
  <p:cSld name="V1 Two Speakers">
    <p:spTree>
      <p:nvGrpSpPr>
        <p:cNvPr id="1" name="Shape 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Google Shape;479;p20"/>
          <p:cNvSpPr/>
          <p:nvPr/>
        </p:nvSpPr>
        <p:spPr>
          <a:xfrm>
            <a:off x="0" y="-60385"/>
            <a:ext cx="12192000" cy="202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0" name="Google Shape;480;p20"/>
          <p:cNvSpPr txBox="1">
            <a:spLocks noGrp="1"/>
          </p:cNvSpPr>
          <p:nvPr>
            <p:ph type="body" idx="1"/>
          </p:nvPr>
        </p:nvSpPr>
        <p:spPr>
          <a:xfrm>
            <a:off x="2456997" y="2898030"/>
            <a:ext cx="2783514" cy="419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 b="1" i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" name="Google Shape;481;p20"/>
          <p:cNvSpPr txBox="1">
            <a:spLocks noGrp="1"/>
          </p:cNvSpPr>
          <p:nvPr>
            <p:ph type="body" idx="2"/>
          </p:nvPr>
        </p:nvSpPr>
        <p:spPr>
          <a:xfrm>
            <a:off x="2456997" y="3394621"/>
            <a:ext cx="2783514" cy="236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" name="Google Shape;482;p20"/>
          <p:cNvSpPr txBox="1">
            <a:spLocks noGrp="1"/>
          </p:cNvSpPr>
          <p:nvPr>
            <p:ph type="body" idx="3"/>
          </p:nvPr>
        </p:nvSpPr>
        <p:spPr>
          <a:xfrm>
            <a:off x="2456997" y="3906851"/>
            <a:ext cx="2783514" cy="83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20"/>
          <p:cNvSpPr>
            <a:spLocks noGrp="1"/>
          </p:cNvSpPr>
          <p:nvPr>
            <p:ph type="pic" idx="4"/>
          </p:nvPr>
        </p:nvSpPr>
        <p:spPr>
          <a:xfrm>
            <a:off x="3055790" y="1117284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484" name="Google Shape;484;p20"/>
          <p:cNvSpPr txBox="1">
            <a:spLocks noGrp="1"/>
          </p:cNvSpPr>
          <p:nvPr>
            <p:ph type="body" idx="5"/>
          </p:nvPr>
        </p:nvSpPr>
        <p:spPr>
          <a:xfrm>
            <a:off x="6951489" y="2898030"/>
            <a:ext cx="2783514" cy="419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 b="1" i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5" name="Google Shape;485;p20"/>
          <p:cNvSpPr txBox="1">
            <a:spLocks noGrp="1"/>
          </p:cNvSpPr>
          <p:nvPr>
            <p:ph type="body" idx="6"/>
          </p:nvPr>
        </p:nvSpPr>
        <p:spPr>
          <a:xfrm>
            <a:off x="6951489" y="3394621"/>
            <a:ext cx="2783514" cy="236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6" name="Google Shape;486;p20"/>
          <p:cNvSpPr txBox="1">
            <a:spLocks noGrp="1"/>
          </p:cNvSpPr>
          <p:nvPr>
            <p:ph type="body" idx="7"/>
          </p:nvPr>
        </p:nvSpPr>
        <p:spPr>
          <a:xfrm>
            <a:off x="6951489" y="3906851"/>
            <a:ext cx="2783514" cy="83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7" name="Google Shape;487;p20"/>
          <p:cNvSpPr>
            <a:spLocks noGrp="1"/>
          </p:cNvSpPr>
          <p:nvPr>
            <p:ph type="pic" idx="8"/>
          </p:nvPr>
        </p:nvSpPr>
        <p:spPr>
          <a:xfrm>
            <a:off x="7550282" y="1117284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530845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80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8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485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4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486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77817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9504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893059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2422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34799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135808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02228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92035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+ Subline">
  <p:cSld name="V2 Headline + Subline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86"/>
          <p:cNvSpPr txBox="1">
            <a:spLocks noGrp="1"/>
          </p:cNvSpPr>
          <p:nvPr>
            <p:ph type="ctrTitle"/>
          </p:nvPr>
        </p:nvSpPr>
        <p:spPr>
          <a:xfrm>
            <a:off x="1" y="2545621"/>
            <a:ext cx="12266022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86"/>
          <p:cNvSpPr txBox="1">
            <a:spLocks noGrp="1"/>
          </p:cNvSpPr>
          <p:nvPr>
            <p:ph type="body" idx="1"/>
          </p:nvPr>
        </p:nvSpPr>
        <p:spPr>
          <a:xfrm>
            <a:off x="0" y="3245574"/>
            <a:ext cx="12192000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81015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 Slide">
  <p:cSld name="1 Column Slide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24bb22cb5cf_0_292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" name="Google Shape;214;g24bb22cb5cf_0_2926"/>
          <p:cNvSpPr txBox="1">
            <a:spLocks noGrp="1"/>
          </p:cNvSpPr>
          <p:nvPr>
            <p:ph type="body" idx="1"/>
          </p:nvPr>
        </p:nvSpPr>
        <p:spPr>
          <a:xfrm>
            <a:off x="492120" y="1479471"/>
            <a:ext cx="11180700" cy="408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4546A"/>
                </a:solidFill>
              </a:defRPr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>
                <a:solidFill>
                  <a:srgbClr val="44546A"/>
                </a:solidFill>
              </a:defRPr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>
                <a:solidFill>
                  <a:srgbClr val="44546A"/>
                </a:solidFill>
              </a:defRPr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>
                <a:solidFill>
                  <a:srgbClr val="44546A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19859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Heritage Organisation Base">
  <p:cSld name="V2 Namirial Heritage Organisation Base"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24E20C-A784-2C8D-72D2-D49A9604F8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237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4E20C-A784-2C8D-72D2-D49A9604F8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9" name="Google Shape;489;p21"/>
          <p:cNvSpPr txBox="1"/>
          <p:nvPr/>
        </p:nvSpPr>
        <p:spPr>
          <a:xfrm>
            <a:off x="1312313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0" name="Google Shape;490;p21"/>
          <p:cNvSpPr txBox="1"/>
          <p:nvPr/>
        </p:nvSpPr>
        <p:spPr>
          <a:xfrm>
            <a:off x="489332" y="941474"/>
            <a:ext cx="9506249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500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From Namirial </a:t>
            </a:r>
            <a:r>
              <a:rPr lang="en-US" sz="150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Heritage Organisation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1" name="Google Shape;491;p21"/>
          <p:cNvSpPr>
            <a:spLocks noGrp="1"/>
          </p:cNvSpPr>
          <p:nvPr>
            <p:ph type="pic" idx="2"/>
          </p:nvPr>
        </p:nvSpPr>
        <p:spPr>
          <a:xfrm>
            <a:off x="1518085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492" name="Google Shape;492;p21"/>
          <p:cNvSpPr txBox="1"/>
          <p:nvPr/>
        </p:nvSpPr>
        <p:spPr>
          <a:xfrm>
            <a:off x="3709616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3" name="Google Shape;493;p21"/>
          <p:cNvSpPr>
            <a:spLocks noGrp="1"/>
          </p:cNvSpPr>
          <p:nvPr>
            <p:ph type="pic" idx="3"/>
          </p:nvPr>
        </p:nvSpPr>
        <p:spPr>
          <a:xfrm>
            <a:off x="3915388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494" name="Google Shape;494;p21"/>
          <p:cNvSpPr txBox="1"/>
          <p:nvPr/>
        </p:nvSpPr>
        <p:spPr>
          <a:xfrm>
            <a:off x="6106919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5" name="Google Shape;495;p21"/>
          <p:cNvSpPr>
            <a:spLocks noGrp="1"/>
          </p:cNvSpPr>
          <p:nvPr>
            <p:ph type="pic" idx="4"/>
          </p:nvPr>
        </p:nvSpPr>
        <p:spPr>
          <a:xfrm>
            <a:off x="6312691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496" name="Google Shape;496;p21"/>
          <p:cNvSpPr txBox="1"/>
          <p:nvPr/>
        </p:nvSpPr>
        <p:spPr>
          <a:xfrm>
            <a:off x="8709994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7" name="Google Shape;497;p21"/>
          <p:cNvSpPr>
            <a:spLocks noGrp="1"/>
          </p:cNvSpPr>
          <p:nvPr>
            <p:ph type="pic" idx="5"/>
          </p:nvPr>
        </p:nvSpPr>
        <p:spPr>
          <a:xfrm>
            <a:off x="8915766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498" name="Google Shape;498;p21"/>
          <p:cNvSpPr txBox="1"/>
          <p:nvPr/>
        </p:nvSpPr>
        <p:spPr>
          <a:xfrm>
            <a:off x="1312313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9" name="Google Shape;499;p21"/>
          <p:cNvSpPr>
            <a:spLocks noGrp="1"/>
          </p:cNvSpPr>
          <p:nvPr>
            <p:ph type="pic" idx="6"/>
          </p:nvPr>
        </p:nvSpPr>
        <p:spPr>
          <a:xfrm>
            <a:off x="1518085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00" name="Google Shape;500;p21"/>
          <p:cNvSpPr txBox="1"/>
          <p:nvPr/>
        </p:nvSpPr>
        <p:spPr>
          <a:xfrm>
            <a:off x="3709616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1" name="Google Shape;501;p21"/>
          <p:cNvSpPr>
            <a:spLocks noGrp="1"/>
          </p:cNvSpPr>
          <p:nvPr>
            <p:ph type="pic" idx="7"/>
          </p:nvPr>
        </p:nvSpPr>
        <p:spPr>
          <a:xfrm>
            <a:off x="3915388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02" name="Google Shape;502;p21"/>
          <p:cNvSpPr txBox="1"/>
          <p:nvPr/>
        </p:nvSpPr>
        <p:spPr>
          <a:xfrm>
            <a:off x="6106919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3" name="Google Shape;503;p21"/>
          <p:cNvSpPr>
            <a:spLocks noGrp="1"/>
          </p:cNvSpPr>
          <p:nvPr>
            <p:ph type="pic" idx="8"/>
          </p:nvPr>
        </p:nvSpPr>
        <p:spPr>
          <a:xfrm>
            <a:off x="6312691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04" name="Google Shape;504;p21"/>
          <p:cNvSpPr txBox="1"/>
          <p:nvPr/>
        </p:nvSpPr>
        <p:spPr>
          <a:xfrm>
            <a:off x="8709994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5" name="Google Shape;505;p21"/>
          <p:cNvSpPr>
            <a:spLocks noGrp="1"/>
          </p:cNvSpPr>
          <p:nvPr>
            <p:ph type="pic" idx="9"/>
          </p:nvPr>
        </p:nvSpPr>
        <p:spPr>
          <a:xfrm>
            <a:off x="8915766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06" name="Google Shape;506;p21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80824283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Neutral">
  <p:cSld name="V2 Headline Neutral"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74"/>
          <p:cNvSpPr txBox="1">
            <a:spLocks noGrp="1"/>
          </p:cNvSpPr>
          <p:nvPr>
            <p:ph type="ctrTitle"/>
          </p:nvPr>
        </p:nvSpPr>
        <p:spPr>
          <a:xfrm>
            <a:off x="0" y="2834552"/>
            <a:ext cx="12192000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68292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ver: Without Picture">
  <p:cSld name="V2 Cover: Without Picture">
    <p:bg>
      <p:bgPr>
        <a:solidFill>
          <a:schemeClr val="accent1"/>
        </a:solidFill>
        <a:effectLst/>
      </p:bgPr>
    </p:bg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82"/>
          <p:cNvSpPr/>
          <p:nvPr/>
        </p:nvSpPr>
        <p:spPr>
          <a:xfrm>
            <a:off x="540860" y="540327"/>
            <a:ext cx="11110280" cy="5777346"/>
          </a:xfrm>
          <a:prstGeom prst="rect">
            <a:avLst/>
          </a:prstGeom>
          <a:solidFill>
            <a:schemeClr val="lt2"/>
          </a:solidFill>
          <a:ln>
            <a:noFill/>
          </a:ln>
          <a:effectLst>
            <a:outerShdw blurRad="127000" dist="190500" dir="7680000" algn="ctr" rotWithShape="0">
              <a:schemeClr val="dk2">
                <a:alpha val="20000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32" name="Google Shape;232;p82"/>
          <p:cNvSpPr txBox="1">
            <a:spLocks noGrp="1"/>
          </p:cNvSpPr>
          <p:nvPr>
            <p:ph type="body" idx="1"/>
          </p:nvPr>
        </p:nvSpPr>
        <p:spPr>
          <a:xfrm>
            <a:off x="1505168" y="4833549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82"/>
          <p:cNvSpPr txBox="1">
            <a:spLocks noGrp="1"/>
          </p:cNvSpPr>
          <p:nvPr>
            <p:ph type="ctrTitle"/>
          </p:nvPr>
        </p:nvSpPr>
        <p:spPr>
          <a:xfrm>
            <a:off x="1505168" y="3182977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82"/>
          <p:cNvSpPr txBox="1">
            <a:spLocks noGrp="1"/>
          </p:cNvSpPr>
          <p:nvPr>
            <p:ph type="body" idx="2"/>
          </p:nvPr>
        </p:nvSpPr>
        <p:spPr>
          <a:xfrm>
            <a:off x="1505168" y="3885410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35" name="Google Shape;235;p82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6123" y="1005716"/>
            <a:ext cx="2319914" cy="5706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8930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Introduction">
  <p:cSld name="V2 Introduction"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83"/>
          <p:cNvSpPr/>
          <p:nvPr/>
        </p:nvSpPr>
        <p:spPr>
          <a:xfrm>
            <a:off x="0" y="-1"/>
            <a:ext cx="12192000" cy="256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38" name="Google Shape;238;p83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239" name="Google Shape;239;p83"/>
          <p:cNvSpPr txBox="1">
            <a:spLocks noGrp="1"/>
          </p:cNvSpPr>
          <p:nvPr>
            <p:ph type="body" idx="1"/>
          </p:nvPr>
        </p:nvSpPr>
        <p:spPr>
          <a:xfrm>
            <a:off x="3267857" y="4980621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83"/>
          <p:cNvSpPr txBox="1">
            <a:spLocks noGrp="1"/>
          </p:cNvSpPr>
          <p:nvPr>
            <p:ph type="ctrTitle"/>
          </p:nvPr>
        </p:nvSpPr>
        <p:spPr>
          <a:xfrm>
            <a:off x="2266245" y="3054369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" name="Google Shape;241;p83"/>
          <p:cNvSpPr txBox="1">
            <a:spLocks noGrp="1"/>
          </p:cNvSpPr>
          <p:nvPr>
            <p:ph type="body" idx="2"/>
          </p:nvPr>
        </p:nvSpPr>
        <p:spPr>
          <a:xfrm>
            <a:off x="2246919" y="3648818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7968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Introduction Speaker">
  <p:cSld name="V2 Introduction Speaker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84"/>
          <p:cNvSpPr/>
          <p:nvPr/>
        </p:nvSpPr>
        <p:spPr>
          <a:xfrm>
            <a:off x="0" y="-1"/>
            <a:ext cx="12192000" cy="43103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44" name="Google Shape;244;p8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5254" y="1"/>
            <a:ext cx="2021493" cy="2021493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p84"/>
          <p:cNvSpPr>
            <a:spLocks noGrp="1"/>
          </p:cNvSpPr>
          <p:nvPr>
            <p:ph type="pic" idx="2"/>
          </p:nvPr>
        </p:nvSpPr>
        <p:spPr>
          <a:xfrm>
            <a:off x="5303035" y="3429000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46" name="Google Shape;246;p84"/>
          <p:cNvSpPr txBox="1">
            <a:spLocks noGrp="1"/>
          </p:cNvSpPr>
          <p:nvPr>
            <p:ph type="body" idx="1"/>
          </p:nvPr>
        </p:nvSpPr>
        <p:spPr>
          <a:xfrm>
            <a:off x="422275" y="5258328"/>
            <a:ext cx="11347451" cy="5315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" name="Google Shape;247;p84"/>
          <p:cNvSpPr txBox="1">
            <a:spLocks noGrp="1"/>
          </p:cNvSpPr>
          <p:nvPr>
            <p:ph type="ctrTitle"/>
          </p:nvPr>
        </p:nvSpPr>
        <p:spPr>
          <a:xfrm>
            <a:off x="2266245" y="2050735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8" name="Google Shape;248;p84"/>
          <p:cNvSpPr txBox="1">
            <a:spLocks noGrp="1"/>
          </p:cNvSpPr>
          <p:nvPr>
            <p:ph type="body" idx="3"/>
          </p:nvPr>
        </p:nvSpPr>
        <p:spPr>
          <a:xfrm>
            <a:off x="2246919" y="2661529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70090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+ Subtext">
  <p:cSld name="V2 Headline + Subtext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87"/>
          <p:cNvSpPr txBox="1">
            <a:spLocks noGrp="1"/>
          </p:cNvSpPr>
          <p:nvPr>
            <p:ph type="ctrTitle"/>
          </p:nvPr>
        </p:nvSpPr>
        <p:spPr>
          <a:xfrm>
            <a:off x="1" y="2150470"/>
            <a:ext cx="12266022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" name="Google Shape;254;p87"/>
          <p:cNvSpPr txBox="1">
            <a:spLocks noGrp="1"/>
          </p:cNvSpPr>
          <p:nvPr>
            <p:ph type="body" idx="1"/>
          </p:nvPr>
        </p:nvSpPr>
        <p:spPr>
          <a:xfrm>
            <a:off x="3410094" y="2850423"/>
            <a:ext cx="5207954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293826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icture 2">
  <p:cSld name="V2 Content and Picture 2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" name="Google Shape;256;p91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57"/>
          <a:stretch/>
        </p:blipFill>
        <p:spPr>
          <a:xfrm>
            <a:off x="8953500" y="1177221"/>
            <a:ext cx="2638426" cy="1646058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91"/>
          <p:cNvSpPr/>
          <p:nvPr/>
        </p:nvSpPr>
        <p:spPr>
          <a:xfrm>
            <a:off x="7310438" y="1335088"/>
            <a:ext cx="3824287" cy="2236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58" name="Google Shape;258;p91"/>
          <p:cNvSpPr>
            <a:spLocks noGrp="1"/>
          </p:cNvSpPr>
          <p:nvPr>
            <p:ph type="pic" idx="2"/>
          </p:nvPr>
        </p:nvSpPr>
        <p:spPr>
          <a:xfrm>
            <a:off x="6762750" y="2185897"/>
            <a:ext cx="4181475" cy="349488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59" name="Google Shape;259;p91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5687458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" name="Google Shape;260;p91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683646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tent and Picture 3">
  <p:cSld name="V1 Content and Picture 3"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92"/>
          <p:cNvSpPr/>
          <p:nvPr/>
        </p:nvSpPr>
        <p:spPr>
          <a:xfrm>
            <a:off x="9539288" y="0"/>
            <a:ext cx="26527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63" name="Google Shape;263;p92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6213" y="4344284"/>
            <a:ext cx="2052638" cy="1646058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Google Shape;264;p92"/>
          <p:cNvSpPr/>
          <p:nvPr/>
        </p:nvSpPr>
        <p:spPr>
          <a:xfrm>
            <a:off x="7310438" y="1335088"/>
            <a:ext cx="3824287" cy="2236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65" name="Google Shape;265;p92"/>
          <p:cNvSpPr>
            <a:spLocks noGrp="1"/>
          </p:cNvSpPr>
          <p:nvPr>
            <p:ph type="pic" idx="2"/>
          </p:nvPr>
        </p:nvSpPr>
        <p:spPr>
          <a:xfrm>
            <a:off x="6657976" y="1146252"/>
            <a:ext cx="4150438" cy="3020936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66" name="Google Shape;266;p92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67" name="Google Shape;267;p92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576457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92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63471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Heritage Organisation Base">
  <p:cSld name="V2 Namirial Heritage Organisation Base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94"/>
          <p:cNvSpPr txBox="1"/>
          <p:nvPr/>
        </p:nvSpPr>
        <p:spPr>
          <a:xfrm>
            <a:off x="1312313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1" name="Google Shape;271;p94"/>
          <p:cNvSpPr txBox="1"/>
          <p:nvPr/>
        </p:nvSpPr>
        <p:spPr>
          <a:xfrm>
            <a:off x="489332" y="941474"/>
            <a:ext cx="9506249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" sz="15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From Namirial Heritage Organis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2" name="Google Shape;272;p94"/>
          <p:cNvSpPr>
            <a:spLocks noGrp="1"/>
          </p:cNvSpPr>
          <p:nvPr>
            <p:ph type="pic" idx="2"/>
          </p:nvPr>
        </p:nvSpPr>
        <p:spPr>
          <a:xfrm>
            <a:off x="1518085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73" name="Google Shape;273;p94"/>
          <p:cNvSpPr txBox="1"/>
          <p:nvPr/>
        </p:nvSpPr>
        <p:spPr>
          <a:xfrm>
            <a:off x="3709616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94"/>
          <p:cNvSpPr>
            <a:spLocks noGrp="1"/>
          </p:cNvSpPr>
          <p:nvPr>
            <p:ph type="pic" idx="3"/>
          </p:nvPr>
        </p:nvSpPr>
        <p:spPr>
          <a:xfrm>
            <a:off x="3915388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75" name="Google Shape;275;p94"/>
          <p:cNvSpPr txBox="1"/>
          <p:nvPr/>
        </p:nvSpPr>
        <p:spPr>
          <a:xfrm>
            <a:off x="6106919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94"/>
          <p:cNvSpPr>
            <a:spLocks noGrp="1"/>
          </p:cNvSpPr>
          <p:nvPr>
            <p:ph type="pic" idx="4"/>
          </p:nvPr>
        </p:nvSpPr>
        <p:spPr>
          <a:xfrm>
            <a:off x="6312691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77" name="Google Shape;277;p94"/>
          <p:cNvSpPr txBox="1"/>
          <p:nvPr/>
        </p:nvSpPr>
        <p:spPr>
          <a:xfrm>
            <a:off x="8709994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94"/>
          <p:cNvSpPr>
            <a:spLocks noGrp="1"/>
          </p:cNvSpPr>
          <p:nvPr>
            <p:ph type="pic" idx="5"/>
          </p:nvPr>
        </p:nvSpPr>
        <p:spPr>
          <a:xfrm>
            <a:off x="8915766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79" name="Google Shape;279;p94"/>
          <p:cNvSpPr txBox="1"/>
          <p:nvPr/>
        </p:nvSpPr>
        <p:spPr>
          <a:xfrm>
            <a:off x="1312313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94"/>
          <p:cNvSpPr>
            <a:spLocks noGrp="1"/>
          </p:cNvSpPr>
          <p:nvPr>
            <p:ph type="pic" idx="6"/>
          </p:nvPr>
        </p:nvSpPr>
        <p:spPr>
          <a:xfrm>
            <a:off x="1518085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81" name="Google Shape;281;p94"/>
          <p:cNvSpPr txBox="1"/>
          <p:nvPr/>
        </p:nvSpPr>
        <p:spPr>
          <a:xfrm>
            <a:off x="3709616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94"/>
          <p:cNvSpPr>
            <a:spLocks noGrp="1"/>
          </p:cNvSpPr>
          <p:nvPr>
            <p:ph type="pic" idx="7"/>
          </p:nvPr>
        </p:nvSpPr>
        <p:spPr>
          <a:xfrm>
            <a:off x="3915388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83" name="Google Shape;283;p94"/>
          <p:cNvSpPr txBox="1"/>
          <p:nvPr/>
        </p:nvSpPr>
        <p:spPr>
          <a:xfrm>
            <a:off x="6106919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4" name="Google Shape;284;p94"/>
          <p:cNvSpPr>
            <a:spLocks noGrp="1"/>
          </p:cNvSpPr>
          <p:nvPr>
            <p:ph type="pic" idx="8"/>
          </p:nvPr>
        </p:nvSpPr>
        <p:spPr>
          <a:xfrm>
            <a:off x="6312691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85" name="Google Shape;285;p94"/>
          <p:cNvSpPr txBox="1"/>
          <p:nvPr/>
        </p:nvSpPr>
        <p:spPr>
          <a:xfrm>
            <a:off x="8709994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6" name="Google Shape;286;p94"/>
          <p:cNvSpPr>
            <a:spLocks noGrp="1"/>
          </p:cNvSpPr>
          <p:nvPr>
            <p:ph type="pic" idx="9"/>
          </p:nvPr>
        </p:nvSpPr>
        <p:spPr>
          <a:xfrm>
            <a:off x="8915766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87" name="Google Shape;287;p94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19245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Team Base">
  <p:cSld name="V2 Team Base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95"/>
          <p:cNvSpPr>
            <a:spLocks noGrp="1"/>
          </p:cNvSpPr>
          <p:nvPr>
            <p:ph type="pic" idx="2"/>
          </p:nvPr>
        </p:nvSpPr>
        <p:spPr>
          <a:xfrm>
            <a:off x="1793851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90" name="Google Shape;290;p95"/>
          <p:cNvSpPr txBox="1">
            <a:spLocks noGrp="1"/>
          </p:cNvSpPr>
          <p:nvPr>
            <p:ph type="body" idx="1"/>
          </p:nvPr>
        </p:nvSpPr>
        <p:spPr>
          <a:xfrm>
            <a:off x="1363733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p95"/>
          <p:cNvSpPr txBox="1">
            <a:spLocks noGrp="1"/>
          </p:cNvSpPr>
          <p:nvPr>
            <p:ph type="body" idx="3"/>
          </p:nvPr>
        </p:nvSpPr>
        <p:spPr>
          <a:xfrm>
            <a:off x="1363733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95"/>
          <p:cNvSpPr>
            <a:spLocks noGrp="1"/>
          </p:cNvSpPr>
          <p:nvPr>
            <p:ph type="pic" idx="4"/>
          </p:nvPr>
        </p:nvSpPr>
        <p:spPr>
          <a:xfrm>
            <a:off x="4237338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93" name="Google Shape;293;p95"/>
          <p:cNvSpPr txBox="1">
            <a:spLocks noGrp="1"/>
          </p:cNvSpPr>
          <p:nvPr>
            <p:ph type="body" idx="5"/>
          </p:nvPr>
        </p:nvSpPr>
        <p:spPr>
          <a:xfrm>
            <a:off x="3807220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95"/>
          <p:cNvSpPr txBox="1">
            <a:spLocks noGrp="1"/>
          </p:cNvSpPr>
          <p:nvPr>
            <p:ph type="body" idx="6"/>
          </p:nvPr>
        </p:nvSpPr>
        <p:spPr>
          <a:xfrm>
            <a:off x="3807220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p95"/>
          <p:cNvSpPr>
            <a:spLocks noGrp="1"/>
          </p:cNvSpPr>
          <p:nvPr>
            <p:ph type="pic" idx="7"/>
          </p:nvPr>
        </p:nvSpPr>
        <p:spPr>
          <a:xfrm>
            <a:off x="1793851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96" name="Google Shape;296;p95"/>
          <p:cNvSpPr txBox="1">
            <a:spLocks noGrp="1"/>
          </p:cNvSpPr>
          <p:nvPr>
            <p:ph type="body" idx="8"/>
          </p:nvPr>
        </p:nvSpPr>
        <p:spPr>
          <a:xfrm>
            <a:off x="1363733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95"/>
          <p:cNvSpPr txBox="1">
            <a:spLocks noGrp="1"/>
          </p:cNvSpPr>
          <p:nvPr>
            <p:ph type="body" idx="9"/>
          </p:nvPr>
        </p:nvSpPr>
        <p:spPr>
          <a:xfrm>
            <a:off x="1363733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95"/>
          <p:cNvSpPr>
            <a:spLocks noGrp="1"/>
          </p:cNvSpPr>
          <p:nvPr>
            <p:ph type="pic" idx="13"/>
          </p:nvPr>
        </p:nvSpPr>
        <p:spPr>
          <a:xfrm>
            <a:off x="4237338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99" name="Google Shape;299;p95"/>
          <p:cNvSpPr txBox="1">
            <a:spLocks noGrp="1"/>
          </p:cNvSpPr>
          <p:nvPr>
            <p:ph type="body" idx="14"/>
          </p:nvPr>
        </p:nvSpPr>
        <p:spPr>
          <a:xfrm>
            <a:off x="3807220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95"/>
          <p:cNvSpPr txBox="1">
            <a:spLocks noGrp="1"/>
          </p:cNvSpPr>
          <p:nvPr>
            <p:ph type="body" idx="15"/>
          </p:nvPr>
        </p:nvSpPr>
        <p:spPr>
          <a:xfrm>
            <a:off x="3807220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" name="Google Shape;301;p95"/>
          <p:cNvSpPr>
            <a:spLocks noGrp="1"/>
          </p:cNvSpPr>
          <p:nvPr>
            <p:ph type="pic" idx="16"/>
          </p:nvPr>
        </p:nvSpPr>
        <p:spPr>
          <a:xfrm>
            <a:off x="6680825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02" name="Google Shape;302;p95"/>
          <p:cNvSpPr txBox="1">
            <a:spLocks noGrp="1"/>
          </p:cNvSpPr>
          <p:nvPr>
            <p:ph type="body" idx="17"/>
          </p:nvPr>
        </p:nvSpPr>
        <p:spPr>
          <a:xfrm>
            <a:off x="6250707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p95"/>
          <p:cNvSpPr txBox="1">
            <a:spLocks noGrp="1"/>
          </p:cNvSpPr>
          <p:nvPr>
            <p:ph type="body" idx="18"/>
          </p:nvPr>
        </p:nvSpPr>
        <p:spPr>
          <a:xfrm>
            <a:off x="6250707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95"/>
          <p:cNvSpPr>
            <a:spLocks noGrp="1"/>
          </p:cNvSpPr>
          <p:nvPr>
            <p:ph type="pic" idx="19"/>
          </p:nvPr>
        </p:nvSpPr>
        <p:spPr>
          <a:xfrm>
            <a:off x="9124312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05" name="Google Shape;305;p95"/>
          <p:cNvSpPr txBox="1">
            <a:spLocks noGrp="1"/>
          </p:cNvSpPr>
          <p:nvPr>
            <p:ph type="body" idx="20"/>
          </p:nvPr>
        </p:nvSpPr>
        <p:spPr>
          <a:xfrm>
            <a:off x="8694194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95"/>
          <p:cNvSpPr txBox="1">
            <a:spLocks noGrp="1"/>
          </p:cNvSpPr>
          <p:nvPr>
            <p:ph type="body" idx="21"/>
          </p:nvPr>
        </p:nvSpPr>
        <p:spPr>
          <a:xfrm>
            <a:off x="8694194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95"/>
          <p:cNvSpPr>
            <a:spLocks noGrp="1"/>
          </p:cNvSpPr>
          <p:nvPr>
            <p:ph type="pic" idx="22"/>
          </p:nvPr>
        </p:nvSpPr>
        <p:spPr>
          <a:xfrm>
            <a:off x="6680825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08" name="Google Shape;308;p95"/>
          <p:cNvSpPr txBox="1">
            <a:spLocks noGrp="1"/>
          </p:cNvSpPr>
          <p:nvPr>
            <p:ph type="body" idx="23"/>
          </p:nvPr>
        </p:nvSpPr>
        <p:spPr>
          <a:xfrm>
            <a:off x="6250707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95"/>
          <p:cNvSpPr txBox="1">
            <a:spLocks noGrp="1"/>
          </p:cNvSpPr>
          <p:nvPr>
            <p:ph type="body" idx="24"/>
          </p:nvPr>
        </p:nvSpPr>
        <p:spPr>
          <a:xfrm>
            <a:off x="6250707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95"/>
          <p:cNvSpPr>
            <a:spLocks noGrp="1"/>
          </p:cNvSpPr>
          <p:nvPr>
            <p:ph type="pic" idx="25"/>
          </p:nvPr>
        </p:nvSpPr>
        <p:spPr>
          <a:xfrm>
            <a:off x="9124312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11" name="Google Shape;311;p95"/>
          <p:cNvSpPr txBox="1">
            <a:spLocks noGrp="1"/>
          </p:cNvSpPr>
          <p:nvPr>
            <p:ph type="body" idx="26"/>
          </p:nvPr>
        </p:nvSpPr>
        <p:spPr>
          <a:xfrm>
            <a:off x="8694194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95"/>
          <p:cNvSpPr txBox="1">
            <a:spLocks noGrp="1"/>
          </p:cNvSpPr>
          <p:nvPr>
            <p:ph type="body" idx="27"/>
          </p:nvPr>
        </p:nvSpPr>
        <p:spPr>
          <a:xfrm>
            <a:off x="8694194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720"/>
              <a:buNone/>
              <a:defRPr sz="12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3" name="Google Shape;313;p9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920424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Top Management Team">
  <p:cSld name="V2 Namirial Top Management Team"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5" name="Google Shape;315;p9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196" y="2876459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16" name="Google Shape;316;p96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9929" y="4774050"/>
            <a:ext cx="1031190" cy="1031190"/>
          </a:xfrm>
          <a:prstGeom prst="ellipse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17" name="Google Shape;317;p96"/>
          <p:cNvSpPr txBox="1"/>
          <p:nvPr/>
        </p:nvSpPr>
        <p:spPr>
          <a:xfrm>
            <a:off x="6689504" y="5845345"/>
            <a:ext cx="125934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örg Lenz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Marketing &amp; Communica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8" name="Google Shape;318;p96"/>
          <p:cNvPicPr preferRelativeResize="0"/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196" y="4726228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19" name="Google Shape;319;p96"/>
          <p:cNvSpPr txBox="1"/>
          <p:nvPr/>
        </p:nvSpPr>
        <p:spPr>
          <a:xfrm>
            <a:off x="347261" y="5855978"/>
            <a:ext cx="15596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rian Dinculescu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Namirial Romani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0" name="Google Shape;320;p96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8416" y="4704389"/>
            <a:ext cx="1041637" cy="1041637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21" name="Google Shape;321;p96"/>
          <p:cNvSpPr txBox="1"/>
          <p:nvPr/>
        </p:nvSpPr>
        <p:spPr>
          <a:xfrm>
            <a:off x="1995575" y="5855978"/>
            <a:ext cx="134731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Klaus Fellner</a:t>
            </a:r>
            <a:endParaRPr sz="10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irial Austri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2" name="Google Shape;322;p96"/>
          <p:cNvPicPr preferRelativeResize="0"/>
          <p:nvPr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0004" y="2876459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23" name="Google Shape;323;p96"/>
          <p:cNvSpPr txBox="1"/>
          <p:nvPr/>
        </p:nvSpPr>
        <p:spPr>
          <a:xfrm>
            <a:off x="3373041" y="3975825"/>
            <a:ext cx="167372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uigi-Enrico Tomasini</a:t>
            </a:r>
            <a:endParaRPr sz="10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irector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ustomer Succes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4" name="Google Shape;324;p96"/>
          <p:cNvPicPr preferRelativeResize="0"/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2652" y="2876459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25" name="Google Shape;325;p96"/>
          <p:cNvSpPr txBox="1"/>
          <p:nvPr/>
        </p:nvSpPr>
        <p:spPr>
          <a:xfrm>
            <a:off x="4992576" y="3975825"/>
            <a:ext cx="1519951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uca Romagnoli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ales Director Accounts &amp; Partners Italy 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26" name="Google Shape;326;p96"/>
          <p:cNvPicPr preferRelativeResize="0"/>
          <p:nvPr/>
        </p:nvPicPr>
        <p:blipFill rotWithShape="1">
          <a:blip r:embed="rId8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3072" y="4786282"/>
            <a:ext cx="1018958" cy="101895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27" name="Google Shape;327;p96"/>
          <p:cNvSpPr txBox="1"/>
          <p:nvPr/>
        </p:nvSpPr>
        <p:spPr>
          <a:xfrm>
            <a:off x="5000487" y="5870152"/>
            <a:ext cx="1504128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ristoph Bimminger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Product Manage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8" name="Google Shape;328;p96"/>
          <p:cNvSpPr txBox="1"/>
          <p:nvPr/>
        </p:nvSpPr>
        <p:spPr>
          <a:xfrm>
            <a:off x="364239" y="3971204"/>
            <a:ext cx="152571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ntonio Taurisano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International Market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9" name="Google Shape;329;p96"/>
          <p:cNvPicPr preferRelativeResize="0"/>
          <p:nvPr/>
        </p:nvPicPr>
        <p:blipFill rotWithShape="1">
          <a:blip r:embed="rId9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0457" y="2852603"/>
            <a:ext cx="1057555" cy="1063121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0" name="Google Shape;330;p96"/>
          <p:cNvSpPr txBox="1"/>
          <p:nvPr/>
        </p:nvSpPr>
        <p:spPr>
          <a:xfrm>
            <a:off x="1903503" y="3975825"/>
            <a:ext cx="153146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Ruda </a:t>
            </a:r>
            <a:b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irector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-Commerce</a:t>
            </a: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31" name="Google Shape;331;p96"/>
          <p:cNvPicPr preferRelativeResize="0"/>
          <p:nvPr/>
        </p:nvPicPr>
        <p:blipFill rotWithShape="1"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0004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2" name="Google Shape;332;p96"/>
          <p:cNvSpPr txBox="1"/>
          <p:nvPr/>
        </p:nvSpPr>
        <p:spPr>
          <a:xfrm>
            <a:off x="3449119" y="2121436"/>
            <a:ext cx="15215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oldea Bor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Human Ressources Officer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3" name="Google Shape;333;p96"/>
          <p:cNvPicPr preferRelativeResize="0"/>
          <p:nvPr/>
        </p:nvPicPr>
        <p:blipFill rotWithShape="1"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2652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4" name="Google Shape;334;p96"/>
          <p:cNvSpPr txBox="1"/>
          <p:nvPr/>
        </p:nvSpPr>
        <p:spPr>
          <a:xfrm>
            <a:off x="4919267" y="2121436"/>
            <a:ext cx="16665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Coletto</a:t>
            </a:r>
            <a:endParaRPr sz="10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Technology Officer</a:t>
            </a: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35" name="Google Shape;335;p96"/>
          <p:cNvPicPr preferRelativeResize="0"/>
          <p:nvPr/>
        </p:nvPicPr>
        <p:blipFill rotWithShape="1">
          <a:blip r:embed="rId1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195" y="1001334"/>
            <a:ext cx="1019800" cy="1019800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6" name="Google Shape;336;p96"/>
          <p:cNvSpPr txBox="1"/>
          <p:nvPr/>
        </p:nvSpPr>
        <p:spPr>
          <a:xfrm>
            <a:off x="433589" y="2121436"/>
            <a:ext cx="13870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x Pellegrini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xecutive Offic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7" name="Google Shape;337;p96"/>
          <p:cNvPicPr preferRelativeResize="0"/>
          <p:nvPr/>
        </p:nvPicPr>
        <p:blipFill rotWithShape="1">
          <a:blip r:embed="rId13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9335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8" name="Google Shape;338;p96"/>
          <p:cNvSpPr txBox="1"/>
          <p:nvPr/>
        </p:nvSpPr>
        <p:spPr>
          <a:xfrm>
            <a:off x="1973115" y="2121436"/>
            <a:ext cx="13922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Roberto Negro </a:t>
            </a:r>
            <a:b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Financial Officer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9" name="Google Shape;339;p96"/>
          <p:cNvPicPr preferRelativeResize="0"/>
          <p:nvPr/>
        </p:nvPicPr>
        <p:blipFill rotWithShape="1">
          <a:blip r:embed="rId14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0202" y="996570"/>
            <a:ext cx="1018367" cy="1018367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0" name="Google Shape;340;p96"/>
          <p:cNvSpPr txBox="1"/>
          <p:nvPr/>
        </p:nvSpPr>
        <p:spPr>
          <a:xfrm>
            <a:off x="10583267" y="2124585"/>
            <a:ext cx="13922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iancarlo Beraudo</a:t>
            </a:r>
            <a:b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artner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mbient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1" name="Google Shape;341;p96"/>
          <p:cNvPicPr preferRelativeResize="0"/>
          <p:nvPr/>
        </p:nvPicPr>
        <p:blipFill rotWithShape="1">
          <a:blip r:embed="rId15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6511" y="995138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2" name="Google Shape;342;p96"/>
          <p:cNvSpPr txBox="1"/>
          <p:nvPr/>
        </p:nvSpPr>
        <p:spPr>
          <a:xfrm>
            <a:off x="9205463" y="2088097"/>
            <a:ext cx="1381774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arlo Salizzoni</a:t>
            </a:r>
            <a:endParaRPr sz="10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visor Strategy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+ M&amp;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43" name="Google Shape;343;p96"/>
          <p:cNvPicPr preferRelativeResize="0"/>
          <p:nvPr/>
        </p:nvPicPr>
        <p:blipFill rotWithShape="1">
          <a:blip r:embed="rId16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479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4" name="Google Shape;344;p96"/>
          <p:cNvSpPr txBox="1"/>
          <p:nvPr/>
        </p:nvSpPr>
        <p:spPr>
          <a:xfrm>
            <a:off x="6443094" y="2121436"/>
            <a:ext cx="16665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nrico Giacomelli</a:t>
            </a:r>
            <a:endParaRPr sz="10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Business Development Officer</a:t>
            </a: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45" name="Google Shape;345;p96"/>
          <p:cNvPicPr preferRelativeResize="0"/>
          <p:nvPr/>
        </p:nvPicPr>
        <p:blipFill rotWithShape="1">
          <a:blip r:embed="rId17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5665" y="2876460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6" name="Google Shape;346;p96"/>
          <p:cNvSpPr txBox="1"/>
          <p:nvPr/>
        </p:nvSpPr>
        <p:spPr>
          <a:xfrm>
            <a:off x="7861468" y="3975825"/>
            <a:ext cx="167372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Cecucci</a:t>
            </a: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ministra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47" name="Google Shape;347;p96"/>
          <p:cNvPicPr preferRelativeResize="0"/>
          <p:nvPr/>
        </p:nvPicPr>
        <p:blipFill rotWithShape="1">
          <a:blip r:embed="rId18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479" y="2876459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8" name="Google Shape;348;p96"/>
          <p:cNvSpPr txBox="1"/>
          <p:nvPr/>
        </p:nvSpPr>
        <p:spPr>
          <a:xfrm>
            <a:off x="6510647" y="3975825"/>
            <a:ext cx="1531463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nrico Checchin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ales Director Product Partners Italy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49" name="Google Shape;349;p96"/>
          <p:cNvPicPr preferRelativeResize="0"/>
          <p:nvPr/>
        </p:nvPicPr>
        <p:blipFill rotWithShape="1">
          <a:blip r:embed="rId19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8696" y="4789599"/>
            <a:ext cx="982414" cy="99634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50" name="Google Shape;350;p96"/>
          <p:cNvSpPr txBox="1"/>
          <p:nvPr/>
        </p:nvSpPr>
        <p:spPr>
          <a:xfrm>
            <a:off x="3564521" y="5860894"/>
            <a:ext cx="129076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ianluca Donnini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Namirial Brazi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1" name="Google Shape;351;p96"/>
          <p:cNvSpPr/>
          <p:nvPr/>
        </p:nvSpPr>
        <p:spPr>
          <a:xfrm>
            <a:off x="9782894" y="5277868"/>
            <a:ext cx="360000" cy="360000"/>
          </a:xfrm>
          <a:prstGeom prst="ellipse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2" name="Google Shape;352;p96"/>
          <p:cNvSpPr txBox="1"/>
          <p:nvPr/>
        </p:nvSpPr>
        <p:spPr>
          <a:xfrm>
            <a:off x="10191647" y="5279058"/>
            <a:ext cx="16737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Joined in 2020/21 - post acquisition by Ambient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96"/>
          <p:cNvSpPr/>
          <p:nvPr/>
        </p:nvSpPr>
        <p:spPr>
          <a:xfrm>
            <a:off x="9794618" y="5793681"/>
            <a:ext cx="360000" cy="360000"/>
          </a:xfrm>
          <a:prstGeom prst="ellipse">
            <a:avLst/>
          </a:prstGeom>
          <a:noFill/>
          <a:ln w="50800" cap="flat" cmpd="sng">
            <a:solidFill>
              <a:schemeClr val="accen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4" name="Google Shape;354;p96"/>
          <p:cNvSpPr txBox="1"/>
          <p:nvPr/>
        </p:nvSpPr>
        <p:spPr>
          <a:xfrm>
            <a:off x="10224137" y="5850066"/>
            <a:ext cx="167372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In today’s call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55" name="Google Shape;355;p96" descr="Podcast mit einfarbiger Füllung"/>
          <p:cNvPicPr preferRelativeResize="0"/>
          <p:nvPr/>
        </p:nvPicPr>
        <p:blipFill rotWithShape="1">
          <a:blip r:embed="rId20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9788" y="5828856"/>
            <a:ext cx="293193" cy="293193"/>
          </a:xfrm>
          <a:prstGeom prst="rect">
            <a:avLst/>
          </a:prstGeom>
          <a:noFill/>
          <a:ln>
            <a:noFill/>
          </a:ln>
        </p:spPr>
      </p:pic>
      <p:sp>
        <p:nvSpPr>
          <p:cNvPr id="356" name="Google Shape;356;p96"/>
          <p:cNvSpPr txBox="1"/>
          <p:nvPr/>
        </p:nvSpPr>
        <p:spPr>
          <a:xfrm>
            <a:off x="9846901" y="517122"/>
            <a:ext cx="16737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#insieme </a:t>
            </a:r>
            <a:endParaRPr sz="2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57" name="Google Shape;357;p96" descr="Podcast mit einfarbiger Füllung"/>
          <p:cNvPicPr preferRelativeResize="0"/>
          <p:nvPr/>
        </p:nvPicPr>
        <p:blipFill rotWithShape="1">
          <a:blip r:embed="rId21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2546" y="5814523"/>
            <a:ext cx="339158" cy="339158"/>
          </a:xfrm>
          <a:prstGeom prst="rect">
            <a:avLst/>
          </a:prstGeom>
          <a:noFill/>
          <a:ln>
            <a:noFill/>
          </a:ln>
        </p:spPr>
      </p:pic>
      <p:sp>
        <p:nvSpPr>
          <p:cNvPr id="358" name="Google Shape;358;p96"/>
          <p:cNvSpPr txBox="1"/>
          <p:nvPr/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n" sz="2800" b="1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Namirial Top Management Team </a:t>
            </a:r>
            <a:endParaRPr sz="2800" b="1" i="0" u="none" strike="noStrike" cap="none">
              <a:solidFill>
                <a:schemeClr val="dk1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4826706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Team Base">
  <p:cSld name="V2 Team Base">
    <p:spTree>
      <p:nvGrpSpPr>
        <p:cNvPr id="1" name="Shape 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F4AB03-4D3C-A52E-7246-902D4C311E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743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F4AB03-4D3C-A52E-7246-902D4C311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8" name="Google Shape;508;p22"/>
          <p:cNvSpPr>
            <a:spLocks noGrp="1"/>
          </p:cNvSpPr>
          <p:nvPr>
            <p:ph type="pic" idx="2"/>
          </p:nvPr>
        </p:nvSpPr>
        <p:spPr>
          <a:xfrm>
            <a:off x="1793851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09" name="Google Shape;509;p22"/>
          <p:cNvSpPr txBox="1">
            <a:spLocks noGrp="1"/>
          </p:cNvSpPr>
          <p:nvPr>
            <p:ph type="body" idx="1"/>
          </p:nvPr>
        </p:nvSpPr>
        <p:spPr>
          <a:xfrm>
            <a:off x="1363733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0" name="Google Shape;510;p22"/>
          <p:cNvSpPr txBox="1">
            <a:spLocks noGrp="1"/>
          </p:cNvSpPr>
          <p:nvPr>
            <p:ph type="body" idx="3"/>
          </p:nvPr>
        </p:nvSpPr>
        <p:spPr>
          <a:xfrm>
            <a:off x="1363733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1" name="Google Shape;511;p22"/>
          <p:cNvSpPr>
            <a:spLocks noGrp="1"/>
          </p:cNvSpPr>
          <p:nvPr>
            <p:ph type="pic" idx="4"/>
          </p:nvPr>
        </p:nvSpPr>
        <p:spPr>
          <a:xfrm>
            <a:off x="4237338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12" name="Google Shape;512;p22"/>
          <p:cNvSpPr txBox="1">
            <a:spLocks noGrp="1"/>
          </p:cNvSpPr>
          <p:nvPr>
            <p:ph type="body" idx="5"/>
          </p:nvPr>
        </p:nvSpPr>
        <p:spPr>
          <a:xfrm>
            <a:off x="3807220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" name="Google Shape;513;p22"/>
          <p:cNvSpPr txBox="1">
            <a:spLocks noGrp="1"/>
          </p:cNvSpPr>
          <p:nvPr>
            <p:ph type="body" idx="6"/>
          </p:nvPr>
        </p:nvSpPr>
        <p:spPr>
          <a:xfrm>
            <a:off x="3807220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22"/>
          <p:cNvSpPr>
            <a:spLocks noGrp="1"/>
          </p:cNvSpPr>
          <p:nvPr>
            <p:ph type="pic" idx="7"/>
          </p:nvPr>
        </p:nvSpPr>
        <p:spPr>
          <a:xfrm>
            <a:off x="1793851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15" name="Google Shape;515;p22"/>
          <p:cNvSpPr txBox="1">
            <a:spLocks noGrp="1"/>
          </p:cNvSpPr>
          <p:nvPr>
            <p:ph type="body" idx="8"/>
          </p:nvPr>
        </p:nvSpPr>
        <p:spPr>
          <a:xfrm>
            <a:off x="1363733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6" name="Google Shape;516;p22"/>
          <p:cNvSpPr txBox="1">
            <a:spLocks noGrp="1"/>
          </p:cNvSpPr>
          <p:nvPr>
            <p:ph type="body" idx="9"/>
          </p:nvPr>
        </p:nvSpPr>
        <p:spPr>
          <a:xfrm>
            <a:off x="1363733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7" name="Google Shape;517;p22"/>
          <p:cNvSpPr>
            <a:spLocks noGrp="1"/>
          </p:cNvSpPr>
          <p:nvPr>
            <p:ph type="pic" idx="13"/>
          </p:nvPr>
        </p:nvSpPr>
        <p:spPr>
          <a:xfrm>
            <a:off x="4237338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18" name="Google Shape;518;p22"/>
          <p:cNvSpPr txBox="1">
            <a:spLocks noGrp="1"/>
          </p:cNvSpPr>
          <p:nvPr>
            <p:ph type="body" idx="14"/>
          </p:nvPr>
        </p:nvSpPr>
        <p:spPr>
          <a:xfrm>
            <a:off x="3807220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9" name="Google Shape;519;p22"/>
          <p:cNvSpPr txBox="1">
            <a:spLocks noGrp="1"/>
          </p:cNvSpPr>
          <p:nvPr>
            <p:ph type="body" idx="15"/>
          </p:nvPr>
        </p:nvSpPr>
        <p:spPr>
          <a:xfrm>
            <a:off x="3807220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" name="Google Shape;520;p22"/>
          <p:cNvSpPr>
            <a:spLocks noGrp="1"/>
          </p:cNvSpPr>
          <p:nvPr>
            <p:ph type="pic" idx="16"/>
          </p:nvPr>
        </p:nvSpPr>
        <p:spPr>
          <a:xfrm>
            <a:off x="6680825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21" name="Google Shape;521;p22"/>
          <p:cNvSpPr txBox="1">
            <a:spLocks noGrp="1"/>
          </p:cNvSpPr>
          <p:nvPr>
            <p:ph type="body" idx="17"/>
          </p:nvPr>
        </p:nvSpPr>
        <p:spPr>
          <a:xfrm>
            <a:off x="6250707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22"/>
          <p:cNvSpPr txBox="1">
            <a:spLocks noGrp="1"/>
          </p:cNvSpPr>
          <p:nvPr>
            <p:ph type="body" idx="18"/>
          </p:nvPr>
        </p:nvSpPr>
        <p:spPr>
          <a:xfrm>
            <a:off x="6250707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3" name="Google Shape;523;p22"/>
          <p:cNvSpPr>
            <a:spLocks noGrp="1"/>
          </p:cNvSpPr>
          <p:nvPr>
            <p:ph type="pic" idx="19"/>
          </p:nvPr>
        </p:nvSpPr>
        <p:spPr>
          <a:xfrm>
            <a:off x="9124312" y="1427759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24" name="Google Shape;524;p22"/>
          <p:cNvSpPr txBox="1">
            <a:spLocks noGrp="1"/>
          </p:cNvSpPr>
          <p:nvPr>
            <p:ph type="body" idx="20"/>
          </p:nvPr>
        </p:nvSpPr>
        <p:spPr>
          <a:xfrm>
            <a:off x="8694194" y="2400505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22"/>
          <p:cNvSpPr txBox="1">
            <a:spLocks noGrp="1"/>
          </p:cNvSpPr>
          <p:nvPr>
            <p:ph type="body" idx="21"/>
          </p:nvPr>
        </p:nvSpPr>
        <p:spPr>
          <a:xfrm>
            <a:off x="8694194" y="3098274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6" name="Google Shape;526;p22"/>
          <p:cNvSpPr>
            <a:spLocks noGrp="1"/>
          </p:cNvSpPr>
          <p:nvPr>
            <p:ph type="pic" idx="22"/>
          </p:nvPr>
        </p:nvSpPr>
        <p:spPr>
          <a:xfrm>
            <a:off x="6680825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27" name="Google Shape;527;p22"/>
          <p:cNvSpPr txBox="1">
            <a:spLocks noGrp="1"/>
          </p:cNvSpPr>
          <p:nvPr>
            <p:ph type="body" idx="23"/>
          </p:nvPr>
        </p:nvSpPr>
        <p:spPr>
          <a:xfrm>
            <a:off x="6250707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p22"/>
          <p:cNvSpPr txBox="1">
            <a:spLocks noGrp="1"/>
          </p:cNvSpPr>
          <p:nvPr>
            <p:ph type="body" idx="24"/>
          </p:nvPr>
        </p:nvSpPr>
        <p:spPr>
          <a:xfrm>
            <a:off x="6250707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9" name="Google Shape;529;p22"/>
          <p:cNvSpPr>
            <a:spLocks noGrp="1"/>
          </p:cNvSpPr>
          <p:nvPr>
            <p:ph type="pic" idx="25"/>
          </p:nvPr>
        </p:nvSpPr>
        <p:spPr>
          <a:xfrm>
            <a:off x="9124312" y="3861022"/>
            <a:ext cx="11811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30" name="Google Shape;530;p22"/>
          <p:cNvSpPr txBox="1">
            <a:spLocks noGrp="1"/>
          </p:cNvSpPr>
          <p:nvPr>
            <p:ph type="body" idx="26"/>
          </p:nvPr>
        </p:nvSpPr>
        <p:spPr>
          <a:xfrm>
            <a:off x="8694194" y="4833768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p22"/>
          <p:cNvSpPr txBox="1">
            <a:spLocks noGrp="1"/>
          </p:cNvSpPr>
          <p:nvPr>
            <p:ph type="body" idx="27"/>
          </p:nvPr>
        </p:nvSpPr>
        <p:spPr>
          <a:xfrm>
            <a:off x="8694194" y="5531537"/>
            <a:ext cx="2041336" cy="621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1440"/>
              <a:buNone/>
              <a:defRPr sz="1200">
                <a:solidFill>
                  <a:srgbClr val="2B7D78"/>
                </a:solidFill>
              </a:defRPr>
            </a:lvl1pPr>
            <a:lvl2pPr marL="914400" lvl="1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None/>
              <a:defRPr sz="1200"/>
            </a:lvl4pPr>
            <a:lvl5pPr marL="2286000" lvl="4" indent="-2286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720"/>
              <a:buNone/>
              <a:defRPr sz="12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2" name="Google Shape;532;p22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796844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Selected Speakers 2023">
  <p:cSld name="V2 Namirial Selected Speakers 2023"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0" name="Google Shape;360;p9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154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61" name="Google Shape;361;p97"/>
          <p:cNvSpPr txBox="1"/>
          <p:nvPr/>
        </p:nvSpPr>
        <p:spPr>
          <a:xfrm>
            <a:off x="392776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x Pellegrini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E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2" name="Google Shape;362;p97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02535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63" name="Google Shape;363;p97"/>
          <p:cNvSpPr txBox="1"/>
          <p:nvPr/>
        </p:nvSpPr>
        <p:spPr>
          <a:xfrm>
            <a:off x="2568993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ntonio Taurisan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D International Market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4" name="Google Shape;364;p97"/>
          <p:cNvPicPr preferRelativeResize="0"/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5916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65" name="Google Shape;365;p97"/>
          <p:cNvSpPr txBox="1"/>
          <p:nvPr/>
        </p:nvSpPr>
        <p:spPr>
          <a:xfrm>
            <a:off x="4785231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Colett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T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6" name="Google Shape;366;p97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9297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67" name="Google Shape;367;p97"/>
          <p:cNvSpPr txBox="1"/>
          <p:nvPr/>
        </p:nvSpPr>
        <p:spPr>
          <a:xfrm>
            <a:off x="7001468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Klaus Felln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D Namirial Austri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8" name="Google Shape;368;p97"/>
          <p:cNvSpPr txBox="1"/>
          <p:nvPr/>
        </p:nvSpPr>
        <p:spPr>
          <a:xfrm>
            <a:off x="9177685" y="3030111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rian Dinculescu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D Namirial Romani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9" name="Google Shape;369;p97"/>
          <p:cNvPicPr preferRelativeResize="0"/>
          <p:nvPr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035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70" name="Google Shape;370;p97"/>
          <p:cNvSpPr txBox="1"/>
          <p:nvPr/>
        </p:nvSpPr>
        <p:spPr>
          <a:xfrm>
            <a:off x="373726" y="5425917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ristoph Bimming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Product Manage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71" name="Google Shape;371;p97"/>
          <p:cNvPicPr preferRelativeResize="0"/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9252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72" name="Google Shape;372;p97"/>
          <p:cNvSpPr txBox="1"/>
          <p:nvPr/>
        </p:nvSpPr>
        <p:spPr>
          <a:xfrm>
            <a:off x="2549943" y="5425917"/>
            <a:ext cx="20045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icola Bruni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roduct Manager </a:t>
            </a:r>
            <a:b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MS, LTA &amp; eInvoice</a:t>
            </a: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73" name="Google Shape;373;p97"/>
          <p:cNvPicPr preferRelativeResize="0"/>
          <p:nvPr/>
        </p:nvPicPr>
        <p:blipFill rotWithShape="1">
          <a:blip r:embed="rId8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8400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74" name="Google Shape;374;p97"/>
          <p:cNvSpPr txBox="1"/>
          <p:nvPr/>
        </p:nvSpPr>
        <p:spPr>
          <a:xfrm>
            <a:off x="4719091" y="5425917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Franco Tafini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DTS Compliance</a:t>
            </a:r>
            <a:endParaRPr sz="10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75" name="Google Shape;375;p97"/>
          <p:cNvPicPr preferRelativeResize="0"/>
          <p:nvPr/>
        </p:nvPicPr>
        <p:blipFill rotWithShape="1">
          <a:blip r:embed="rId9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1236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76" name="Google Shape;376;p97"/>
          <p:cNvSpPr txBox="1"/>
          <p:nvPr/>
        </p:nvSpPr>
        <p:spPr>
          <a:xfrm>
            <a:off x="6991927" y="5425917"/>
            <a:ext cx="20045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örg Lenz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Marketing &amp; Communic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7" name="Google Shape;377;p97"/>
          <p:cNvSpPr txBox="1"/>
          <p:nvPr/>
        </p:nvSpPr>
        <p:spPr>
          <a:xfrm>
            <a:off x="9158635" y="5425053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Bernhard Eitzing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T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78" name="Google Shape;378;p97"/>
          <p:cNvPicPr preferRelativeResize="0"/>
          <p:nvPr/>
        </p:nvPicPr>
        <p:blipFill rotWithShape="1"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82678" y="1350442"/>
            <a:ext cx="1590245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379" name="Google Shape;379;p97"/>
          <p:cNvSpPr>
            <a:spLocks noGrp="1"/>
          </p:cNvSpPr>
          <p:nvPr>
            <p:ph type="pic" idx="2"/>
          </p:nvPr>
        </p:nvSpPr>
        <p:spPr>
          <a:xfrm>
            <a:off x="9298474" y="3746249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80" name="Google Shape;380;p97"/>
          <p:cNvSpPr txBox="1"/>
          <p:nvPr/>
        </p:nvSpPr>
        <p:spPr>
          <a:xfrm>
            <a:off x="489332" y="878085"/>
            <a:ext cx="9506249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" sz="15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From Namirial Heritage Organis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1" name="Google Shape;381;p97"/>
          <p:cNvSpPr txBox="1"/>
          <p:nvPr/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r>
              <a:rPr lang="en" sz="2800" b="1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Selected Speakers 2023 </a:t>
            </a:r>
            <a:endParaRPr sz="2800" b="1" i="0" u="none" strike="noStrike" cap="none">
              <a:solidFill>
                <a:schemeClr val="dk1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26126836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Desktop">
  <p:cSld name="V2 Content and Desktop"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98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4" name="Google Shape;384;p98"/>
          <p:cNvSpPr>
            <a:spLocks noGrp="1"/>
          </p:cNvSpPr>
          <p:nvPr>
            <p:ph type="pic" idx="2"/>
          </p:nvPr>
        </p:nvSpPr>
        <p:spPr>
          <a:xfrm>
            <a:off x="5073678" y="1638276"/>
            <a:ext cx="6026311" cy="370718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85" name="Google Shape;385;p98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3515643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8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87" name="Google Shape;387;p9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8840" y="1273377"/>
            <a:ext cx="6679422" cy="5323365"/>
          </a:xfrm>
          <a:prstGeom prst="rect">
            <a:avLst/>
          </a:prstGeom>
          <a:noFill/>
          <a:ln>
            <a:noFill/>
          </a:ln>
        </p:spPr>
      </p:pic>
      <p:sp>
        <p:nvSpPr>
          <p:cNvPr id="388" name="Google Shape;388;p98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6583726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Laptop">
  <p:cSld name="V2 Content and Laptop"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Google Shape;390;p99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91" name="Google Shape;391;p9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3827" y="1605034"/>
            <a:ext cx="7461607" cy="4665138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99"/>
          <p:cNvSpPr>
            <a:spLocks noGrp="1"/>
          </p:cNvSpPr>
          <p:nvPr>
            <p:ph type="pic" idx="2"/>
          </p:nvPr>
        </p:nvSpPr>
        <p:spPr>
          <a:xfrm>
            <a:off x="5259519" y="1911302"/>
            <a:ext cx="5740782" cy="341696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93" name="Google Shape;393;p99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3515643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4" name="Google Shape;394;p99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95" name="Google Shape;395;p99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32765821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Tablet">
  <p:cSld name="V2 Content and Tablet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Google Shape;397;p100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98" name="Google Shape;398;p100"/>
          <p:cNvSpPr>
            <a:spLocks noGrp="1"/>
          </p:cNvSpPr>
          <p:nvPr>
            <p:ph type="pic" idx="2"/>
          </p:nvPr>
        </p:nvSpPr>
        <p:spPr>
          <a:xfrm>
            <a:off x="7351366" y="1266971"/>
            <a:ext cx="3641008" cy="477727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99" name="Google Shape;399;p100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6253901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" name="Google Shape;400;p100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01" name="Google Shape;401;p10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8666" y="790575"/>
            <a:ext cx="4058939" cy="6352240"/>
          </a:xfrm>
          <a:prstGeom prst="rect">
            <a:avLst/>
          </a:prstGeom>
          <a:noFill/>
          <a:ln>
            <a:noFill/>
          </a:ln>
        </p:spPr>
      </p:pic>
      <p:sp>
        <p:nvSpPr>
          <p:cNvPr id="402" name="Google Shape;402;p100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991018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hone">
  <p:cSld name="V2 Content and Phone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101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05" name="Google Shape;405;p10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63583" y="1001281"/>
            <a:ext cx="2859726" cy="5856719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101"/>
          <p:cNvSpPr>
            <a:spLocks noGrp="1"/>
          </p:cNvSpPr>
          <p:nvPr>
            <p:ph type="pic" idx="2"/>
          </p:nvPr>
        </p:nvSpPr>
        <p:spPr>
          <a:xfrm>
            <a:off x="8834615" y="1329349"/>
            <a:ext cx="2303188" cy="4579875"/>
          </a:xfrm>
          <a:prstGeom prst="roundRect">
            <a:avLst>
              <a:gd name="adj" fmla="val 6970"/>
            </a:avLst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07" name="Google Shape;407;p101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7852693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" name="Google Shape;408;p101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09" name="Google Shape;409;p101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386049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Global Footprint">
  <p:cSld name="V2 Namirial Global Footprint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102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" name="Google Shape;412;p102"/>
          <p:cNvSpPr txBox="1"/>
          <p:nvPr/>
        </p:nvSpPr>
        <p:spPr>
          <a:xfrm>
            <a:off x="497150" y="835613"/>
            <a:ext cx="9386656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</a:pPr>
            <a:r>
              <a:rPr lang="en" sz="14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Namirial Group includes the companies Bit4id, Namirial, Netheos &amp; Evicertia</a:t>
            </a:r>
            <a:endParaRPr sz="1400" b="0" i="0" u="none" strike="noStrike" cap="none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13" name="Google Shape;413;p102"/>
          <p:cNvSpPr txBox="1"/>
          <p:nvPr/>
        </p:nvSpPr>
        <p:spPr>
          <a:xfrm>
            <a:off x="593020" y="6071609"/>
            <a:ext cx="2789074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" sz="1000" b="0" i="0" u="none" strike="noStrike" cap="none">
                <a:solidFill>
                  <a:srgbClr val="7F7F7F"/>
                </a:solidFill>
                <a:latin typeface="Open Sans"/>
                <a:ea typeface="Open Sans"/>
                <a:cs typeface="Open Sans"/>
                <a:sym typeface="Open Sans"/>
              </a:rPr>
              <a:t>Data as of June 202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4" name="Google Shape;414;p102"/>
          <p:cNvSpPr txBox="1"/>
          <p:nvPr/>
        </p:nvSpPr>
        <p:spPr>
          <a:xfrm>
            <a:off x="828591" y="1228406"/>
            <a:ext cx="259472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85+</a:t>
            </a:r>
            <a:r>
              <a:rPr lang="en" sz="11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Countries with customer deployments in cloud &amp; on-premise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5" name="Google Shape;415;p102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443" y="1651432"/>
            <a:ext cx="381000" cy="381000"/>
          </a:xfrm>
          <a:prstGeom prst="rect">
            <a:avLst/>
          </a:prstGeom>
          <a:noFill/>
          <a:ln>
            <a:noFill/>
          </a:ln>
        </p:spPr>
      </p:pic>
      <p:sp>
        <p:nvSpPr>
          <p:cNvPr id="416" name="Google Shape;416;p102"/>
          <p:cNvSpPr txBox="1"/>
          <p:nvPr/>
        </p:nvSpPr>
        <p:spPr>
          <a:xfrm>
            <a:off x="832522" y="1621252"/>
            <a:ext cx="2232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1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150+ </a:t>
            </a:r>
            <a:r>
              <a:rPr lang="en" sz="11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trategic Partners</a:t>
            </a:r>
            <a:br>
              <a:rPr lang="en" sz="11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1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1000+ </a:t>
            </a:r>
            <a:r>
              <a:rPr lang="en" sz="11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artner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7" name="Google Shape;417;p102"/>
          <p:cNvSpPr txBox="1"/>
          <p:nvPr/>
        </p:nvSpPr>
        <p:spPr>
          <a:xfrm>
            <a:off x="552267" y="3655316"/>
            <a:ext cx="246174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roup headquarters in Ital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ocal Presences </a:t>
            </a:r>
            <a:br>
              <a:rPr lang="en" sz="14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9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rgentina, Austria, Brazil, Colombia, Costa Rica, Ecuador, France, Germany, Greece, Guatemala, India, Mexico, Peru, Portugal, Romania, Spain, Turkey, UK  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8" name="Google Shape;418;p102"/>
          <p:cNvSpPr/>
          <p:nvPr/>
        </p:nvSpPr>
        <p:spPr>
          <a:xfrm>
            <a:off x="426417" y="5098006"/>
            <a:ext cx="144000" cy="144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19" name="Google Shape;419;p102"/>
          <p:cNvSpPr/>
          <p:nvPr/>
        </p:nvSpPr>
        <p:spPr>
          <a:xfrm>
            <a:off x="422868" y="4924375"/>
            <a:ext cx="144000" cy="144000"/>
          </a:xfrm>
          <a:prstGeom prst="ellipse">
            <a:avLst/>
          </a:prstGeom>
          <a:solidFill>
            <a:srgbClr val="CCEDEB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0" name="Google Shape;420;p102"/>
          <p:cNvSpPr/>
          <p:nvPr/>
        </p:nvSpPr>
        <p:spPr>
          <a:xfrm>
            <a:off x="408000" y="3876887"/>
            <a:ext cx="144000" cy="144000"/>
          </a:xfrm>
          <a:prstGeom prst="ellipse">
            <a:avLst/>
          </a:prstGeom>
          <a:solidFill>
            <a:srgbClr val="00A69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1" name="Google Shape;421;p102"/>
          <p:cNvSpPr txBox="1"/>
          <p:nvPr/>
        </p:nvSpPr>
        <p:spPr>
          <a:xfrm>
            <a:off x="582226" y="4744900"/>
            <a:ext cx="280800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ountries with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artners &amp; custom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ustomers*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2" name="Google Shape;422;p102"/>
          <p:cNvSpPr/>
          <p:nvPr/>
        </p:nvSpPr>
        <p:spPr>
          <a:xfrm>
            <a:off x="627126" y="5359876"/>
            <a:ext cx="3473928" cy="71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7625" tIns="47625" rIns="47625" bIns="476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</a:rPr>
              <a:t>Recent acquisitions = new subsidiar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sng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theos</a:t>
            </a:r>
            <a:r>
              <a:rPr lang="en" sz="1000" b="0" i="0" u="none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</a:rPr>
              <a:t> – Nov 2021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sng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icertia</a:t>
            </a:r>
            <a:r>
              <a:rPr lang="en" sz="1000" b="0" i="0" u="none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</a:rPr>
              <a:t> – Feb 2022</a:t>
            </a:r>
            <a:br>
              <a:rPr lang="en" sz="1000" b="0" i="0" u="none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" sz="1000" b="0" i="0" u="sng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t4id</a:t>
            </a:r>
            <a:r>
              <a:rPr lang="en" sz="1000" b="0" i="0" u="none" strike="noStrike" cap="none">
                <a:solidFill>
                  <a:srgbClr val="00A69D"/>
                </a:solidFill>
                <a:latin typeface="Open Sans"/>
                <a:ea typeface="Open Sans"/>
                <a:cs typeface="Open Sans"/>
                <a:sym typeface="Open Sans"/>
              </a:rPr>
              <a:t> – Apr 202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3" name="Google Shape;423;p102"/>
          <p:cNvSpPr/>
          <p:nvPr/>
        </p:nvSpPr>
        <p:spPr>
          <a:xfrm>
            <a:off x="4381314" y="4564367"/>
            <a:ext cx="994834" cy="1173330"/>
          </a:xfrm>
          <a:custGeom>
            <a:avLst/>
            <a:gdLst/>
            <a:ahLst/>
            <a:cxnLst/>
            <a:rect l="l" t="t" r="r" b="b"/>
            <a:pathLst>
              <a:path w="346" h="423" extrusionOk="0">
                <a:moveTo>
                  <a:pt x="182" y="70"/>
                </a:moveTo>
                <a:cubicBezTo>
                  <a:pt x="183" y="69"/>
                  <a:pt x="183" y="70"/>
                  <a:pt x="183" y="70"/>
                </a:cubicBezTo>
                <a:cubicBezTo>
                  <a:pt x="182" y="71"/>
                  <a:pt x="180" y="71"/>
                  <a:pt x="180" y="72"/>
                </a:cubicBezTo>
                <a:cubicBezTo>
                  <a:pt x="179" y="73"/>
                  <a:pt x="179" y="74"/>
                  <a:pt x="178" y="75"/>
                </a:cubicBezTo>
                <a:cubicBezTo>
                  <a:pt x="177" y="76"/>
                  <a:pt x="179" y="71"/>
                  <a:pt x="182" y="70"/>
                </a:cubicBezTo>
                <a:close/>
                <a:moveTo>
                  <a:pt x="207" y="68"/>
                </a:moveTo>
                <a:cubicBezTo>
                  <a:pt x="208" y="69"/>
                  <a:pt x="206" y="70"/>
                  <a:pt x="206" y="70"/>
                </a:cubicBezTo>
                <a:cubicBezTo>
                  <a:pt x="206" y="69"/>
                  <a:pt x="206" y="68"/>
                  <a:pt x="207" y="68"/>
                </a:cubicBezTo>
                <a:close/>
                <a:moveTo>
                  <a:pt x="199" y="64"/>
                </a:moveTo>
                <a:cubicBezTo>
                  <a:pt x="198" y="65"/>
                  <a:pt x="198" y="66"/>
                  <a:pt x="200" y="66"/>
                </a:cubicBezTo>
                <a:cubicBezTo>
                  <a:pt x="200" y="66"/>
                  <a:pt x="201" y="64"/>
                  <a:pt x="199" y="64"/>
                </a:cubicBezTo>
                <a:close/>
                <a:moveTo>
                  <a:pt x="202" y="61"/>
                </a:moveTo>
                <a:cubicBezTo>
                  <a:pt x="203" y="62"/>
                  <a:pt x="203" y="62"/>
                  <a:pt x="203" y="62"/>
                </a:cubicBezTo>
                <a:cubicBezTo>
                  <a:pt x="203" y="62"/>
                  <a:pt x="203" y="61"/>
                  <a:pt x="202" y="61"/>
                </a:cubicBezTo>
                <a:close/>
                <a:moveTo>
                  <a:pt x="190" y="410"/>
                </a:moveTo>
                <a:cubicBezTo>
                  <a:pt x="189" y="410"/>
                  <a:pt x="187" y="413"/>
                  <a:pt x="190" y="412"/>
                </a:cubicBezTo>
                <a:cubicBezTo>
                  <a:pt x="190" y="412"/>
                  <a:pt x="191" y="410"/>
                  <a:pt x="190" y="410"/>
                </a:cubicBezTo>
                <a:close/>
                <a:moveTo>
                  <a:pt x="195" y="409"/>
                </a:moveTo>
                <a:cubicBezTo>
                  <a:pt x="192" y="409"/>
                  <a:pt x="191" y="412"/>
                  <a:pt x="196" y="411"/>
                </a:cubicBezTo>
                <a:cubicBezTo>
                  <a:pt x="198" y="411"/>
                  <a:pt x="199" y="408"/>
                  <a:pt x="195" y="409"/>
                </a:cubicBezTo>
                <a:close/>
                <a:moveTo>
                  <a:pt x="198" y="405"/>
                </a:moveTo>
                <a:cubicBezTo>
                  <a:pt x="197" y="407"/>
                  <a:pt x="197" y="407"/>
                  <a:pt x="197" y="407"/>
                </a:cubicBezTo>
                <a:cubicBezTo>
                  <a:pt x="198" y="406"/>
                  <a:pt x="204" y="405"/>
                  <a:pt x="198" y="405"/>
                </a:cubicBezTo>
                <a:close/>
                <a:moveTo>
                  <a:pt x="177" y="76"/>
                </a:moveTo>
                <a:cubicBezTo>
                  <a:pt x="176" y="78"/>
                  <a:pt x="176" y="78"/>
                  <a:pt x="176" y="78"/>
                </a:cubicBezTo>
                <a:cubicBezTo>
                  <a:pt x="170" y="78"/>
                  <a:pt x="166" y="77"/>
                  <a:pt x="162" y="78"/>
                </a:cubicBezTo>
                <a:cubicBezTo>
                  <a:pt x="163" y="76"/>
                  <a:pt x="163" y="76"/>
                  <a:pt x="163" y="76"/>
                </a:cubicBezTo>
                <a:cubicBezTo>
                  <a:pt x="167" y="76"/>
                  <a:pt x="171" y="79"/>
                  <a:pt x="176" y="77"/>
                </a:cubicBezTo>
                <a:cubicBezTo>
                  <a:pt x="176" y="77"/>
                  <a:pt x="176" y="76"/>
                  <a:pt x="177" y="76"/>
                </a:cubicBezTo>
                <a:close/>
                <a:moveTo>
                  <a:pt x="200" y="58"/>
                </a:moveTo>
                <a:cubicBezTo>
                  <a:pt x="199" y="58"/>
                  <a:pt x="199" y="59"/>
                  <a:pt x="201" y="59"/>
                </a:cubicBezTo>
                <a:cubicBezTo>
                  <a:pt x="201" y="59"/>
                  <a:pt x="203" y="57"/>
                  <a:pt x="200" y="58"/>
                </a:cubicBezTo>
                <a:close/>
                <a:moveTo>
                  <a:pt x="221" y="332"/>
                </a:moveTo>
                <a:cubicBezTo>
                  <a:pt x="225" y="331"/>
                  <a:pt x="227" y="329"/>
                  <a:pt x="230" y="327"/>
                </a:cubicBezTo>
                <a:cubicBezTo>
                  <a:pt x="231" y="327"/>
                  <a:pt x="232" y="325"/>
                  <a:pt x="232" y="324"/>
                </a:cubicBezTo>
                <a:cubicBezTo>
                  <a:pt x="234" y="323"/>
                  <a:pt x="237" y="323"/>
                  <a:pt x="239" y="322"/>
                </a:cubicBezTo>
                <a:cubicBezTo>
                  <a:pt x="240" y="321"/>
                  <a:pt x="241" y="317"/>
                  <a:pt x="241" y="317"/>
                </a:cubicBezTo>
                <a:cubicBezTo>
                  <a:pt x="243" y="316"/>
                  <a:pt x="247" y="317"/>
                  <a:pt x="249" y="316"/>
                </a:cubicBezTo>
                <a:cubicBezTo>
                  <a:pt x="249" y="316"/>
                  <a:pt x="250" y="315"/>
                  <a:pt x="250" y="314"/>
                </a:cubicBezTo>
                <a:cubicBezTo>
                  <a:pt x="252" y="314"/>
                  <a:pt x="254" y="314"/>
                  <a:pt x="257" y="314"/>
                </a:cubicBezTo>
                <a:cubicBezTo>
                  <a:pt x="256" y="312"/>
                  <a:pt x="256" y="311"/>
                  <a:pt x="255" y="309"/>
                </a:cubicBezTo>
                <a:cubicBezTo>
                  <a:pt x="255" y="309"/>
                  <a:pt x="256" y="309"/>
                  <a:pt x="257" y="309"/>
                </a:cubicBezTo>
                <a:cubicBezTo>
                  <a:pt x="257" y="309"/>
                  <a:pt x="258" y="307"/>
                  <a:pt x="259" y="307"/>
                </a:cubicBezTo>
                <a:cubicBezTo>
                  <a:pt x="259" y="307"/>
                  <a:pt x="260" y="308"/>
                  <a:pt x="262" y="308"/>
                </a:cubicBezTo>
                <a:cubicBezTo>
                  <a:pt x="262" y="308"/>
                  <a:pt x="264" y="306"/>
                  <a:pt x="264" y="306"/>
                </a:cubicBezTo>
                <a:cubicBezTo>
                  <a:pt x="267" y="305"/>
                  <a:pt x="268" y="306"/>
                  <a:pt x="271" y="306"/>
                </a:cubicBezTo>
                <a:cubicBezTo>
                  <a:pt x="271" y="305"/>
                  <a:pt x="271" y="302"/>
                  <a:pt x="271" y="302"/>
                </a:cubicBezTo>
                <a:cubicBezTo>
                  <a:pt x="271" y="303"/>
                  <a:pt x="272" y="302"/>
                  <a:pt x="273" y="302"/>
                </a:cubicBezTo>
                <a:cubicBezTo>
                  <a:pt x="273" y="304"/>
                  <a:pt x="273" y="304"/>
                  <a:pt x="273" y="304"/>
                </a:cubicBezTo>
                <a:cubicBezTo>
                  <a:pt x="273" y="304"/>
                  <a:pt x="274" y="305"/>
                  <a:pt x="274" y="305"/>
                </a:cubicBezTo>
                <a:cubicBezTo>
                  <a:pt x="275" y="306"/>
                  <a:pt x="277" y="305"/>
                  <a:pt x="279" y="305"/>
                </a:cubicBezTo>
                <a:cubicBezTo>
                  <a:pt x="279" y="304"/>
                  <a:pt x="281" y="303"/>
                  <a:pt x="281" y="302"/>
                </a:cubicBezTo>
                <a:cubicBezTo>
                  <a:pt x="281" y="302"/>
                  <a:pt x="280" y="300"/>
                  <a:pt x="281" y="299"/>
                </a:cubicBezTo>
                <a:cubicBezTo>
                  <a:pt x="285" y="297"/>
                  <a:pt x="285" y="297"/>
                  <a:pt x="285" y="297"/>
                </a:cubicBezTo>
                <a:cubicBezTo>
                  <a:pt x="285" y="296"/>
                  <a:pt x="286" y="295"/>
                  <a:pt x="286" y="294"/>
                </a:cubicBezTo>
                <a:cubicBezTo>
                  <a:pt x="285" y="294"/>
                  <a:pt x="285" y="294"/>
                  <a:pt x="285" y="294"/>
                </a:cubicBezTo>
                <a:cubicBezTo>
                  <a:pt x="285" y="292"/>
                  <a:pt x="285" y="292"/>
                  <a:pt x="285" y="289"/>
                </a:cubicBezTo>
                <a:cubicBezTo>
                  <a:pt x="283" y="289"/>
                  <a:pt x="285" y="288"/>
                  <a:pt x="285" y="289"/>
                </a:cubicBezTo>
                <a:cubicBezTo>
                  <a:pt x="285" y="288"/>
                  <a:pt x="285" y="287"/>
                  <a:pt x="285" y="287"/>
                </a:cubicBezTo>
                <a:cubicBezTo>
                  <a:pt x="285" y="286"/>
                  <a:pt x="287" y="285"/>
                  <a:pt x="287" y="285"/>
                </a:cubicBezTo>
                <a:cubicBezTo>
                  <a:pt x="288" y="283"/>
                  <a:pt x="287" y="281"/>
                  <a:pt x="288" y="279"/>
                </a:cubicBezTo>
                <a:cubicBezTo>
                  <a:pt x="289" y="278"/>
                  <a:pt x="292" y="276"/>
                  <a:pt x="293" y="275"/>
                </a:cubicBezTo>
                <a:cubicBezTo>
                  <a:pt x="293" y="274"/>
                  <a:pt x="292" y="273"/>
                  <a:pt x="293" y="272"/>
                </a:cubicBezTo>
                <a:cubicBezTo>
                  <a:pt x="293" y="271"/>
                  <a:pt x="294" y="272"/>
                  <a:pt x="295" y="271"/>
                </a:cubicBezTo>
                <a:cubicBezTo>
                  <a:pt x="295" y="271"/>
                  <a:pt x="294" y="270"/>
                  <a:pt x="295" y="269"/>
                </a:cubicBezTo>
                <a:cubicBezTo>
                  <a:pt x="295" y="267"/>
                  <a:pt x="299" y="266"/>
                  <a:pt x="300" y="264"/>
                </a:cubicBezTo>
                <a:cubicBezTo>
                  <a:pt x="301" y="261"/>
                  <a:pt x="300" y="256"/>
                  <a:pt x="301" y="253"/>
                </a:cubicBezTo>
                <a:cubicBezTo>
                  <a:pt x="301" y="251"/>
                  <a:pt x="304" y="249"/>
                  <a:pt x="306" y="247"/>
                </a:cubicBezTo>
                <a:cubicBezTo>
                  <a:pt x="304" y="245"/>
                  <a:pt x="302" y="240"/>
                  <a:pt x="305" y="236"/>
                </a:cubicBezTo>
                <a:cubicBezTo>
                  <a:pt x="305" y="236"/>
                  <a:pt x="306" y="235"/>
                  <a:pt x="307" y="235"/>
                </a:cubicBezTo>
                <a:cubicBezTo>
                  <a:pt x="307" y="234"/>
                  <a:pt x="307" y="229"/>
                  <a:pt x="307" y="229"/>
                </a:cubicBezTo>
                <a:cubicBezTo>
                  <a:pt x="307" y="227"/>
                  <a:pt x="308" y="225"/>
                  <a:pt x="308" y="223"/>
                </a:cubicBezTo>
                <a:cubicBezTo>
                  <a:pt x="307" y="219"/>
                  <a:pt x="307" y="219"/>
                  <a:pt x="307" y="219"/>
                </a:cubicBezTo>
                <a:cubicBezTo>
                  <a:pt x="306" y="214"/>
                  <a:pt x="306" y="210"/>
                  <a:pt x="307" y="205"/>
                </a:cubicBezTo>
                <a:cubicBezTo>
                  <a:pt x="305" y="205"/>
                  <a:pt x="305" y="205"/>
                  <a:pt x="304" y="204"/>
                </a:cubicBezTo>
                <a:cubicBezTo>
                  <a:pt x="304" y="203"/>
                  <a:pt x="306" y="202"/>
                  <a:pt x="307" y="201"/>
                </a:cubicBezTo>
                <a:cubicBezTo>
                  <a:pt x="307" y="199"/>
                  <a:pt x="306" y="199"/>
                  <a:pt x="307" y="196"/>
                </a:cubicBezTo>
                <a:cubicBezTo>
                  <a:pt x="308" y="195"/>
                  <a:pt x="309" y="195"/>
                  <a:pt x="310" y="193"/>
                </a:cubicBezTo>
                <a:cubicBezTo>
                  <a:pt x="310" y="193"/>
                  <a:pt x="310" y="188"/>
                  <a:pt x="310" y="188"/>
                </a:cubicBezTo>
                <a:cubicBezTo>
                  <a:pt x="314" y="190"/>
                  <a:pt x="313" y="188"/>
                  <a:pt x="315" y="192"/>
                </a:cubicBezTo>
                <a:cubicBezTo>
                  <a:pt x="316" y="191"/>
                  <a:pt x="318" y="188"/>
                  <a:pt x="318" y="187"/>
                </a:cubicBezTo>
                <a:cubicBezTo>
                  <a:pt x="318" y="187"/>
                  <a:pt x="318" y="186"/>
                  <a:pt x="318" y="185"/>
                </a:cubicBezTo>
                <a:cubicBezTo>
                  <a:pt x="318" y="185"/>
                  <a:pt x="320" y="185"/>
                  <a:pt x="320" y="184"/>
                </a:cubicBezTo>
                <a:cubicBezTo>
                  <a:pt x="321" y="182"/>
                  <a:pt x="320" y="181"/>
                  <a:pt x="321" y="179"/>
                </a:cubicBezTo>
                <a:cubicBezTo>
                  <a:pt x="321" y="177"/>
                  <a:pt x="323" y="176"/>
                  <a:pt x="324" y="174"/>
                </a:cubicBezTo>
                <a:cubicBezTo>
                  <a:pt x="325" y="173"/>
                  <a:pt x="324" y="171"/>
                  <a:pt x="325" y="170"/>
                </a:cubicBezTo>
                <a:cubicBezTo>
                  <a:pt x="325" y="169"/>
                  <a:pt x="331" y="164"/>
                  <a:pt x="331" y="164"/>
                </a:cubicBezTo>
                <a:cubicBezTo>
                  <a:pt x="332" y="164"/>
                  <a:pt x="333" y="164"/>
                  <a:pt x="334" y="164"/>
                </a:cubicBezTo>
                <a:cubicBezTo>
                  <a:pt x="335" y="163"/>
                  <a:pt x="335" y="162"/>
                  <a:pt x="336" y="161"/>
                </a:cubicBezTo>
                <a:cubicBezTo>
                  <a:pt x="337" y="160"/>
                  <a:pt x="338" y="159"/>
                  <a:pt x="339" y="158"/>
                </a:cubicBezTo>
                <a:cubicBezTo>
                  <a:pt x="339" y="158"/>
                  <a:pt x="339" y="157"/>
                  <a:pt x="339" y="156"/>
                </a:cubicBezTo>
                <a:cubicBezTo>
                  <a:pt x="339" y="156"/>
                  <a:pt x="341" y="155"/>
                  <a:pt x="341" y="154"/>
                </a:cubicBezTo>
                <a:cubicBezTo>
                  <a:pt x="343" y="151"/>
                  <a:pt x="343" y="149"/>
                  <a:pt x="344" y="145"/>
                </a:cubicBezTo>
                <a:cubicBezTo>
                  <a:pt x="346" y="144"/>
                  <a:pt x="346" y="144"/>
                  <a:pt x="346" y="144"/>
                </a:cubicBezTo>
                <a:cubicBezTo>
                  <a:pt x="346" y="141"/>
                  <a:pt x="345" y="140"/>
                  <a:pt x="345" y="138"/>
                </a:cubicBezTo>
                <a:cubicBezTo>
                  <a:pt x="345" y="137"/>
                  <a:pt x="346" y="134"/>
                  <a:pt x="346" y="132"/>
                </a:cubicBezTo>
                <a:cubicBezTo>
                  <a:pt x="344" y="130"/>
                  <a:pt x="344" y="130"/>
                  <a:pt x="344" y="130"/>
                </a:cubicBezTo>
                <a:cubicBezTo>
                  <a:pt x="343" y="129"/>
                  <a:pt x="345" y="126"/>
                  <a:pt x="344" y="123"/>
                </a:cubicBezTo>
                <a:cubicBezTo>
                  <a:pt x="344" y="121"/>
                  <a:pt x="342" y="121"/>
                  <a:pt x="341" y="120"/>
                </a:cubicBezTo>
                <a:cubicBezTo>
                  <a:pt x="341" y="119"/>
                  <a:pt x="341" y="118"/>
                  <a:pt x="341" y="118"/>
                </a:cubicBezTo>
                <a:cubicBezTo>
                  <a:pt x="341" y="117"/>
                  <a:pt x="340" y="117"/>
                  <a:pt x="340" y="117"/>
                </a:cubicBezTo>
                <a:cubicBezTo>
                  <a:pt x="338" y="113"/>
                  <a:pt x="338" y="108"/>
                  <a:pt x="334" y="108"/>
                </a:cubicBezTo>
                <a:cubicBezTo>
                  <a:pt x="332" y="107"/>
                  <a:pt x="330" y="109"/>
                  <a:pt x="330" y="109"/>
                </a:cubicBezTo>
                <a:cubicBezTo>
                  <a:pt x="330" y="109"/>
                  <a:pt x="330" y="107"/>
                  <a:pt x="330" y="107"/>
                </a:cubicBezTo>
                <a:cubicBezTo>
                  <a:pt x="329" y="107"/>
                  <a:pt x="329" y="106"/>
                  <a:pt x="329" y="106"/>
                </a:cubicBezTo>
                <a:cubicBezTo>
                  <a:pt x="326" y="105"/>
                  <a:pt x="325" y="107"/>
                  <a:pt x="323" y="108"/>
                </a:cubicBezTo>
                <a:cubicBezTo>
                  <a:pt x="323" y="107"/>
                  <a:pt x="324" y="106"/>
                  <a:pt x="324" y="106"/>
                </a:cubicBezTo>
                <a:cubicBezTo>
                  <a:pt x="323" y="105"/>
                  <a:pt x="322" y="105"/>
                  <a:pt x="321" y="104"/>
                </a:cubicBezTo>
                <a:cubicBezTo>
                  <a:pt x="321" y="104"/>
                  <a:pt x="321" y="103"/>
                  <a:pt x="321" y="102"/>
                </a:cubicBezTo>
                <a:cubicBezTo>
                  <a:pt x="317" y="98"/>
                  <a:pt x="317" y="98"/>
                  <a:pt x="317" y="98"/>
                </a:cubicBezTo>
                <a:cubicBezTo>
                  <a:pt x="317" y="97"/>
                  <a:pt x="316" y="98"/>
                  <a:pt x="316" y="98"/>
                </a:cubicBezTo>
                <a:cubicBezTo>
                  <a:pt x="313" y="96"/>
                  <a:pt x="310" y="92"/>
                  <a:pt x="307" y="90"/>
                </a:cubicBezTo>
                <a:cubicBezTo>
                  <a:pt x="305" y="89"/>
                  <a:pt x="304" y="89"/>
                  <a:pt x="302" y="88"/>
                </a:cubicBezTo>
                <a:cubicBezTo>
                  <a:pt x="301" y="88"/>
                  <a:pt x="300" y="86"/>
                  <a:pt x="299" y="86"/>
                </a:cubicBezTo>
                <a:cubicBezTo>
                  <a:pt x="295" y="85"/>
                  <a:pt x="294" y="86"/>
                  <a:pt x="290" y="86"/>
                </a:cubicBezTo>
                <a:cubicBezTo>
                  <a:pt x="283" y="85"/>
                  <a:pt x="284" y="82"/>
                  <a:pt x="279" y="84"/>
                </a:cubicBezTo>
                <a:cubicBezTo>
                  <a:pt x="278" y="83"/>
                  <a:pt x="276" y="80"/>
                  <a:pt x="275" y="80"/>
                </a:cubicBezTo>
                <a:cubicBezTo>
                  <a:pt x="273" y="79"/>
                  <a:pt x="272" y="80"/>
                  <a:pt x="271" y="80"/>
                </a:cubicBezTo>
                <a:cubicBezTo>
                  <a:pt x="271" y="80"/>
                  <a:pt x="270" y="80"/>
                  <a:pt x="269" y="80"/>
                </a:cubicBezTo>
                <a:cubicBezTo>
                  <a:pt x="267" y="82"/>
                  <a:pt x="267" y="86"/>
                  <a:pt x="263" y="86"/>
                </a:cubicBezTo>
                <a:cubicBezTo>
                  <a:pt x="261" y="85"/>
                  <a:pt x="262" y="82"/>
                  <a:pt x="263" y="80"/>
                </a:cubicBezTo>
                <a:cubicBezTo>
                  <a:pt x="263" y="80"/>
                  <a:pt x="260" y="80"/>
                  <a:pt x="260" y="80"/>
                </a:cubicBezTo>
                <a:cubicBezTo>
                  <a:pt x="260" y="79"/>
                  <a:pt x="261" y="78"/>
                  <a:pt x="261" y="78"/>
                </a:cubicBezTo>
                <a:cubicBezTo>
                  <a:pt x="262" y="76"/>
                  <a:pt x="261" y="76"/>
                  <a:pt x="261" y="75"/>
                </a:cubicBezTo>
                <a:cubicBezTo>
                  <a:pt x="259" y="75"/>
                  <a:pt x="260" y="76"/>
                  <a:pt x="259" y="74"/>
                </a:cubicBezTo>
                <a:cubicBezTo>
                  <a:pt x="258" y="74"/>
                  <a:pt x="258" y="74"/>
                  <a:pt x="258" y="74"/>
                </a:cubicBezTo>
                <a:cubicBezTo>
                  <a:pt x="258" y="74"/>
                  <a:pt x="258" y="73"/>
                  <a:pt x="259" y="72"/>
                </a:cubicBezTo>
                <a:cubicBezTo>
                  <a:pt x="258" y="71"/>
                  <a:pt x="258" y="71"/>
                  <a:pt x="257" y="70"/>
                </a:cubicBezTo>
                <a:cubicBezTo>
                  <a:pt x="256" y="70"/>
                  <a:pt x="255" y="69"/>
                  <a:pt x="254" y="70"/>
                </a:cubicBezTo>
                <a:cubicBezTo>
                  <a:pt x="254" y="70"/>
                  <a:pt x="253" y="72"/>
                  <a:pt x="252" y="72"/>
                </a:cubicBezTo>
                <a:cubicBezTo>
                  <a:pt x="252" y="71"/>
                  <a:pt x="253" y="70"/>
                  <a:pt x="253" y="68"/>
                </a:cubicBezTo>
                <a:cubicBezTo>
                  <a:pt x="251" y="68"/>
                  <a:pt x="251" y="67"/>
                  <a:pt x="248" y="66"/>
                </a:cubicBezTo>
                <a:cubicBezTo>
                  <a:pt x="248" y="66"/>
                  <a:pt x="248" y="64"/>
                  <a:pt x="248" y="64"/>
                </a:cubicBezTo>
                <a:cubicBezTo>
                  <a:pt x="247" y="64"/>
                  <a:pt x="247" y="66"/>
                  <a:pt x="245" y="65"/>
                </a:cubicBezTo>
                <a:cubicBezTo>
                  <a:pt x="244" y="65"/>
                  <a:pt x="242" y="62"/>
                  <a:pt x="241" y="61"/>
                </a:cubicBezTo>
                <a:cubicBezTo>
                  <a:pt x="239" y="60"/>
                  <a:pt x="239" y="60"/>
                  <a:pt x="239" y="60"/>
                </a:cubicBezTo>
                <a:cubicBezTo>
                  <a:pt x="232" y="58"/>
                  <a:pt x="230" y="63"/>
                  <a:pt x="226" y="65"/>
                </a:cubicBezTo>
                <a:cubicBezTo>
                  <a:pt x="227" y="66"/>
                  <a:pt x="228" y="67"/>
                  <a:pt x="228" y="68"/>
                </a:cubicBezTo>
                <a:cubicBezTo>
                  <a:pt x="227" y="69"/>
                  <a:pt x="226" y="68"/>
                  <a:pt x="225" y="68"/>
                </a:cubicBezTo>
                <a:cubicBezTo>
                  <a:pt x="221" y="72"/>
                  <a:pt x="221" y="72"/>
                  <a:pt x="221" y="72"/>
                </a:cubicBezTo>
                <a:cubicBezTo>
                  <a:pt x="224" y="72"/>
                  <a:pt x="217" y="75"/>
                  <a:pt x="220" y="72"/>
                </a:cubicBezTo>
                <a:cubicBezTo>
                  <a:pt x="216" y="72"/>
                  <a:pt x="214" y="72"/>
                  <a:pt x="210" y="74"/>
                </a:cubicBezTo>
                <a:cubicBezTo>
                  <a:pt x="208" y="72"/>
                  <a:pt x="208" y="71"/>
                  <a:pt x="207" y="70"/>
                </a:cubicBezTo>
                <a:cubicBezTo>
                  <a:pt x="211" y="73"/>
                  <a:pt x="209" y="72"/>
                  <a:pt x="214" y="71"/>
                </a:cubicBezTo>
                <a:cubicBezTo>
                  <a:pt x="214" y="71"/>
                  <a:pt x="218" y="72"/>
                  <a:pt x="219" y="72"/>
                </a:cubicBezTo>
                <a:cubicBezTo>
                  <a:pt x="219" y="72"/>
                  <a:pt x="219" y="71"/>
                  <a:pt x="219" y="70"/>
                </a:cubicBezTo>
                <a:cubicBezTo>
                  <a:pt x="221" y="70"/>
                  <a:pt x="221" y="70"/>
                  <a:pt x="222" y="70"/>
                </a:cubicBezTo>
                <a:cubicBezTo>
                  <a:pt x="222" y="68"/>
                  <a:pt x="222" y="68"/>
                  <a:pt x="222" y="68"/>
                </a:cubicBezTo>
                <a:cubicBezTo>
                  <a:pt x="222" y="68"/>
                  <a:pt x="224" y="68"/>
                  <a:pt x="224" y="68"/>
                </a:cubicBezTo>
                <a:cubicBezTo>
                  <a:pt x="225" y="67"/>
                  <a:pt x="224" y="66"/>
                  <a:pt x="225" y="64"/>
                </a:cubicBezTo>
                <a:cubicBezTo>
                  <a:pt x="226" y="64"/>
                  <a:pt x="226" y="64"/>
                  <a:pt x="226" y="64"/>
                </a:cubicBezTo>
                <a:cubicBezTo>
                  <a:pt x="227" y="62"/>
                  <a:pt x="226" y="60"/>
                  <a:pt x="225" y="58"/>
                </a:cubicBezTo>
                <a:cubicBezTo>
                  <a:pt x="227" y="58"/>
                  <a:pt x="225" y="55"/>
                  <a:pt x="225" y="55"/>
                </a:cubicBezTo>
                <a:cubicBezTo>
                  <a:pt x="225" y="55"/>
                  <a:pt x="225" y="55"/>
                  <a:pt x="225" y="55"/>
                </a:cubicBezTo>
                <a:cubicBezTo>
                  <a:pt x="223" y="55"/>
                  <a:pt x="222" y="55"/>
                  <a:pt x="219" y="55"/>
                </a:cubicBezTo>
                <a:cubicBezTo>
                  <a:pt x="220" y="55"/>
                  <a:pt x="220" y="51"/>
                  <a:pt x="219" y="51"/>
                </a:cubicBezTo>
                <a:cubicBezTo>
                  <a:pt x="214" y="50"/>
                  <a:pt x="214" y="54"/>
                  <a:pt x="212" y="55"/>
                </a:cubicBezTo>
                <a:cubicBezTo>
                  <a:pt x="211" y="56"/>
                  <a:pt x="209" y="56"/>
                  <a:pt x="209" y="57"/>
                </a:cubicBezTo>
                <a:cubicBezTo>
                  <a:pt x="208" y="57"/>
                  <a:pt x="209" y="59"/>
                  <a:pt x="208" y="60"/>
                </a:cubicBezTo>
                <a:cubicBezTo>
                  <a:pt x="208" y="60"/>
                  <a:pt x="206" y="60"/>
                  <a:pt x="206" y="61"/>
                </a:cubicBezTo>
                <a:cubicBezTo>
                  <a:pt x="205" y="64"/>
                  <a:pt x="206" y="66"/>
                  <a:pt x="206" y="68"/>
                </a:cubicBezTo>
                <a:cubicBezTo>
                  <a:pt x="205" y="67"/>
                  <a:pt x="205" y="67"/>
                  <a:pt x="205" y="67"/>
                </a:cubicBezTo>
                <a:cubicBezTo>
                  <a:pt x="203" y="62"/>
                  <a:pt x="203" y="65"/>
                  <a:pt x="201" y="66"/>
                </a:cubicBezTo>
                <a:cubicBezTo>
                  <a:pt x="200" y="67"/>
                  <a:pt x="199" y="67"/>
                  <a:pt x="199" y="67"/>
                </a:cubicBezTo>
                <a:cubicBezTo>
                  <a:pt x="198" y="68"/>
                  <a:pt x="200" y="72"/>
                  <a:pt x="199" y="75"/>
                </a:cubicBezTo>
                <a:cubicBezTo>
                  <a:pt x="199" y="76"/>
                  <a:pt x="197" y="77"/>
                  <a:pt x="197" y="78"/>
                </a:cubicBezTo>
                <a:cubicBezTo>
                  <a:pt x="196" y="80"/>
                  <a:pt x="198" y="75"/>
                  <a:pt x="198" y="75"/>
                </a:cubicBezTo>
                <a:cubicBezTo>
                  <a:pt x="198" y="73"/>
                  <a:pt x="197" y="69"/>
                  <a:pt x="197" y="68"/>
                </a:cubicBezTo>
                <a:cubicBezTo>
                  <a:pt x="197" y="68"/>
                  <a:pt x="197" y="66"/>
                  <a:pt x="197" y="66"/>
                </a:cubicBezTo>
                <a:cubicBezTo>
                  <a:pt x="196" y="66"/>
                  <a:pt x="195" y="65"/>
                  <a:pt x="194" y="66"/>
                </a:cubicBezTo>
                <a:cubicBezTo>
                  <a:pt x="192" y="66"/>
                  <a:pt x="190" y="69"/>
                  <a:pt x="188" y="69"/>
                </a:cubicBezTo>
                <a:cubicBezTo>
                  <a:pt x="186" y="70"/>
                  <a:pt x="185" y="69"/>
                  <a:pt x="183" y="70"/>
                </a:cubicBezTo>
                <a:cubicBezTo>
                  <a:pt x="186" y="69"/>
                  <a:pt x="190" y="66"/>
                  <a:pt x="193" y="65"/>
                </a:cubicBezTo>
                <a:cubicBezTo>
                  <a:pt x="193" y="65"/>
                  <a:pt x="195" y="66"/>
                  <a:pt x="196" y="65"/>
                </a:cubicBezTo>
                <a:cubicBezTo>
                  <a:pt x="197" y="64"/>
                  <a:pt x="196" y="61"/>
                  <a:pt x="197" y="60"/>
                </a:cubicBezTo>
                <a:cubicBezTo>
                  <a:pt x="197" y="59"/>
                  <a:pt x="200" y="57"/>
                  <a:pt x="200" y="55"/>
                </a:cubicBezTo>
                <a:cubicBezTo>
                  <a:pt x="200" y="55"/>
                  <a:pt x="200" y="54"/>
                  <a:pt x="200" y="53"/>
                </a:cubicBezTo>
                <a:cubicBezTo>
                  <a:pt x="201" y="52"/>
                  <a:pt x="203" y="51"/>
                  <a:pt x="204" y="51"/>
                </a:cubicBezTo>
                <a:cubicBezTo>
                  <a:pt x="205" y="50"/>
                  <a:pt x="205" y="47"/>
                  <a:pt x="206" y="47"/>
                </a:cubicBezTo>
                <a:cubicBezTo>
                  <a:pt x="207" y="47"/>
                  <a:pt x="207" y="49"/>
                  <a:pt x="206" y="49"/>
                </a:cubicBezTo>
                <a:cubicBezTo>
                  <a:pt x="206" y="50"/>
                  <a:pt x="206" y="51"/>
                  <a:pt x="207" y="53"/>
                </a:cubicBezTo>
                <a:cubicBezTo>
                  <a:pt x="208" y="52"/>
                  <a:pt x="213" y="54"/>
                  <a:pt x="212" y="51"/>
                </a:cubicBezTo>
                <a:cubicBezTo>
                  <a:pt x="212" y="50"/>
                  <a:pt x="212" y="50"/>
                  <a:pt x="211" y="50"/>
                </a:cubicBezTo>
                <a:cubicBezTo>
                  <a:pt x="211" y="49"/>
                  <a:pt x="211" y="47"/>
                  <a:pt x="211" y="47"/>
                </a:cubicBezTo>
                <a:cubicBezTo>
                  <a:pt x="213" y="47"/>
                  <a:pt x="213" y="47"/>
                  <a:pt x="213" y="47"/>
                </a:cubicBezTo>
                <a:cubicBezTo>
                  <a:pt x="213" y="45"/>
                  <a:pt x="214" y="43"/>
                  <a:pt x="214" y="41"/>
                </a:cubicBezTo>
                <a:cubicBezTo>
                  <a:pt x="213" y="42"/>
                  <a:pt x="212" y="41"/>
                  <a:pt x="212" y="41"/>
                </a:cubicBezTo>
                <a:cubicBezTo>
                  <a:pt x="211" y="41"/>
                  <a:pt x="210" y="43"/>
                  <a:pt x="210" y="43"/>
                </a:cubicBezTo>
                <a:cubicBezTo>
                  <a:pt x="210" y="44"/>
                  <a:pt x="211" y="44"/>
                  <a:pt x="210" y="45"/>
                </a:cubicBezTo>
                <a:cubicBezTo>
                  <a:pt x="210" y="45"/>
                  <a:pt x="208" y="45"/>
                  <a:pt x="208" y="45"/>
                </a:cubicBezTo>
                <a:cubicBezTo>
                  <a:pt x="210" y="41"/>
                  <a:pt x="212" y="41"/>
                  <a:pt x="208" y="38"/>
                </a:cubicBezTo>
                <a:cubicBezTo>
                  <a:pt x="213" y="36"/>
                  <a:pt x="211" y="37"/>
                  <a:pt x="213" y="32"/>
                </a:cubicBezTo>
                <a:cubicBezTo>
                  <a:pt x="211" y="32"/>
                  <a:pt x="209" y="32"/>
                  <a:pt x="207" y="32"/>
                </a:cubicBezTo>
                <a:cubicBezTo>
                  <a:pt x="207" y="30"/>
                  <a:pt x="208" y="27"/>
                  <a:pt x="207" y="25"/>
                </a:cubicBezTo>
                <a:cubicBezTo>
                  <a:pt x="207" y="24"/>
                  <a:pt x="205" y="23"/>
                  <a:pt x="205" y="23"/>
                </a:cubicBezTo>
                <a:cubicBezTo>
                  <a:pt x="204" y="20"/>
                  <a:pt x="206" y="19"/>
                  <a:pt x="205" y="16"/>
                </a:cubicBezTo>
                <a:cubicBezTo>
                  <a:pt x="204" y="14"/>
                  <a:pt x="202" y="12"/>
                  <a:pt x="202" y="10"/>
                </a:cubicBezTo>
                <a:cubicBezTo>
                  <a:pt x="201" y="9"/>
                  <a:pt x="202" y="8"/>
                  <a:pt x="202" y="7"/>
                </a:cubicBezTo>
                <a:cubicBezTo>
                  <a:pt x="201" y="7"/>
                  <a:pt x="199" y="7"/>
                  <a:pt x="199" y="6"/>
                </a:cubicBezTo>
                <a:cubicBezTo>
                  <a:pt x="195" y="13"/>
                  <a:pt x="195" y="13"/>
                  <a:pt x="195" y="13"/>
                </a:cubicBezTo>
                <a:cubicBezTo>
                  <a:pt x="194" y="19"/>
                  <a:pt x="194" y="19"/>
                  <a:pt x="194" y="19"/>
                </a:cubicBezTo>
                <a:cubicBezTo>
                  <a:pt x="194" y="19"/>
                  <a:pt x="193" y="27"/>
                  <a:pt x="192" y="28"/>
                </a:cubicBezTo>
                <a:cubicBezTo>
                  <a:pt x="192" y="30"/>
                  <a:pt x="187" y="36"/>
                  <a:pt x="187" y="36"/>
                </a:cubicBezTo>
                <a:cubicBezTo>
                  <a:pt x="184" y="33"/>
                  <a:pt x="184" y="33"/>
                  <a:pt x="184" y="33"/>
                </a:cubicBezTo>
                <a:cubicBezTo>
                  <a:pt x="179" y="34"/>
                  <a:pt x="179" y="34"/>
                  <a:pt x="179" y="34"/>
                </a:cubicBezTo>
                <a:cubicBezTo>
                  <a:pt x="179" y="34"/>
                  <a:pt x="176" y="37"/>
                  <a:pt x="174" y="36"/>
                </a:cubicBezTo>
                <a:cubicBezTo>
                  <a:pt x="172" y="34"/>
                  <a:pt x="171" y="31"/>
                  <a:pt x="171" y="31"/>
                </a:cubicBezTo>
                <a:cubicBezTo>
                  <a:pt x="167" y="31"/>
                  <a:pt x="167" y="31"/>
                  <a:pt x="167" y="31"/>
                </a:cubicBezTo>
                <a:cubicBezTo>
                  <a:pt x="166" y="29"/>
                  <a:pt x="166" y="29"/>
                  <a:pt x="166" y="29"/>
                </a:cubicBezTo>
                <a:cubicBezTo>
                  <a:pt x="163" y="30"/>
                  <a:pt x="163" y="30"/>
                  <a:pt x="163" y="30"/>
                </a:cubicBezTo>
                <a:cubicBezTo>
                  <a:pt x="157" y="28"/>
                  <a:pt x="157" y="28"/>
                  <a:pt x="157" y="28"/>
                </a:cubicBezTo>
                <a:cubicBezTo>
                  <a:pt x="156" y="33"/>
                  <a:pt x="156" y="33"/>
                  <a:pt x="156" y="33"/>
                </a:cubicBezTo>
                <a:cubicBezTo>
                  <a:pt x="159" y="35"/>
                  <a:pt x="159" y="35"/>
                  <a:pt x="159" y="35"/>
                </a:cubicBezTo>
                <a:cubicBezTo>
                  <a:pt x="157" y="39"/>
                  <a:pt x="157" y="39"/>
                  <a:pt x="157" y="39"/>
                </a:cubicBezTo>
                <a:cubicBezTo>
                  <a:pt x="151" y="37"/>
                  <a:pt x="151" y="37"/>
                  <a:pt x="151" y="37"/>
                </a:cubicBezTo>
                <a:cubicBezTo>
                  <a:pt x="147" y="38"/>
                  <a:pt x="147" y="38"/>
                  <a:pt x="147" y="38"/>
                </a:cubicBezTo>
                <a:cubicBezTo>
                  <a:pt x="147" y="38"/>
                  <a:pt x="145" y="39"/>
                  <a:pt x="143" y="37"/>
                </a:cubicBezTo>
                <a:cubicBezTo>
                  <a:pt x="140" y="36"/>
                  <a:pt x="141" y="39"/>
                  <a:pt x="139" y="39"/>
                </a:cubicBezTo>
                <a:cubicBezTo>
                  <a:pt x="137" y="39"/>
                  <a:pt x="138" y="43"/>
                  <a:pt x="137" y="42"/>
                </a:cubicBezTo>
                <a:cubicBezTo>
                  <a:pt x="135" y="41"/>
                  <a:pt x="134" y="45"/>
                  <a:pt x="133" y="45"/>
                </a:cubicBezTo>
                <a:cubicBezTo>
                  <a:pt x="131" y="45"/>
                  <a:pt x="129" y="44"/>
                  <a:pt x="129" y="42"/>
                </a:cubicBezTo>
                <a:cubicBezTo>
                  <a:pt x="129" y="41"/>
                  <a:pt x="126" y="40"/>
                  <a:pt x="125" y="39"/>
                </a:cubicBezTo>
                <a:cubicBezTo>
                  <a:pt x="124" y="37"/>
                  <a:pt x="122" y="36"/>
                  <a:pt x="123" y="33"/>
                </a:cubicBezTo>
                <a:cubicBezTo>
                  <a:pt x="124" y="30"/>
                  <a:pt x="123" y="20"/>
                  <a:pt x="123" y="20"/>
                </a:cubicBezTo>
                <a:cubicBezTo>
                  <a:pt x="123" y="20"/>
                  <a:pt x="126" y="18"/>
                  <a:pt x="128" y="16"/>
                </a:cubicBezTo>
                <a:cubicBezTo>
                  <a:pt x="130" y="15"/>
                  <a:pt x="129" y="14"/>
                  <a:pt x="128" y="12"/>
                </a:cubicBezTo>
                <a:cubicBezTo>
                  <a:pt x="127" y="11"/>
                  <a:pt x="129" y="9"/>
                  <a:pt x="128" y="9"/>
                </a:cubicBezTo>
                <a:cubicBezTo>
                  <a:pt x="127" y="8"/>
                  <a:pt x="123" y="7"/>
                  <a:pt x="123" y="7"/>
                </a:cubicBezTo>
                <a:cubicBezTo>
                  <a:pt x="126" y="4"/>
                  <a:pt x="126" y="4"/>
                  <a:pt x="126" y="4"/>
                </a:cubicBezTo>
                <a:cubicBezTo>
                  <a:pt x="126" y="4"/>
                  <a:pt x="126" y="1"/>
                  <a:pt x="124" y="1"/>
                </a:cubicBezTo>
                <a:cubicBezTo>
                  <a:pt x="122" y="2"/>
                  <a:pt x="118" y="0"/>
                  <a:pt x="118" y="0"/>
                </a:cubicBezTo>
                <a:cubicBezTo>
                  <a:pt x="118" y="3"/>
                  <a:pt x="118" y="3"/>
                  <a:pt x="118" y="3"/>
                </a:cubicBezTo>
                <a:cubicBezTo>
                  <a:pt x="117" y="6"/>
                  <a:pt x="117" y="6"/>
                  <a:pt x="117" y="6"/>
                </a:cubicBezTo>
                <a:cubicBezTo>
                  <a:pt x="117" y="6"/>
                  <a:pt x="114" y="6"/>
                  <a:pt x="113" y="6"/>
                </a:cubicBezTo>
                <a:cubicBezTo>
                  <a:pt x="111" y="6"/>
                  <a:pt x="111" y="10"/>
                  <a:pt x="109" y="10"/>
                </a:cubicBezTo>
                <a:cubicBezTo>
                  <a:pt x="107" y="10"/>
                  <a:pt x="107" y="12"/>
                  <a:pt x="105" y="12"/>
                </a:cubicBezTo>
                <a:cubicBezTo>
                  <a:pt x="103" y="12"/>
                  <a:pt x="100" y="12"/>
                  <a:pt x="100" y="12"/>
                </a:cubicBezTo>
                <a:cubicBezTo>
                  <a:pt x="100" y="12"/>
                  <a:pt x="98" y="11"/>
                  <a:pt x="97" y="13"/>
                </a:cubicBezTo>
                <a:cubicBezTo>
                  <a:pt x="96" y="15"/>
                  <a:pt x="98" y="16"/>
                  <a:pt x="98" y="16"/>
                </a:cubicBezTo>
                <a:cubicBezTo>
                  <a:pt x="98" y="16"/>
                  <a:pt x="94" y="16"/>
                  <a:pt x="93" y="14"/>
                </a:cubicBezTo>
                <a:cubicBezTo>
                  <a:pt x="92" y="13"/>
                  <a:pt x="87" y="13"/>
                  <a:pt x="87" y="13"/>
                </a:cubicBezTo>
                <a:cubicBezTo>
                  <a:pt x="87" y="13"/>
                  <a:pt x="85" y="11"/>
                  <a:pt x="81" y="11"/>
                </a:cubicBezTo>
                <a:cubicBezTo>
                  <a:pt x="78" y="10"/>
                  <a:pt x="78" y="11"/>
                  <a:pt x="80" y="12"/>
                </a:cubicBezTo>
                <a:cubicBezTo>
                  <a:pt x="82" y="13"/>
                  <a:pt x="80" y="15"/>
                  <a:pt x="82" y="17"/>
                </a:cubicBezTo>
                <a:cubicBezTo>
                  <a:pt x="84" y="19"/>
                  <a:pt x="84" y="20"/>
                  <a:pt x="84" y="21"/>
                </a:cubicBezTo>
                <a:cubicBezTo>
                  <a:pt x="85" y="23"/>
                  <a:pt x="83" y="27"/>
                  <a:pt x="83" y="29"/>
                </a:cubicBezTo>
                <a:cubicBezTo>
                  <a:pt x="84" y="31"/>
                  <a:pt x="85" y="31"/>
                  <a:pt x="87" y="32"/>
                </a:cubicBezTo>
                <a:cubicBezTo>
                  <a:pt x="88" y="33"/>
                  <a:pt x="91" y="32"/>
                  <a:pt x="93" y="31"/>
                </a:cubicBezTo>
                <a:cubicBezTo>
                  <a:pt x="95" y="30"/>
                  <a:pt x="96" y="34"/>
                  <a:pt x="96" y="34"/>
                </a:cubicBezTo>
                <a:cubicBezTo>
                  <a:pt x="96" y="34"/>
                  <a:pt x="95" y="35"/>
                  <a:pt x="93" y="35"/>
                </a:cubicBezTo>
                <a:cubicBezTo>
                  <a:pt x="91" y="35"/>
                  <a:pt x="90" y="41"/>
                  <a:pt x="88" y="41"/>
                </a:cubicBezTo>
                <a:cubicBezTo>
                  <a:pt x="86" y="41"/>
                  <a:pt x="86" y="43"/>
                  <a:pt x="84" y="43"/>
                </a:cubicBezTo>
                <a:cubicBezTo>
                  <a:pt x="82" y="43"/>
                  <a:pt x="81" y="47"/>
                  <a:pt x="79" y="47"/>
                </a:cubicBezTo>
                <a:cubicBezTo>
                  <a:pt x="76" y="47"/>
                  <a:pt x="73" y="50"/>
                  <a:pt x="73" y="50"/>
                </a:cubicBezTo>
                <a:cubicBezTo>
                  <a:pt x="69" y="47"/>
                  <a:pt x="69" y="47"/>
                  <a:pt x="69" y="47"/>
                </a:cubicBezTo>
                <a:cubicBezTo>
                  <a:pt x="66" y="46"/>
                  <a:pt x="66" y="46"/>
                  <a:pt x="66" y="46"/>
                </a:cubicBezTo>
                <a:cubicBezTo>
                  <a:pt x="65" y="42"/>
                  <a:pt x="65" y="42"/>
                  <a:pt x="65" y="42"/>
                </a:cubicBezTo>
                <a:cubicBezTo>
                  <a:pt x="62" y="42"/>
                  <a:pt x="62" y="42"/>
                  <a:pt x="62" y="42"/>
                </a:cubicBezTo>
                <a:cubicBezTo>
                  <a:pt x="61" y="46"/>
                  <a:pt x="61" y="46"/>
                  <a:pt x="61" y="46"/>
                </a:cubicBezTo>
                <a:cubicBezTo>
                  <a:pt x="58" y="47"/>
                  <a:pt x="58" y="47"/>
                  <a:pt x="58" y="47"/>
                </a:cubicBezTo>
                <a:cubicBezTo>
                  <a:pt x="55" y="45"/>
                  <a:pt x="55" y="45"/>
                  <a:pt x="55" y="45"/>
                </a:cubicBezTo>
                <a:cubicBezTo>
                  <a:pt x="55" y="47"/>
                  <a:pt x="55" y="47"/>
                  <a:pt x="55" y="47"/>
                </a:cubicBezTo>
                <a:cubicBezTo>
                  <a:pt x="55" y="47"/>
                  <a:pt x="49" y="48"/>
                  <a:pt x="46" y="48"/>
                </a:cubicBezTo>
                <a:cubicBezTo>
                  <a:pt x="44" y="48"/>
                  <a:pt x="41" y="46"/>
                  <a:pt x="41" y="46"/>
                </a:cubicBezTo>
                <a:cubicBezTo>
                  <a:pt x="40" y="50"/>
                  <a:pt x="40" y="50"/>
                  <a:pt x="40" y="50"/>
                </a:cubicBezTo>
                <a:cubicBezTo>
                  <a:pt x="45" y="51"/>
                  <a:pt x="45" y="51"/>
                  <a:pt x="45" y="51"/>
                </a:cubicBezTo>
                <a:cubicBezTo>
                  <a:pt x="44" y="52"/>
                  <a:pt x="44" y="52"/>
                  <a:pt x="44" y="52"/>
                </a:cubicBezTo>
                <a:cubicBezTo>
                  <a:pt x="39" y="52"/>
                  <a:pt x="39" y="52"/>
                  <a:pt x="39" y="52"/>
                </a:cubicBezTo>
                <a:cubicBezTo>
                  <a:pt x="38" y="57"/>
                  <a:pt x="38" y="57"/>
                  <a:pt x="38" y="57"/>
                </a:cubicBezTo>
                <a:cubicBezTo>
                  <a:pt x="41" y="58"/>
                  <a:pt x="41" y="58"/>
                  <a:pt x="41" y="58"/>
                </a:cubicBezTo>
                <a:cubicBezTo>
                  <a:pt x="41" y="58"/>
                  <a:pt x="44" y="65"/>
                  <a:pt x="44" y="66"/>
                </a:cubicBezTo>
                <a:cubicBezTo>
                  <a:pt x="46" y="69"/>
                  <a:pt x="43" y="72"/>
                  <a:pt x="43" y="74"/>
                </a:cubicBezTo>
                <a:cubicBezTo>
                  <a:pt x="42" y="77"/>
                  <a:pt x="33" y="99"/>
                  <a:pt x="33" y="99"/>
                </a:cubicBezTo>
                <a:cubicBezTo>
                  <a:pt x="33" y="99"/>
                  <a:pt x="33" y="102"/>
                  <a:pt x="31" y="102"/>
                </a:cubicBezTo>
                <a:cubicBezTo>
                  <a:pt x="28" y="102"/>
                  <a:pt x="26" y="102"/>
                  <a:pt x="24" y="103"/>
                </a:cubicBezTo>
                <a:cubicBezTo>
                  <a:pt x="22" y="104"/>
                  <a:pt x="18" y="104"/>
                  <a:pt x="16" y="106"/>
                </a:cubicBezTo>
                <a:cubicBezTo>
                  <a:pt x="14" y="108"/>
                  <a:pt x="10" y="109"/>
                  <a:pt x="9" y="112"/>
                </a:cubicBezTo>
                <a:cubicBezTo>
                  <a:pt x="8" y="114"/>
                  <a:pt x="8" y="117"/>
                  <a:pt x="7" y="119"/>
                </a:cubicBezTo>
                <a:cubicBezTo>
                  <a:pt x="5" y="122"/>
                  <a:pt x="4" y="123"/>
                  <a:pt x="4" y="125"/>
                </a:cubicBezTo>
                <a:cubicBezTo>
                  <a:pt x="4" y="127"/>
                  <a:pt x="4" y="130"/>
                  <a:pt x="4" y="130"/>
                </a:cubicBezTo>
                <a:cubicBezTo>
                  <a:pt x="4" y="130"/>
                  <a:pt x="0" y="128"/>
                  <a:pt x="0" y="130"/>
                </a:cubicBezTo>
                <a:cubicBezTo>
                  <a:pt x="0" y="131"/>
                  <a:pt x="0" y="135"/>
                  <a:pt x="2" y="136"/>
                </a:cubicBezTo>
                <a:cubicBezTo>
                  <a:pt x="3" y="136"/>
                  <a:pt x="3" y="140"/>
                  <a:pt x="3" y="140"/>
                </a:cubicBezTo>
                <a:cubicBezTo>
                  <a:pt x="2" y="144"/>
                  <a:pt x="2" y="144"/>
                  <a:pt x="2" y="144"/>
                </a:cubicBezTo>
                <a:cubicBezTo>
                  <a:pt x="2" y="144"/>
                  <a:pt x="6" y="146"/>
                  <a:pt x="7" y="149"/>
                </a:cubicBezTo>
                <a:cubicBezTo>
                  <a:pt x="8" y="151"/>
                  <a:pt x="13" y="152"/>
                  <a:pt x="13" y="154"/>
                </a:cubicBezTo>
                <a:cubicBezTo>
                  <a:pt x="13" y="157"/>
                  <a:pt x="15" y="158"/>
                  <a:pt x="15" y="158"/>
                </a:cubicBezTo>
                <a:cubicBezTo>
                  <a:pt x="23" y="158"/>
                  <a:pt x="23" y="158"/>
                  <a:pt x="23" y="158"/>
                </a:cubicBezTo>
                <a:cubicBezTo>
                  <a:pt x="23" y="158"/>
                  <a:pt x="27" y="156"/>
                  <a:pt x="29" y="154"/>
                </a:cubicBezTo>
                <a:cubicBezTo>
                  <a:pt x="31" y="152"/>
                  <a:pt x="31" y="156"/>
                  <a:pt x="31" y="156"/>
                </a:cubicBezTo>
                <a:cubicBezTo>
                  <a:pt x="29" y="182"/>
                  <a:pt x="29" y="182"/>
                  <a:pt x="29" y="182"/>
                </a:cubicBezTo>
                <a:cubicBezTo>
                  <a:pt x="39" y="185"/>
                  <a:pt x="39" y="185"/>
                  <a:pt x="39" y="185"/>
                </a:cubicBezTo>
                <a:cubicBezTo>
                  <a:pt x="39" y="185"/>
                  <a:pt x="41" y="185"/>
                  <a:pt x="43" y="186"/>
                </a:cubicBezTo>
                <a:cubicBezTo>
                  <a:pt x="44" y="187"/>
                  <a:pt x="49" y="185"/>
                  <a:pt x="48" y="184"/>
                </a:cubicBezTo>
                <a:cubicBezTo>
                  <a:pt x="47" y="182"/>
                  <a:pt x="49" y="181"/>
                  <a:pt x="49" y="181"/>
                </a:cubicBezTo>
                <a:cubicBezTo>
                  <a:pt x="52" y="181"/>
                  <a:pt x="52" y="181"/>
                  <a:pt x="52" y="181"/>
                </a:cubicBezTo>
                <a:cubicBezTo>
                  <a:pt x="52" y="181"/>
                  <a:pt x="58" y="171"/>
                  <a:pt x="61" y="170"/>
                </a:cubicBezTo>
                <a:cubicBezTo>
                  <a:pt x="65" y="170"/>
                  <a:pt x="69" y="168"/>
                  <a:pt x="72" y="168"/>
                </a:cubicBezTo>
                <a:cubicBezTo>
                  <a:pt x="76" y="168"/>
                  <a:pt x="76" y="168"/>
                  <a:pt x="76" y="168"/>
                </a:cubicBezTo>
                <a:cubicBezTo>
                  <a:pt x="77" y="170"/>
                  <a:pt x="77" y="170"/>
                  <a:pt x="77" y="170"/>
                </a:cubicBezTo>
                <a:cubicBezTo>
                  <a:pt x="77" y="170"/>
                  <a:pt x="73" y="177"/>
                  <a:pt x="74" y="179"/>
                </a:cubicBezTo>
                <a:cubicBezTo>
                  <a:pt x="75" y="181"/>
                  <a:pt x="76" y="184"/>
                  <a:pt x="78" y="184"/>
                </a:cubicBezTo>
                <a:cubicBezTo>
                  <a:pt x="80" y="185"/>
                  <a:pt x="80" y="185"/>
                  <a:pt x="83" y="186"/>
                </a:cubicBezTo>
                <a:cubicBezTo>
                  <a:pt x="85" y="186"/>
                  <a:pt x="86" y="182"/>
                  <a:pt x="88" y="185"/>
                </a:cubicBezTo>
                <a:cubicBezTo>
                  <a:pt x="91" y="188"/>
                  <a:pt x="92" y="189"/>
                  <a:pt x="95" y="191"/>
                </a:cubicBezTo>
                <a:cubicBezTo>
                  <a:pt x="98" y="192"/>
                  <a:pt x="97" y="193"/>
                  <a:pt x="100" y="195"/>
                </a:cubicBezTo>
                <a:cubicBezTo>
                  <a:pt x="102" y="196"/>
                  <a:pt x="103" y="198"/>
                  <a:pt x="106" y="198"/>
                </a:cubicBezTo>
                <a:cubicBezTo>
                  <a:pt x="109" y="198"/>
                  <a:pt x="110" y="200"/>
                  <a:pt x="113" y="200"/>
                </a:cubicBezTo>
                <a:cubicBezTo>
                  <a:pt x="115" y="200"/>
                  <a:pt x="117" y="198"/>
                  <a:pt x="118" y="200"/>
                </a:cubicBezTo>
                <a:cubicBezTo>
                  <a:pt x="120" y="202"/>
                  <a:pt x="120" y="205"/>
                  <a:pt x="121" y="208"/>
                </a:cubicBezTo>
                <a:cubicBezTo>
                  <a:pt x="122" y="210"/>
                  <a:pt x="123" y="213"/>
                  <a:pt x="123" y="213"/>
                </a:cubicBezTo>
                <a:cubicBezTo>
                  <a:pt x="123" y="213"/>
                  <a:pt x="121" y="216"/>
                  <a:pt x="120" y="218"/>
                </a:cubicBezTo>
                <a:cubicBezTo>
                  <a:pt x="119" y="220"/>
                  <a:pt x="120" y="222"/>
                  <a:pt x="122" y="225"/>
                </a:cubicBezTo>
                <a:cubicBezTo>
                  <a:pt x="123" y="228"/>
                  <a:pt x="123" y="230"/>
                  <a:pt x="123" y="230"/>
                </a:cubicBezTo>
                <a:cubicBezTo>
                  <a:pt x="136" y="229"/>
                  <a:pt x="136" y="229"/>
                  <a:pt x="136" y="229"/>
                </a:cubicBezTo>
                <a:cubicBezTo>
                  <a:pt x="136" y="229"/>
                  <a:pt x="135" y="232"/>
                  <a:pt x="136" y="234"/>
                </a:cubicBezTo>
                <a:cubicBezTo>
                  <a:pt x="136" y="237"/>
                  <a:pt x="136" y="239"/>
                  <a:pt x="139" y="241"/>
                </a:cubicBezTo>
                <a:cubicBezTo>
                  <a:pt x="141" y="242"/>
                  <a:pt x="142" y="244"/>
                  <a:pt x="143" y="246"/>
                </a:cubicBezTo>
                <a:cubicBezTo>
                  <a:pt x="144" y="248"/>
                  <a:pt x="143" y="248"/>
                  <a:pt x="143" y="251"/>
                </a:cubicBezTo>
                <a:cubicBezTo>
                  <a:pt x="143" y="254"/>
                  <a:pt x="140" y="262"/>
                  <a:pt x="140" y="262"/>
                </a:cubicBezTo>
                <a:cubicBezTo>
                  <a:pt x="142" y="265"/>
                  <a:pt x="142" y="265"/>
                  <a:pt x="142" y="265"/>
                </a:cubicBezTo>
                <a:cubicBezTo>
                  <a:pt x="140" y="267"/>
                  <a:pt x="140" y="267"/>
                  <a:pt x="140" y="267"/>
                </a:cubicBezTo>
                <a:cubicBezTo>
                  <a:pt x="141" y="269"/>
                  <a:pt x="141" y="269"/>
                  <a:pt x="141" y="269"/>
                </a:cubicBezTo>
                <a:cubicBezTo>
                  <a:pt x="141" y="269"/>
                  <a:pt x="142" y="270"/>
                  <a:pt x="143" y="272"/>
                </a:cubicBezTo>
                <a:cubicBezTo>
                  <a:pt x="145" y="274"/>
                  <a:pt x="144" y="277"/>
                  <a:pt x="144" y="280"/>
                </a:cubicBezTo>
                <a:cubicBezTo>
                  <a:pt x="143" y="284"/>
                  <a:pt x="145" y="285"/>
                  <a:pt x="145" y="288"/>
                </a:cubicBezTo>
                <a:cubicBezTo>
                  <a:pt x="145" y="290"/>
                  <a:pt x="155" y="290"/>
                  <a:pt x="155" y="290"/>
                </a:cubicBezTo>
                <a:cubicBezTo>
                  <a:pt x="157" y="289"/>
                  <a:pt x="157" y="289"/>
                  <a:pt x="157" y="289"/>
                </a:cubicBezTo>
                <a:cubicBezTo>
                  <a:pt x="158" y="291"/>
                  <a:pt x="158" y="291"/>
                  <a:pt x="158" y="291"/>
                </a:cubicBezTo>
                <a:cubicBezTo>
                  <a:pt x="158" y="291"/>
                  <a:pt x="158" y="294"/>
                  <a:pt x="161" y="294"/>
                </a:cubicBezTo>
                <a:cubicBezTo>
                  <a:pt x="164" y="294"/>
                  <a:pt x="165" y="295"/>
                  <a:pt x="165" y="298"/>
                </a:cubicBezTo>
                <a:cubicBezTo>
                  <a:pt x="165" y="302"/>
                  <a:pt x="165" y="305"/>
                  <a:pt x="165" y="308"/>
                </a:cubicBezTo>
                <a:cubicBezTo>
                  <a:pt x="165" y="311"/>
                  <a:pt x="166" y="314"/>
                  <a:pt x="167" y="313"/>
                </a:cubicBezTo>
                <a:cubicBezTo>
                  <a:pt x="169" y="312"/>
                  <a:pt x="172" y="311"/>
                  <a:pt x="172" y="312"/>
                </a:cubicBezTo>
                <a:cubicBezTo>
                  <a:pt x="172" y="314"/>
                  <a:pt x="172" y="319"/>
                  <a:pt x="171" y="321"/>
                </a:cubicBezTo>
                <a:cubicBezTo>
                  <a:pt x="169" y="323"/>
                  <a:pt x="170" y="331"/>
                  <a:pt x="170" y="331"/>
                </a:cubicBezTo>
                <a:cubicBezTo>
                  <a:pt x="170" y="331"/>
                  <a:pt x="175" y="334"/>
                  <a:pt x="174" y="332"/>
                </a:cubicBezTo>
                <a:cubicBezTo>
                  <a:pt x="174" y="330"/>
                  <a:pt x="177" y="332"/>
                  <a:pt x="177" y="332"/>
                </a:cubicBezTo>
                <a:cubicBezTo>
                  <a:pt x="177" y="332"/>
                  <a:pt x="177" y="336"/>
                  <a:pt x="178" y="339"/>
                </a:cubicBezTo>
                <a:cubicBezTo>
                  <a:pt x="178" y="342"/>
                  <a:pt x="178" y="347"/>
                  <a:pt x="178" y="348"/>
                </a:cubicBezTo>
                <a:cubicBezTo>
                  <a:pt x="179" y="350"/>
                  <a:pt x="176" y="350"/>
                  <a:pt x="175" y="351"/>
                </a:cubicBezTo>
                <a:cubicBezTo>
                  <a:pt x="174" y="353"/>
                  <a:pt x="169" y="352"/>
                  <a:pt x="168" y="355"/>
                </a:cubicBezTo>
                <a:cubicBezTo>
                  <a:pt x="167" y="357"/>
                  <a:pt x="166" y="359"/>
                  <a:pt x="164" y="361"/>
                </a:cubicBezTo>
                <a:cubicBezTo>
                  <a:pt x="162" y="363"/>
                  <a:pt x="160" y="363"/>
                  <a:pt x="160" y="365"/>
                </a:cubicBezTo>
                <a:cubicBezTo>
                  <a:pt x="159" y="367"/>
                  <a:pt x="154" y="366"/>
                  <a:pt x="154" y="369"/>
                </a:cubicBezTo>
                <a:cubicBezTo>
                  <a:pt x="154" y="372"/>
                  <a:pt x="153" y="375"/>
                  <a:pt x="151" y="376"/>
                </a:cubicBezTo>
                <a:cubicBezTo>
                  <a:pt x="149" y="377"/>
                  <a:pt x="147" y="378"/>
                  <a:pt x="147" y="380"/>
                </a:cubicBezTo>
                <a:cubicBezTo>
                  <a:pt x="147" y="382"/>
                  <a:pt x="145" y="387"/>
                  <a:pt x="145" y="387"/>
                </a:cubicBezTo>
                <a:cubicBezTo>
                  <a:pt x="151" y="385"/>
                  <a:pt x="151" y="385"/>
                  <a:pt x="151" y="385"/>
                </a:cubicBezTo>
                <a:cubicBezTo>
                  <a:pt x="159" y="390"/>
                  <a:pt x="159" y="390"/>
                  <a:pt x="159" y="390"/>
                </a:cubicBezTo>
                <a:cubicBezTo>
                  <a:pt x="159" y="390"/>
                  <a:pt x="160" y="392"/>
                  <a:pt x="161" y="394"/>
                </a:cubicBezTo>
                <a:cubicBezTo>
                  <a:pt x="162" y="396"/>
                  <a:pt x="165" y="395"/>
                  <a:pt x="167" y="398"/>
                </a:cubicBezTo>
                <a:cubicBezTo>
                  <a:pt x="168" y="400"/>
                  <a:pt x="169" y="400"/>
                  <a:pt x="172" y="402"/>
                </a:cubicBezTo>
                <a:cubicBezTo>
                  <a:pt x="175" y="404"/>
                  <a:pt x="177" y="403"/>
                  <a:pt x="178" y="406"/>
                </a:cubicBezTo>
                <a:cubicBezTo>
                  <a:pt x="178" y="409"/>
                  <a:pt x="179" y="411"/>
                  <a:pt x="182" y="412"/>
                </a:cubicBezTo>
                <a:cubicBezTo>
                  <a:pt x="184" y="413"/>
                  <a:pt x="185" y="414"/>
                  <a:pt x="185" y="414"/>
                </a:cubicBezTo>
                <a:cubicBezTo>
                  <a:pt x="181" y="420"/>
                  <a:pt x="181" y="420"/>
                  <a:pt x="181" y="420"/>
                </a:cubicBezTo>
                <a:cubicBezTo>
                  <a:pt x="182" y="423"/>
                  <a:pt x="182" y="423"/>
                  <a:pt x="182" y="423"/>
                </a:cubicBezTo>
                <a:cubicBezTo>
                  <a:pt x="185" y="421"/>
                  <a:pt x="187" y="419"/>
                  <a:pt x="188" y="416"/>
                </a:cubicBezTo>
                <a:cubicBezTo>
                  <a:pt x="188" y="413"/>
                  <a:pt x="187" y="412"/>
                  <a:pt x="186" y="409"/>
                </a:cubicBezTo>
                <a:cubicBezTo>
                  <a:pt x="188" y="408"/>
                  <a:pt x="192" y="405"/>
                  <a:pt x="192" y="402"/>
                </a:cubicBezTo>
                <a:cubicBezTo>
                  <a:pt x="192" y="402"/>
                  <a:pt x="192" y="400"/>
                  <a:pt x="192" y="400"/>
                </a:cubicBezTo>
                <a:cubicBezTo>
                  <a:pt x="193" y="399"/>
                  <a:pt x="195" y="399"/>
                  <a:pt x="196" y="398"/>
                </a:cubicBezTo>
                <a:cubicBezTo>
                  <a:pt x="196" y="397"/>
                  <a:pt x="196" y="397"/>
                  <a:pt x="196" y="397"/>
                </a:cubicBezTo>
                <a:cubicBezTo>
                  <a:pt x="199" y="395"/>
                  <a:pt x="199" y="393"/>
                  <a:pt x="199" y="388"/>
                </a:cubicBezTo>
                <a:cubicBezTo>
                  <a:pt x="200" y="389"/>
                  <a:pt x="201" y="388"/>
                  <a:pt x="202" y="389"/>
                </a:cubicBezTo>
                <a:cubicBezTo>
                  <a:pt x="202" y="390"/>
                  <a:pt x="202" y="390"/>
                  <a:pt x="202" y="390"/>
                </a:cubicBezTo>
                <a:cubicBezTo>
                  <a:pt x="202" y="390"/>
                  <a:pt x="203" y="391"/>
                  <a:pt x="204" y="391"/>
                </a:cubicBezTo>
                <a:cubicBezTo>
                  <a:pt x="204" y="391"/>
                  <a:pt x="205" y="389"/>
                  <a:pt x="204" y="389"/>
                </a:cubicBezTo>
                <a:cubicBezTo>
                  <a:pt x="206" y="390"/>
                  <a:pt x="206" y="390"/>
                  <a:pt x="206" y="390"/>
                </a:cubicBezTo>
                <a:cubicBezTo>
                  <a:pt x="205" y="390"/>
                  <a:pt x="205" y="393"/>
                  <a:pt x="205" y="392"/>
                </a:cubicBezTo>
                <a:cubicBezTo>
                  <a:pt x="204" y="396"/>
                  <a:pt x="204" y="397"/>
                  <a:pt x="203" y="400"/>
                </a:cubicBezTo>
                <a:cubicBezTo>
                  <a:pt x="203" y="400"/>
                  <a:pt x="201" y="401"/>
                  <a:pt x="201" y="402"/>
                </a:cubicBezTo>
                <a:cubicBezTo>
                  <a:pt x="199" y="406"/>
                  <a:pt x="205" y="399"/>
                  <a:pt x="205" y="399"/>
                </a:cubicBezTo>
                <a:cubicBezTo>
                  <a:pt x="206" y="396"/>
                  <a:pt x="208" y="391"/>
                  <a:pt x="209" y="388"/>
                </a:cubicBezTo>
                <a:cubicBezTo>
                  <a:pt x="210" y="384"/>
                  <a:pt x="210" y="381"/>
                  <a:pt x="212" y="378"/>
                </a:cubicBezTo>
                <a:cubicBezTo>
                  <a:pt x="213" y="377"/>
                  <a:pt x="217" y="372"/>
                  <a:pt x="218" y="372"/>
                </a:cubicBezTo>
                <a:cubicBezTo>
                  <a:pt x="219" y="371"/>
                  <a:pt x="220" y="372"/>
                  <a:pt x="220" y="371"/>
                </a:cubicBezTo>
                <a:cubicBezTo>
                  <a:pt x="221" y="370"/>
                  <a:pt x="220" y="369"/>
                  <a:pt x="221" y="367"/>
                </a:cubicBezTo>
                <a:cubicBezTo>
                  <a:pt x="221" y="367"/>
                  <a:pt x="222" y="366"/>
                  <a:pt x="222" y="366"/>
                </a:cubicBezTo>
                <a:cubicBezTo>
                  <a:pt x="221" y="365"/>
                  <a:pt x="222" y="356"/>
                  <a:pt x="222" y="353"/>
                </a:cubicBezTo>
                <a:cubicBezTo>
                  <a:pt x="221" y="353"/>
                  <a:pt x="220" y="353"/>
                  <a:pt x="220" y="352"/>
                </a:cubicBezTo>
                <a:cubicBezTo>
                  <a:pt x="220" y="351"/>
                  <a:pt x="221" y="350"/>
                  <a:pt x="221" y="349"/>
                </a:cubicBezTo>
                <a:cubicBezTo>
                  <a:pt x="219" y="349"/>
                  <a:pt x="219" y="349"/>
                  <a:pt x="219" y="349"/>
                </a:cubicBezTo>
                <a:cubicBezTo>
                  <a:pt x="219" y="349"/>
                  <a:pt x="219" y="347"/>
                  <a:pt x="219" y="347"/>
                </a:cubicBezTo>
                <a:cubicBezTo>
                  <a:pt x="221" y="348"/>
                  <a:pt x="220" y="346"/>
                  <a:pt x="220" y="346"/>
                </a:cubicBezTo>
                <a:cubicBezTo>
                  <a:pt x="220" y="346"/>
                  <a:pt x="220" y="342"/>
                  <a:pt x="220" y="341"/>
                </a:cubicBezTo>
                <a:cubicBezTo>
                  <a:pt x="220" y="340"/>
                  <a:pt x="219" y="341"/>
                  <a:pt x="219" y="339"/>
                </a:cubicBezTo>
                <a:cubicBezTo>
                  <a:pt x="219" y="338"/>
                  <a:pt x="221" y="338"/>
                  <a:pt x="221" y="337"/>
                </a:cubicBezTo>
                <a:cubicBezTo>
                  <a:pt x="222" y="335"/>
                  <a:pt x="221" y="334"/>
                  <a:pt x="221" y="332"/>
                </a:cubicBezTo>
                <a:close/>
              </a:path>
            </a:pathLst>
          </a:custGeom>
          <a:solidFill>
            <a:srgbClr val="00A69D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4" name="Google Shape;424;p102"/>
          <p:cNvSpPr/>
          <p:nvPr/>
        </p:nvSpPr>
        <p:spPr>
          <a:xfrm>
            <a:off x="6865499" y="5173500"/>
            <a:ext cx="192189" cy="210503"/>
          </a:xfrm>
          <a:custGeom>
            <a:avLst/>
            <a:gdLst/>
            <a:ahLst/>
            <a:cxnLst/>
            <a:rect l="l" t="t" r="r" b="b"/>
            <a:pathLst>
              <a:path w="67" h="76" extrusionOk="0">
                <a:moveTo>
                  <a:pt x="46" y="0"/>
                </a:moveTo>
                <a:cubicBezTo>
                  <a:pt x="45" y="6"/>
                  <a:pt x="45" y="6"/>
                  <a:pt x="45" y="6"/>
                </a:cubicBezTo>
                <a:cubicBezTo>
                  <a:pt x="45" y="6"/>
                  <a:pt x="47" y="6"/>
                  <a:pt x="49" y="6"/>
                </a:cubicBezTo>
                <a:cubicBezTo>
                  <a:pt x="50" y="6"/>
                  <a:pt x="52" y="7"/>
                  <a:pt x="53" y="8"/>
                </a:cubicBezTo>
                <a:cubicBezTo>
                  <a:pt x="55" y="9"/>
                  <a:pt x="56" y="11"/>
                  <a:pt x="59" y="11"/>
                </a:cubicBezTo>
                <a:cubicBezTo>
                  <a:pt x="61" y="12"/>
                  <a:pt x="62" y="13"/>
                  <a:pt x="64" y="14"/>
                </a:cubicBezTo>
                <a:cubicBezTo>
                  <a:pt x="65" y="15"/>
                  <a:pt x="65" y="18"/>
                  <a:pt x="65" y="18"/>
                </a:cubicBezTo>
                <a:cubicBezTo>
                  <a:pt x="65" y="18"/>
                  <a:pt x="63" y="20"/>
                  <a:pt x="63" y="23"/>
                </a:cubicBezTo>
                <a:cubicBezTo>
                  <a:pt x="64" y="25"/>
                  <a:pt x="63" y="27"/>
                  <a:pt x="64" y="30"/>
                </a:cubicBezTo>
                <a:cubicBezTo>
                  <a:pt x="65" y="32"/>
                  <a:pt x="67" y="34"/>
                  <a:pt x="67" y="34"/>
                </a:cubicBezTo>
                <a:cubicBezTo>
                  <a:pt x="67" y="34"/>
                  <a:pt x="65" y="36"/>
                  <a:pt x="64" y="37"/>
                </a:cubicBezTo>
                <a:cubicBezTo>
                  <a:pt x="63" y="39"/>
                  <a:pt x="61" y="40"/>
                  <a:pt x="63" y="41"/>
                </a:cubicBezTo>
                <a:cubicBezTo>
                  <a:pt x="64" y="43"/>
                  <a:pt x="65" y="43"/>
                  <a:pt x="64" y="45"/>
                </a:cubicBezTo>
                <a:cubicBezTo>
                  <a:pt x="62" y="48"/>
                  <a:pt x="64" y="47"/>
                  <a:pt x="63" y="50"/>
                </a:cubicBezTo>
                <a:cubicBezTo>
                  <a:pt x="62" y="53"/>
                  <a:pt x="65" y="55"/>
                  <a:pt x="64" y="57"/>
                </a:cubicBezTo>
                <a:cubicBezTo>
                  <a:pt x="63" y="62"/>
                  <a:pt x="63" y="58"/>
                  <a:pt x="63" y="60"/>
                </a:cubicBezTo>
                <a:cubicBezTo>
                  <a:pt x="63" y="62"/>
                  <a:pt x="67" y="60"/>
                  <a:pt x="65" y="62"/>
                </a:cubicBezTo>
                <a:cubicBezTo>
                  <a:pt x="64" y="64"/>
                  <a:pt x="61" y="68"/>
                  <a:pt x="61" y="68"/>
                </a:cubicBezTo>
                <a:cubicBezTo>
                  <a:pt x="55" y="76"/>
                  <a:pt x="55" y="76"/>
                  <a:pt x="55" y="76"/>
                </a:cubicBezTo>
                <a:cubicBezTo>
                  <a:pt x="55" y="76"/>
                  <a:pt x="53" y="75"/>
                  <a:pt x="50" y="75"/>
                </a:cubicBezTo>
                <a:cubicBezTo>
                  <a:pt x="47" y="75"/>
                  <a:pt x="46" y="74"/>
                  <a:pt x="46" y="74"/>
                </a:cubicBezTo>
                <a:cubicBezTo>
                  <a:pt x="46" y="74"/>
                  <a:pt x="43" y="73"/>
                  <a:pt x="41" y="74"/>
                </a:cubicBezTo>
                <a:cubicBezTo>
                  <a:pt x="40" y="75"/>
                  <a:pt x="37" y="73"/>
                  <a:pt x="37" y="73"/>
                </a:cubicBezTo>
                <a:cubicBezTo>
                  <a:pt x="37" y="73"/>
                  <a:pt x="35" y="73"/>
                  <a:pt x="33" y="71"/>
                </a:cubicBezTo>
                <a:cubicBezTo>
                  <a:pt x="32" y="69"/>
                  <a:pt x="32" y="72"/>
                  <a:pt x="29" y="70"/>
                </a:cubicBezTo>
                <a:cubicBezTo>
                  <a:pt x="27" y="68"/>
                  <a:pt x="26" y="70"/>
                  <a:pt x="26" y="67"/>
                </a:cubicBezTo>
                <a:cubicBezTo>
                  <a:pt x="26" y="64"/>
                  <a:pt x="25" y="63"/>
                  <a:pt x="27" y="61"/>
                </a:cubicBezTo>
                <a:cubicBezTo>
                  <a:pt x="28" y="59"/>
                  <a:pt x="24" y="60"/>
                  <a:pt x="24" y="58"/>
                </a:cubicBezTo>
                <a:cubicBezTo>
                  <a:pt x="24" y="56"/>
                  <a:pt x="22" y="57"/>
                  <a:pt x="21" y="55"/>
                </a:cubicBezTo>
                <a:cubicBezTo>
                  <a:pt x="20" y="53"/>
                  <a:pt x="20" y="50"/>
                  <a:pt x="20" y="50"/>
                </a:cubicBezTo>
                <a:cubicBezTo>
                  <a:pt x="20" y="50"/>
                  <a:pt x="16" y="49"/>
                  <a:pt x="15" y="47"/>
                </a:cubicBezTo>
                <a:cubicBezTo>
                  <a:pt x="15" y="45"/>
                  <a:pt x="15" y="48"/>
                  <a:pt x="12" y="47"/>
                </a:cubicBezTo>
                <a:cubicBezTo>
                  <a:pt x="9" y="46"/>
                  <a:pt x="12" y="45"/>
                  <a:pt x="10" y="44"/>
                </a:cubicBezTo>
                <a:cubicBezTo>
                  <a:pt x="8" y="43"/>
                  <a:pt x="5" y="37"/>
                  <a:pt x="5" y="37"/>
                </a:cubicBezTo>
                <a:cubicBezTo>
                  <a:pt x="5" y="37"/>
                  <a:pt x="5" y="33"/>
                  <a:pt x="2" y="33"/>
                </a:cubicBezTo>
                <a:cubicBezTo>
                  <a:pt x="0" y="33"/>
                  <a:pt x="0" y="27"/>
                  <a:pt x="0" y="27"/>
                </a:cubicBezTo>
                <a:cubicBezTo>
                  <a:pt x="0" y="27"/>
                  <a:pt x="3" y="28"/>
                  <a:pt x="4" y="27"/>
                </a:cubicBezTo>
                <a:cubicBezTo>
                  <a:pt x="6" y="27"/>
                  <a:pt x="8" y="28"/>
                  <a:pt x="9" y="27"/>
                </a:cubicBezTo>
                <a:cubicBezTo>
                  <a:pt x="10" y="26"/>
                  <a:pt x="13" y="27"/>
                  <a:pt x="14" y="27"/>
                </a:cubicBezTo>
                <a:cubicBezTo>
                  <a:pt x="16" y="27"/>
                  <a:pt x="18" y="26"/>
                  <a:pt x="20" y="25"/>
                </a:cubicBezTo>
                <a:cubicBezTo>
                  <a:pt x="22" y="24"/>
                  <a:pt x="25" y="24"/>
                  <a:pt x="26" y="23"/>
                </a:cubicBezTo>
                <a:cubicBezTo>
                  <a:pt x="27" y="22"/>
                  <a:pt x="26" y="15"/>
                  <a:pt x="28" y="15"/>
                </a:cubicBezTo>
                <a:cubicBezTo>
                  <a:pt x="29" y="14"/>
                  <a:pt x="28" y="13"/>
                  <a:pt x="30" y="12"/>
                </a:cubicBezTo>
                <a:cubicBezTo>
                  <a:pt x="32" y="11"/>
                  <a:pt x="32" y="10"/>
                  <a:pt x="32" y="9"/>
                </a:cubicBezTo>
                <a:cubicBezTo>
                  <a:pt x="32" y="7"/>
                  <a:pt x="33" y="6"/>
                  <a:pt x="35" y="6"/>
                </a:cubicBezTo>
                <a:cubicBezTo>
                  <a:pt x="37" y="5"/>
                  <a:pt x="39" y="3"/>
                  <a:pt x="39" y="3"/>
                </a:cubicBezTo>
                <a:lnTo>
                  <a:pt x="46" y="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5" name="Google Shape;425;p102"/>
          <p:cNvSpPr/>
          <p:nvPr/>
        </p:nvSpPr>
        <p:spPr>
          <a:xfrm>
            <a:off x="6787743" y="4960171"/>
            <a:ext cx="287550" cy="291030"/>
          </a:xfrm>
          <a:custGeom>
            <a:avLst/>
            <a:gdLst/>
            <a:ahLst/>
            <a:cxnLst/>
            <a:rect l="l" t="t" r="r" b="b"/>
            <a:pathLst>
              <a:path w="100" h="105" extrusionOk="0">
                <a:moveTo>
                  <a:pt x="12" y="102"/>
                </a:moveTo>
                <a:cubicBezTo>
                  <a:pt x="21" y="101"/>
                  <a:pt x="21" y="101"/>
                  <a:pt x="21" y="101"/>
                </a:cubicBezTo>
                <a:cubicBezTo>
                  <a:pt x="21" y="101"/>
                  <a:pt x="23" y="100"/>
                  <a:pt x="24" y="102"/>
                </a:cubicBezTo>
                <a:cubicBezTo>
                  <a:pt x="25" y="104"/>
                  <a:pt x="27" y="104"/>
                  <a:pt x="27" y="104"/>
                </a:cubicBezTo>
                <a:cubicBezTo>
                  <a:pt x="27" y="104"/>
                  <a:pt x="30" y="105"/>
                  <a:pt x="31" y="104"/>
                </a:cubicBezTo>
                <a:cubicBezTo>
                  <a:pt x="33" y="104"/>
                  <a:pt x="35" y="105"/>
                  <a:pt x="36" y="104"/>
                </a:cubicBezTo>
                <a:cubicBezTo>
                  <a:pt x="37" y="103"/>
                  <a:pt x="40" y="104"/>
                  <a:pt x="41" y="104"/>
                </a:cubicBezTo>
                <a:cubicBezTo>
                  <a:pt x="43" y="104"/>
                  <a:pt x="45" y="103"/>
                  <a:pt x="47" y="102"/>
                </a:cubicBezTo>
                <a:cubicBezTo>
                  <a:pt x="49" y="101"/>
                  <a:pt x="52" y="101"/>
                  <a:pt x="53" y="100"/>
                </a:cubicBezTo>
                <a:cubicBezTo>
                  <a:pt x="54" y="99"/>
                  <a:pt x="53" y="92"/>
                  <a:pt x="55" y="92"/>
                </a:cubicBezTo>
                <a:cubicBezTo>
                  <a:pt x="56" y="91"/>
                  <a:pt x="55" y="90"/>
                  <a:pt x="57" y="89"/>
                </a:cubicBezTo>
                <a:cubicBezTo>
                  <a:pt x="59" y="88"/>
                  <a:pt x="59" y="87"/>
                  <a:pt x="59" y="86"/>
                </a:cubicBezTo>
                <a:cubicBezTo>
                  <a:pt x="59" y="84"/>
                  <a:pt x="60" y="83"/>
                  <a:pt x="62" y="83"/>
                </a:cubicBezTo>
                <a:cubicBezTo>
                  <a:pt x="64" y="82"/>
                  <a:pt x="66" y="80"/>
                  <a:pt x="66" y="80"/>
                </a:cubicBezTo>
                <a:cubicBezTo>
                  <a:pt x="72" y="77"/>
                  <a:pt x="72" y="77"/>
                  <a:pt x="72" y="77"/>
                </a:cubicBezTo>
                <a:cubicBezTo>
                  <a:pt x="73" y="76"/>
                  <a:pt x="73" y="76"/>
                  <a:pt x="73" y="76"/>
                </a:cubicBezTo>
                <a:cubicBezTo>
                  <a:pt x="74" y="74"/>
                  <a:pt x="70" y="71"/>
                  <a:pt x="70" y="71"/>
                </a:cubicBezTo>
                <a:cubicBezTo>
                  <a:pt x="90" y="65"/>
                  <a:pt x="90" y="65"/>
                  <a:pt x="90" y="65"/>
                </a:cubicBezTo>
                <a:cubicBezTo>
                  <a:pt x="90" y="65"/>
                  <a:pt x="89" y="61"/>
                  <a:pt x="89" y="59"/>
                </a:cubicBezTo>
                <a:cubicBezTo>
                  <a:pt x="88" y="57"/>
                  <a:pt x="91" y="56"/>
                  <a:pt x="90" y="54"/>
                </a:cubicBezTo>
                <a:cubicBezTo>
                  <a:pt x="89" y="52"/>
                  <a:pt x="89" y="48"/>
                  <a:pt x="91" y="46"/>
                </a:cubicBezTo>
                <a:cubicBezTo>
                  <a:pt x="93" y="45"/>
                  <a:pt x="97" y="44"/>
                  <a:pt x="96" y="41"/>
                </a:cubicBezTo>
                <a:cubicBezTo>
                  <a:pt x="96" y="38"/>
                  <a:pt x="93" y="41"/>
                  <a:pt x="94" y="39"/>
                </a:cubicBezTo>
                <a:cubicBezTo>
                  <a:pt x="94" y="36"/>
                  <a:pt x="94" y="34"/>
                  <a:pt x="93" y="32"/>
                </a:cubicBezTo>
                <a:cubicBezTo>
                  <a:pt x="92" y="30"/>
                  <a:pt x="96" y="30"/>
                  <a:pt x="96" y="28"/>
                </a:cubicBezTo>
                <a:cubicBezTo>
                  <a:pt x="97" y="27"/>
                  <a:pt x="100" y="25"/>
                  <a:pt x="98" y="23"/>
                </a:cubicBezTo>
                <a:cubicBezTo>
                  <a:pt x="96" y="22"/>
                  <a:pt x="98" y="18"/>
                  <a:pt x="97" y="17"/>
                </a:cubicBezTo>
                <a:cubicBezTo>
                  <a:pt x="95" y="16"/>
                  <a:pt x="94" y="13"/>
                  <a:pt x="94" y="13"/>
                </a:cubicBezTo>
                <a:cubicBezTo>
                  <a:pt x="94" y="13"/>
                  <a:pt x="91" y="12"/>
                  <a:pt x="90" y="11"/>
                </a:cubicBezTo>
                <a:cubicBezTo>
                  <a:pt x="88" y="10"/>
                  <a:pt x="87" y="8"/>
                  <a:pt x="86" y="8"/>
                </a:cubicBezTo>
                <a:cubicBezTo>
                  <a:pt x="85" y="8"/>
                  <a:pt x="85" y="4"/>
                  <a:pt x="85" y="4"/>
                </a:cubicBezTo>
                <a:cubicBezTo>
                  <a:pt x="85" y="4"/>
                  <a:pt x="85" y="4"/>
                  <a:pt x="85" y="4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4"/>
                  <a:pt x="83" y="5"/>
                  <a:pt x="81" y="5"/>
                </a:cubicBezTo>
                <a:cubicBezTo>
                  <a:pt x="80" y="5"/>
                  <a:pt x="79" y="5"/>
                  <a:pt x="78" y="5"/>
                </a:cubicBezTo>
                <a:cubicBezTo>
                  <a:pt x="77" y="5"/>
                  <a:pt x="76" y="5"/>
                  <a:pt x="76" y="5"/>
                </a:cubicBezTo>
                <a:cubicBezTo>
                  <a:pt x="76" y="5"/>
                  <a:pt x="76" y="5"/>
                  <a:pt x="76" y="5"/>
                </a:cubicBezTo>
                <a:cubicBezTo>
                  <a:pt x="76" y="5"/>
                  <a:pt x="78" y="1"/>
                  <a:pt x="76" y="1"/>
                </a:cubicBezTo>
                <a:cubicBezTo>
                  <a:pt x="76" y="0"/>
                  <a:pt x="76" y="0"/>
                  <a:pt x="76" y="0"/>
                </a:cubicBezTo>
                <a:cubicBezTo>
                  <a:pt x="59" y="5"/>
                  <a:pt x="59" y="5"/>
                  <a:pt x="59" y="5"/>
                </a:cubicBezTo>
                <a:cubicBezTo>
                  <a:pt x="59" y="5"/>
                  <a:pt x="59" y="5"/>
                  <a:pt x="58" y="6"/>
                </a:cubicBezTo>
                <a:cubicBezTo>
                  <a:pt x="60" y="7"/>
                  <a:pt x="54" y="11"/>
                  <a:pt x="54" y="11"/>
                </a:cubicBezTo>
                <a:cubicBezTo>
                  <a:pt x="54" y="12"/>
                  <a:pt x="54" y="12"/>
                  <a:pt x="54" y="12"/>
                </a:cubicBezTo>
                <a:cubicBezTo>
                  <a:pt x="53" y="12"/>
                  <a:pt x="53" y="11"/>
                  <a:pt x="52" y="12"/>
                </a:cubicBezTo>
                <a:cubicBezTo>
                  <a:pt x="52" y="11"/>
                  <a:pt x="52" y="11"/>
                  <a:pt x="52" y="11"/>
                </a:cubicBezTo>
                <a:cubicBezTo>
                  <a:pt x="51" y="13"/>
                  <a:pt x="51" y="15"/>
                  <a:pt x="52" y="16"/>
                </a:cubicBezTo>
                <a:cubicBezTo>
                  <a:pt x="52" y="18"/>
                  <a:pt x="53" y="17"/>
                  <a:pt x="53" y="19"/>
                </a:cubicBezTo>
                <a:cubicBezTo>
                  <a:pt x="53" y="22"/>
                  <a:pt x="55" y="24"/>
                  <a:pt x="54" y="25"/>
                </a:cubicBezTo>
                <a:cubicBezTo>
                  <a:pt x="54" y="27"/>
                  <a:pt x="53" y="28"/>
                  <a:pt x="53" y="30"/>
                </a:cubicBezTo>
                <a:cubicBezTo>
                  <a:pt x="53" y="31"/>
                  <a:pt x="55" y="33"/>
                  <a:pt x="57" y="34"/>
                </a:cubicBezTo>
                <a:cubicBezTo>
                  <a:pt x="59" y="36"/>
                  <a:pt x="61" y="35"/>
                  <a:pt x="63" y="38"/>
                </a:cubicBezTo>
                <a:cubicBezTo>
                  <a:pt x="65" y="41"/>
                  <a:pt x="64" y="40"/>
                  <a:pt x="66" y="40"/>
                </a:cubicBezTo>
                <a:cubicBezTo>
                  <a:pt x="68" y="40"/>
                  <a:pt x="71" y="39"/>
                  <a:pt x="71" y="39"/>
                </a:cubicBezTo>
                <a:cubicBezTo>
                  <a:pt x="71" y="49"/>
                  <a:pt x="71" y="49"/>
                  <a:pt x="71" y="49"/>
                </a:cubicBezTo>
                <a:cubicBezTo>
                  <a:pt x="67" y="48"/>
                  <a:pt x="67" y="48"/>
                  <a:pt x="67" y="48"/>
                </a:cubicBezTo>
                <a:cubicBezTo>
                  <a:pt x="67" y="48"/>
                  <a:pt x="65" y="48"/>
                  <a:pt x="64" y="50"/>
                </a:cubicBezTo>
                <a:cubicBezTo>
                  <a:pt x="63" y="51"/>
                  <a:pt x="59" y="51"/>
                  <a:pt x="59" y="49"/>
                </a:cubicBezTo>
                <a:cubicBezTo>
                  <a:pt x="59" y="47"/>
                  <a:pt x="60" y="45"/>
                  <a:pt x="59" y="43"/>
                </a:cubicBezTo>
                <a:cubicBezTo>
                  <a:pt x="58" y="41"/>
                  <a:pt x="54" y="43"/>
                  <a:pt x="53" y="40"/>
                </a:cubicBezTo>
                <a:cubicBezTo>
                  <a:pt x="52" y="38"/>
                  <a:pt x="49" y="38"/>
                  <a:pt x="49" y="36"/>
                </a:cubicBezTo>
                <a:cubicBezTo>
                  <a:pt x="49" y="34"/>
                  <a:pt x="49" y="33"/>
                  <a:pt x="48" y="33"/>
                </a:cubicBezTo>
                <a:cubicBezTo>
                  <a:pt x="46" y="33"/>
                  <a:pt x="45" y="32"/>
                  <a:pt x="44" y="34"/>
                </a:cubicBezTo>
                <a:cubicBezTo>
                  <a:pt x="43" y="36"/>
                  <a:pt x="43" y="36"/>
                  <a:pt x="40" y="36"/>
                </a:cubicBezTo>
                <a:cubicBezTo>
                  <a:pt x="34" y="36"/>
                  <a:pt x="34" y="36"/>
                  <a:pt x="34" y="36"/>
                </a:cubicBezTo>
                <a:cubicBezTo>
                  <a:pt x="32" y="36"/>
                  <a:pt x="31" y="34"/>
                  <a:pt x="31" y="34"/>
                </a:cubicBezTo>
                <a:cubicBezTo>
                  <a:pt x="31" y="34"/>
                  <a:pt x="31" y="33"/>
                  <a:pt x="31" y="31"/>
                </a:cubicBezTo>
                <a:cubicBezTo>
                  <a:pt x="31" y="29"/>
                  <a:pt x="30" y="28"/>
                  <a:pt x="29" y="30"/>
                </a:cubicBezTo>
                <a:cubicBezTo>
                  <a:pt x="27" y="32"/>
                  <a:pt x="25" y="32"/>
                  <a:pt x="25" y="30"/>
                </a:cubicBezTo>
                <a:cubicBezTo>
                  <a:pt x="25" y="28"/>
                  <a:pt x="24" y="25"/>
                  <a:pt x="24" y="25"/>
                </a:cubicBezTo>
                <a:cubicBezTo>
                  <a:pt x="19" y="26"/>
                  <a:pt x="19" y="26"/>
                  <a:pt x="19" y="26"/>
                </a:cubicBezTo>
                <a:cubicBezTo>
                  <a:pt x="19" y="26"/>
                  <a:pt x="20" y="30"/>
                  <a:pt x="20" y="33"/>
                </a:cubicBezTo>
                <a:cubicBezTo>
                  <a:pt x="20" y="35"/>
                  <a:pt x="18" y="36"/>
                  <a:pt x="19" y="38"/>
                </a:cubicBezTo>
                <a:cubicBezTo>
                  <a:pt x="19" y="39"/>
                  <a:pt x="19" y="40"/>
                  <a:pt x="19" y="42"/>
                </a:cubicBezTo>
                <a:cubicBezTo>
                  <a:pt x="19" y="44"/>
                  <a:pt x="19" y="45"/>
                  <a:pt x="19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2" y="89"/>
                </a:cubicBezTo>
                <a:cubicBezTo>
                  <a:pt x="3" y="93"/>
                  <a:pt x="2" y="91"/>
                  <a:pt x="6" y="95"/>
                </a:cubicBezTo>
                <a:cubicBezTo>
                  <a:pt x="10" y="98"/>
                  <a:pt x="7" y="102"/>
                  <a:pt x="12" y="102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6" name="Google Shape;426;p102"/>
          <p:cNvSpPr/>
          <p:nvPr/>
        </p:nvSpPr>
        <p:spPr>
          <a:xfrm>
            <a:off x="6542346" y="4541991"/>
            <a:ext cx="490008" cy="559458"/>
          </a:xfrm>
          <a:custGeom>
            <a:avLst/>
            <a:gdLst/>
            <a:ahLst/>
            <a:cxnLst/>
            <a:rect l="l" t="t" r="r" b="b"/>
            <a:pathLst>
              <a:path w="170" h="202" extrusionOk="0">
                <a:moveTo>
                  <a:pt x="2" y="114"/>
                </a:moveTo>
                <a:cubicBezTo>
                  <a:pt x="3" y="117"/>
                  <a:pt x="0" y="116"/>
                  <a:pt x="1" y="119"/>
                </a:cubicBezTo>
                <a:cubicBezTo>
                  <a:pt x="1" y="120"/>
                  <a:pt x="3" y="121"/>
                  <a:pt x="4" y="122"/>
                </a:cubicBezTo>
                <a:cubicBezTo>
                  <a:pt x="4" y="123"/>
                  <a:pt x="4" y="124"/>
                  <a:pt x="4" y="126"/>
                </a:cubicBezTo>
                <a:cubicBezTo>
                  <a:pt x="4" y="126"/>
                  <a:pt x="7" y="125"/>
                  <a:pt x="9" y="123"/>
                </a:cubicBezTo>
                <a:cubicBezTo>
                  <a:pt x="11" y="121"/>
                  <a:pt x="14" y="120"/>
                  <a:pt x="18" y="120"/>
                </a:cubicBezTo>
                <a:cubicBezTo>
                  <a:pt x="22" y="121"/>
                  <a:pt x="29" y="121"/>
                  <a:pt x="29" y="121"/>
                </a:cubicBezTo>
                <a:cubicBezTo>
                  <a:pt x="46" y="121"/>
                  <a:pt x="46" y="121"/>
                  <a:pt x="46" y="121"/>
                </a:cubicBezTo>
                <a:cubicBezTo>
                  <a:pt x="46" y="121"/>
                  <a:pt x="48" y="125"/>
                  <a:pt x="48" y="126"/>
                </a:cubicBezTo>
                <a:cubicBezTo>
                  <a:pt x="49" y="128"/>
                  <a:pt x="48" y="129"/>
                  <a:pt x="49" y="132"/>
                </a:cubicBezTo>
                <a:cubicBezTo>
                  <a:pt x="50" y="134"/>
                  <a:pt x="49" y="135"/>
                  <a:pt x="50" y="139"/>
                </a:cubicBezTo>
                <a:cubicBezTo>
                  <a:pt x="50" y="142"/>
                  <a:pt x="51" y="141"/>
                  <a:pt x="52" y="143"/>
                </a:cubicBezTo>
                <a:cubicBezTo>
                  <a:pt x="54" y="145"/>
                  <a:pt x="56" y="144"/>
                  <a:pt x="58" y="144"/>
                </a:cubicBezTo>
                <a:cubicBezTo>
                  <a:pt x="60" y="144"/>
                  <a:pt x="61" y="141"/>
                  <a:pt x="63" y="142"/>
                </a:cubicBezTo>
                <a:cubicBezTo>
                  <a:pt x="64" y="144"/>
                  <a:pt x="67" y="142"/>
                  <a:pt x="66" y="141"/>
                </a:cubicBezTo>
                <a:cubicBezTo>
                  <a:pt x="65" y="140"/>
                  <a:pt x="64" y="136"/>
                  <a:pt x="66" y="134"/>
                </a:cubicBezTo>
                <a:cubicBezTo>
                  <a:pt x="67" y="133"/>
                  <a:pt x="68" y="134"/>
                  <a:pt x="71" y="134"/>
                </a:cubicBezTo>
                <a:cubicBezTo>
                  <a:pt x="75" y="134"/>
                  <a:pt x="76" y="132"/>
                  <a:pt x="76" y="135"/>
                </a:cubicBezTo>
                <a:cubicBezTo>
                  <a:pt x="76" y="137"/>
                  <a:pt x="76" y="137"/>
                  <a:pt x="76" y="137"/>
                </a:cubicBezTo>
                <a:cubicBezTo>
                  <a:pt x="76" y="137"/>
                  <a:pt x="83" y="135"/>
                  <a:pt x="84" y="139"/>
                </a:cubicBezTo>
                <a:cubicBezTo>
                  <a:pt x="85" y="141"/>
                  <a:pt x="83" y="144"/>
                  <a:pt x="85" y="145"/>
                </a:cubicBezTo>
                <a:cubicBezTo>
                  <a:pt x="87" y="146"/>
                  <a:pt x="85" y="148"/>
                  <a:pt x="86" y="151"/>
                </a:cubicBezTo>
                <a:cubicBezTo>
                  <a:pt x="86" y="153"/>
                  <a:pt x="86" y="154"/>
                  <a:pt x="87" y="156"/>
                </a:cubicBezTo>
                <a:cubicBezTo>
                  <a:pt x="89" y="159"/>
                  <a:pt x="87" y="160"/>
                  <a:pt x="89" y="161"/>
                </a:cubicBezTo>
                <a:cubicBezTo>
                  <a:pt x="91" y="163"/>
                  <a:pt x="91" y="165"/>
                  <a:pt x="90" y="167"/>
                </a:cubicBezTo>
                <a:cubicBezTo>
                  <a:pt x="89" y="168"/>
                  <a:pt x="89" y="169"/>
                  <a:pt x="89" y="171"/>
                </a:cubicBezTo>
                <a:cubicBezTo>
                  <a:pt x="90" y="174"/>
                  <a:pt x="89" y="176"/>
                  <a:pt x="91" y="177"/>
                </a:cubicBezTo>
                <a:cubicBezTo>
                  <a:pt x="93" y="179"/>
                  <a:pt x="94" y="179"/>
                  <a:pt x="95" y="178"/>
                </a:cubicBezTo>
                <a:cubicBezTo>
                  <a:pt x="96" y="176"/>
                  <a:pt x="97" y="177"/>
                  <a:pt x="99" y="177"/>
                </a:cubicBezTo>
                <a:cubicBezTo>
                  <a:pt x="100" y="177"/>
                  <a:pt x="105" y="177"/>
                  <a:pt x="105" y="177"/>
                </a:cubicBezTo>
                <a:cubicBezTo>
                  <a:pt x="110" y="176"/>
                  <a:pt x="110" y="176"/>
                  <a:pt x="110" y="176"/>
                </a:cubicBezTo>
                <a:cubicBezTo>
                  <a:pt x="110" y="176"/>
                  <a:pt x="111" y="179"/>
                  <a:pt x="111" y="181"/>
                </a:cubicBezTo>
                <a:cubicBezTo>
                  <a:pt x="111" y="183"/>
                  <a:pt x="113" y="183"/>
                  <a:pt x="115" y="181"/>
                </a:cubicBezTo>
                <a:cubicBezTo>
                  <a:pt x="116" y="179"/>
                  <a:pt x="117" y="180"/>
                  <a:pt x="117" y="182"/>
                </a:cubicBezTo>
                <a:cubicBezTo>
                  <a:pt x="117" y="184"/>
                  <a:pt x="117" y="185"/>
                  <a:pt x="117" y="185"/>
                </a:cubicBezTo>
                <a:cubicBezTo>
                  <a:pt x="117" y="185"/>
                  <a:pt x="118" y="187"/>
                  <a:pt x="120" y="187"/>
                </a:cubicBezTo>
                <a:cubicBezTo>
                  <a:pt x="126" y="187"/>
                  <a:pt x="126" y="187"/>
                  <a:pt x="126" y="187"/>
                </a:cubicBezTo>
                <a:cubicBezTo>
                  <a:pt x="129" y="187"/>
                  <a:pt x="129" y="187"/>
                  <a:pt x="130" y="185"/>
                </a:cubicBezTo>
                <a:cubicBezTo>
                  <a:pt x="131" y="183"/>
                  <a:pt x="132" y="184"/>
                  <a:pt x="134" y="184"/>
                </a:cubicBezTo>
                <a:cubicBezTo>
                  <a:pt x="135" y="184"/>
                  <a:pt x="135" y="185"/>
                  <a:pt x="135" y="187"/>
                </a:cubicBezTo>
                <a:cubicBezTo>
                  <a:pt x="135" y="189"/>
                  <a:pt x="138" y="189"/>
                  <a:pt x="139" y="191"/>
                </a:cubicBezTo>
                <a:cubicBezTo>
                  <a:pt x="140" y="194"/>
                  <a:pt x="144" y="192"/>
                  <a:pt x="145" y="194"/>
                </a:cubicBezTo>
                <a:cubicBezTo>
                  <a:pt x="146" y="196"/>
                  <a:pt x="145" y="198"/>
                  <a:pt x="145" y="200"/>
                </a:cubicBezTo>
                <a:cubicBezTo>
                  <a:pt x="145" y="202"/>
                  <a:pt x="149" y="202"/>
                  <a:pt x="150" y="201"/>
                </a:cubicBezTo>
                <a:cubicBezTo>
                  <a:pt x="151" y="199"/>
                  <a:pt x="153" y="199"/>
                  <a:pt x="153" y="199"/>
                </a:cubicBezTo>
                <a:cubicBezTo>
                  <a:pt x="157" y="200"/>
                  <a:pt x="157" y="200"/>
                  <a:pt x="157" y="200"/>
                </a:cubicBezTo>
                <a:cubicBezTo>
                  <a:pt x="157" y="190"/>
                  <a:pt x="157" y="190"/>
                  <a:pt x="157" y="190"/>
                </a:cubicBezTo>
                <a:cubicBezTo>
                  <a:pt x="157" y="190"/>
                  <a:pt x="154" y="191"/>
                  <a:pt x="152" y="191"/>
                </a:cubicBezTo>
                <a:cubicBezTo>
                  <a:pt x="150" y="191"/>
                  <a:pt x="151" y="192"/>
                  <a:pt x="149" y="189"/>
                </a:cubicBezTo>
                <a:cubicBezTo>
                  <a:pt x="147" y="186"/>
                  <a:pt x="145" y="187"/>
                  <a:pt x="143" y="185"/>
                </a:cubicBezTo>
                <a:cubicBezTo>
                  <a:pt x="141" y="184"/>
                  <a:pt x="139" y="182"/>
                  <a:pt x="139" y="181"/>
                </a:cubicBezTo>
                <a:cubicBezTo>
                  <a:pt x="139" y="179"/>
                  <a:pt x="140" y="178"/>
                  <a:pt x="140" y="176"/>
                </a:cubicBezTo>
                <a:cubicBezTo>
                  <a:pt x="141" y="175"/>
                  <a:pt x="139" y="173"/>
                  <a:pt x="139" y="170"/>
                </a:cubicBezTo>
                <a:cubicBezTo>
                  <a:pt x="139" y="168"/>
                  <a:pt x="138" y="169"/>
                  <a:pt x="138" y="167"/>
                </a:cubicBezTo>
                <a:cubicBezTo>
                  <a:pt x="137" y="166"/>
                  <a:pt x="137" y="163"/>
                  <a:pt x="138" y="162"/>
                </a:cubicBezTo>
                <a:cubicBezTo>
                  <a:pt x="138" y="161"/>
                  <a:pt x="138" y="159"/>
                  <a:pt x="137" y="159"/>
                </a:cubicBezTo>
                <a:cubicBezTo>
                  <a:pt x="139" y="158"/>
                  <a:pt x="142" y="156"/>
                  <a:pt x="143" y="156"/>
                </a:cubicBezTo>
                <a:cubicBezTo>
                  <a:pt x="143" y="156"/>
                  <a:pt x="144" y="156"/>
                  <a:pt x="144" y="157"/>
                </a:cubicBezTo>
                <a:cubicBezTo>
                  <a:pt x="145" y="156"/>
                  <a:pt x="145" y="156"/>
                  <a:pt x="145" y="156"/>
                </a:cubicBezTo>
                <a:cubicBezTo>
                  <a:pt x="162" y="151"/>
                  <a:pt x="162" y="151"/>
                  <a:pt x="162" y="151"/>
                </a:cubicBezTo>
                <a:cubicBezTo>
                  <a:pt x="162" y="150"/>
                  <a:pt x="162" y="149"/>
                  <a:pt x="161" y="147"/>
                </a:cubicBezTo>
                <a:cubicBezTo>
                  <a:pt x="161" y="146"/>
                  <a:pt x="160" y="145"/>
                  <a:pt x="159" y="144"/>
                </a:cubicBezTo>
                <a:cubicBezTo>
                  <a:pt x="159" y="144"/>
                  <a:pt x="160" y="143"/>
                  <a:pt x="159" y="142"/>
                </a:cubicBezTo>
                <a:cubicBezTo>
                  <a:pt x="159" y="141"/>
                  <a:pt x="157" y="140"/>
                  <a:pt x="156" y="140"/>
                </a:cubicBezTo>
                <a:cubicBezTo>
                  <a:pt x="155" y="138"/>
                  <a:pt x="155" y="138"/>
                  <a:pt x="155" y="138"/>
                </a:cubicBezTo>
                <a:cubicBezTo>
                  <a:pt x="155" y="138"/>
                  <a:pt x="153" y="137"/>
                  <a:pt x="152" y="136"/>
                </a:cubicBezTo>
                <a:cubicBezTo>
                  <a:pt x="151" y="135"/>
                  <a:pt x="148" y="125"/>
                  <a:pt x="148" y="123"/>
                </a:cubicBezTo>
                <a:cubicBezTo>
                  <a:pt x="148" y="122"/>
                  <a:pt x="150" y="120"/>
                  <a:pt x="149" y="118"/>
                </a:cubicBezTo>
                <a:cubicBezTo>
                  <a:pt x="149" y="117"/>
                  <a:pt x="148" y="115"/>
                  <a:pt x="147" y="114"/>
                </a:cubicBezTo>
                <a:cubicBezTo>
                  <a:pt x="147" y="112"/>
                  <a:pt x="148" y="111"/>
                  <a:pt x="148" y="109"/>
                </a:cubicBezTo>
                <a:cubicBezTo>
                  <a:pt x="147" y="108"/>
                  <a:pt x="146" y="109"/>
                  <a:pt x="146" y="107"/>
                </a:cubicBezTo>
                <a:cubicBezTo>
                  <a:pt x="146" y="107"/>
                  <a:pt x="147" y="102"/>
                  <a:pt x="147" y="99"/>
                </a:cubicBezTo>
                <a:cubicBezTo>
                  <a:pt x="148" y="99"/>
                  <a:pt x="149" y="99"/>
                  <a:pt x="149" y="99"/>
                </a:cubicBezTo>
                <a:cubicBezTo>
                  <a:pt x="147" y="95"/>
                  <a:pt x="147" y="95"/>
                  <a:pt x="147" y="95"/>
                </a:cubicBezTo>
                <a:cubicBezTo>
                  <a:pt x="147" y="95"/>
                  <a:pt x="144" y="94"/>
                  <a:pt x="143" y="92"/>
                </a:cubicBezTo>
                <a:cubicBezTo>
                  <a:pt x="143" y="90"/>
                  <a:pt x="144" y="89"/>
                  <a:pt x="144" y="89"/>
                </a:cubicBezTo>
                <a:cubicBezTo>
                  <a:pt x="144" y="89"/>
                  <a:pt x="145" y="89"/>
                  <a:pt x="145" y="89"/>
                </a:cubicBezTo>
                <a:cubicBezTo>
                  <a:pt x="144" y="89"/>
                  <a:pt x="144" y="89"/>
                  <a:pt x="144" y="89"/>
                </a:cubicBezTo>
                <a:cubicBezTo>
                  <a:pt x="144" y="81"/>
                  <a:pt x="144" y="81"/>
                  <a:pt x="144" y="81"/>
                </a:cubicBezTo>
                <a:cubicBezTo>
                  <a:pt x="144" y="81"/>
                  <a:pt x="145" y="80"/>
                  <a:pt x="145" y="80"/>
                </a:cubicBezTo>
                <a:cubicBezTo>
                  <a:pt x="147" y="81"/>
                  <a:pt x="147" y="82"/>
                  <a:pt x="148" y="82"/>
                </a:cubicBezTo>
                <a:cubicBezTo>
                  <a:pt x="148" y="81"/>
                  <a:pt x="148" y="80"/>
                  <a:pt x="148" y="80"/>
                </a:cubicBezTo>
                <a:cubicBezTo>
                  <a:pt x="148" y="80"/>
                  <a:pt x="144" y="78"/>
                  <a:pt x="148" y="74"/>
                </a:cubicBezTo>
                <a:cubicBezTo>
                  <a:pt x="148" y="74"/>
                  <a:pt x="148" y="74"/>
                  <a:pt x="148" y="73"/>
                </a:cubicBezTo>
                <a:cubicBezTo>
                  <a:pt x="147" y="74"/>
                  <a:pt x="147" y="74"/>
                  <a:pt x="147" y="74"/>
                </a:cubicBezTo>
                <a:cubicBezTo>
                  <a:pt x="147" y="74"/>
                  <a:pt x="146" y="71"/>
                  <a:pt x="146" y="71"/>
                </a:cubicBezTo>
                <a:cubicBezTo>
                  <a:pt x="146" y="71"/>
                  <a:pt x="148" y="71"/>
                  <a:pt x="148" y="70"/>
                </a:cubicBezTo>
                <a:cubicBezTo>
                  <a:pt x="149" y="70"/>
                  <a:pt x="148" y="68"/>
                  <a:pt x="149" y="67"/>
                </a:cubicBezTo>
                <a:cubicBezTo>
                  <a:pt x="150" y="66"/>
                  <a:pt x="150" y="66"/>
                  <a:pt x="150" y="66"/>
                </a:cubicBezTo>
                <a:cubicBezTo>
                  <a:pt x="151" y="67"/>
                  <a:pt x="151" y="67"/>
                  <a:pt x="151" y="67"/>
                </a:cubicBezTo>
                <a:cubicBezTo>
                  <a:pt x="152" y="64"/>
                  <a:pt x="152" y="61"/>
                  <a:pt x="152" y="60"/>
                </a:cubicBezTo>
                <a:cubicBezTo>
                  <a:pt x="152" y="58"/>
                  <a:pt x="155" y="55"/>
                  <a:pt x="155" y="55"/>
                </a:cubicBezTo>
                <a:cubicBezTo>
                  <a:pt x="158" y="53"/>
                  <a:pt x="158" y="53"/>
                  <a:pt x="158" y="53"/>
                </a:cubicBezTo>
                <a:cubicBezTo>
                  <a:pt x="158" y="53"/>
                  <a:pt x="159" y="52"/>
                  <a:pt x="160" y="51"/>
                </a:cubicBezTo>
                <a:cubicBezTo>
                  <a:pt x="160" y="50"/>
                  <a:pt x="162" y="48"/>
                  <a:pt x="163" y="47"/>
                </a:cubicBezTo>
                <a:cubicBezTo>
                  <a:pt x="164" y="47"/>
                  <a:pt x="164" y="46"/>
                  <a:pt x="165" y="45"/>
                </a:cubicBezTo>
                <a:cubicBezTo>
                  <a:pt x="165" y="44"/>
                  <a:pt x="166" y="43"/>
                  <a:pt x="167" y="43"/>
                </a:cubicBezTo>
                <a:cubicBezTo>
                  <a:pt x="167" y="41"/>
                  <a:pt x="166" y="40"/>
                  <a:pt x="165" y="40"/>
                </a:cubicBezTo>
                <a:cubicBezTo>
                  <a:pt x="164" y="40"/>
                  <a:pt x="165" y="36"/>
                  <a:pt x="165" y="35"/>
                </a:cubicBezTo>
                <a:cubicBezTo>
                  <a:pt x="166" y="33"/>
                  <a:pt x="169" y="31"/>
                  <a:pt x="167" y="31"/>
                </a:cubicBezTo>
                <a:cubicBezTo>
                  <a:pt x="164" y="31"/>
                  <a:pt x="169" y="27"/>
                  <a:pt x="170" y="25"/>
                </a:cubicBezTo>
                <a:cubicBezTo>
                  <a:pt x="170" y="23"/>
                  <a:pt x="169" y="21"/>
                  <a:pt x="169" y="21"/>
                </a:cubicBezTo>
                <a:cubicBezTo>
                  <a:pt x="165" y="18"/>
                  <a:pt x="165" y="18"/>
                  <a:pt x="165" y="18"/>
                </a:cubicBezTo>
                <a:cubicBezTo>
                  <a:pt x="165" y="18"/>
                  <a:pt x="163" y="20"/>
                  <a:pt x="162" y="18"/>
                </a:cubicBezTo>
                <a:cubicBezTo>
                  <a:pt x="160" y="17"/>
                  <a:pt x="157" y="17"/>
                  <a:pt x="156" y="15"/>
                </a:cubicBezTo>
                <a:cubicBezTo>
                  <a:pt x="155" y="14"/>
                  <a:pt x="154" y="12"/>
                  <a:pt x="153" y="10"/>
                </a:cubicBezTo>
                <a:cubicBezTo>
                  <a:pt x="151" y="8"/>
                  <a:pt x="149" y="7"/>
                  <a:pt x="148" y="8"/>
                </a:cubicBezTo>
                <a:cubicBezTo>
                  <a:pt x="147" y="10"/>
                  <a:pt x="147" y="11"/>
                  <a:pt x="145" y="10"/>
                </a:cubicBezTo>
                <a:cubicBezTo>
                  <a:pt x="142" y="9"/>
                  <a:pt x="140" y="5"/>
                  <a:pt x="139" y="8"/>
                </a:cubicBezTo>
                <a:cubicBezTo>
                  <a:pt x="139" y="10"/>
                  <a:pt x="137" y="11"/>
                  <a:pt x="136" y="10"/>
                </a:cubicBezTo>
                <a:cubicBezTo>
                  <a:pt x="135" y="9"/>
                  <a:pt x="134" y="6"/>
                  <a:pt x="134" y="6"/>
                </a:cubicBezTo>
                <a:cubicBezTo>
                  <a:pt x="131" y="1"/>
                  <a:pt x="131" y="1"/>
                  <a:pt x="131" y="1"/>
                </a:cubicBezTo>
                <a:cubicBezTo>
                  <a:pt x="131" y="1"/>
                  <a:pt x="128" y="2"/>
                  <a:pt x="126" y="2"/>
                </a:cubicBezTo>
                <a:cubicBezTo>
                  <a:pt x="125" y="2"/>
                  <a:pt x="126" y="0"/>
                  <a:pt x="123" y="0"/>
                </a:cubicBezTo>
                <a:cubicBezTo>
                  <a:pt x="116" y="0"/>
                  <a:pt x="116" y="0"/>
                  <a:pt x="116" y="0"/>
                </a:cubicBezTo>
                <a:cubicBezTo>
                  <a:pt x="114" y="0"/>
                  <a:pt x="115" y="1"/>
                  <a:pt x="112" y="4"/>
                </a:cubicBezTo>
                <a:cubicBezTo>
                  <a:pt x="110" y="6"/>
                  <a:pt x="111" y="2"/>
                  <a:pt x="109" y="3"/>
                </a:cubicBezTo>
                <a:cubicBezTo>
                  <a:pt x="106" y="3"/>
                  <a:pt x="107" y="6"/>
                  <a:pt x="107" y="6"/>
                </a:cubicBezTo>
                <a:cubicBezTo>
                  <a:pt x="107" y="6"/>
                  <a:pt x="105" y="6"/>
                  <a:pt x="102" y="7"/>
                </a:cubicBezTo>
                <a:cubicBezTo>
                  <a:pt x="99" y="8"/>
                  <a:pt x="99" y="5"/>
                  <a:pt x="97" y="5"/>
                </a:cubicBezTo>
                <a:cubicBezTo>
                  <a:pt x="94" y="5"/>
                  <a:pt x="95" y="10"/>
                  <a:pt x="95" y="10"/>
                </a:cubicBezTo>
                <a:cubicBezTo>
                  <a:pt x="95" y="10"/>
                  <a:pt x="93" y="10"/>
                  <a:pt x="90" y="9"/>
                </a:cubicBezTo>
                <a:cubicBezTo>
                  <a:pt x="87" y="8"/>
                  <a:pt x="86" y="8"/>
                  <a:pt x="84" y="8"/>
                </a:cubicBezTo>
                <a:cubicBezTo>
                  <a:pt x="82" y="8"/>
                  <a:pt x="78" y="8"/>
                  <a:pt x="77" y="7"/>
                </a:cubicBezTo>
                <a:cubicBezTo>
                  <a:pt x="75" y="6"/>
                  <a:pt x="74" y="4"/>
                  <a:pt x="71" y="2"/>
                </a:cubicBezTo>
                <a:cubicBezTo>
                  <a:pt x="68" y="1"/>
                  <a:pt x="66" y="2"/>
                  <a:pt x="65" y="2"/>
                </a:cubicBezTo>
                <a:cubicBezTo>
                  <a:pt x="63" y="2"/>
                  <a:pt x="61" y="4"/>
                  <a:pt x="61" y="7"/>
                </a:cubicBezTo>
                <a:cubicBezTo>
                  <a:pt x="61" y="9"/>
                  <a:pt x="57" y="11"/>
                  <a:pt x="57" y="11"/>
                </a:cubicBezTo>
                <a:cubicBezTo>
                  <a:pt x="56" y="20"/>
                  <a:pt x="56" y="20"/>
                  <a:pt x="56" y="20"/>
                </a:cubicBezTo>
                <a:cubicBezTo>
                  <a:pt x="56" y="25"/>
                  <a:pt x="56" y="25"/>
                  <a:pt x="56" y="25"/>
                </a:cubicBezTo>
                <a:cubicBezTo>
                  <a:pt x="55" y="29"/>
                  <a:pt x="55" y="29"/>
                  <a:pt x="55" y="29"/>
                </a:cubicBezTo>
                <a:cubicBezTo>
                  <a:pt x="53" y="32"/>
                  <a:pt x="53" y="32"/>
                  <a:pt x="53" y="32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9"/>
                  <a:pt x="51" y="39"/>
                  <a:pt x="51" y="39"/>
                </a:cubicBezTo>
                <a:cubicBezTo>
                  <a:pt x="50" y="43"/>
                  <a:pt x="50" y="43"/>
                  <a:pt x="50" y="43"/>
                </a:cubicBezTo>
                <a:cubicBezTo>
                  <a:pt x="51" y="46"/>
                  <a:pt x="51" y="46"/>
                  <a:pt x="51" y="46"/>
                </a:cubicBezTo>
                <a:cubicBezTo>
                  <a:pt x="51" y="51"/>
                  <a:pt x="51" y="51"/>
                  <a:pt x="51" y="51"/>
                </a:cubicBezTo>
                <a:cubicBezTo>
                  <a:pt x="51" y="55"/>
                  <a:pt x="51" y="55"/>
                  <a:pt x="51" y="55"/>
                </a:cubicBezTo>
                <a:cubicBezTo>
                  <a:pt x="50" y="60"/>
                  <a:pt x="50" y="60"/>
                  <a:pt x="50" y="60"/>
                </a:cubicBezTo>
                <a:cubicBezTo>
                  <a:pt x="47" y="64"/>
                  <a:pt x="47" y="64"/>
                  <a:pt x="47" y="64"/>
                </a:cubicBezTo>
                <a:cubicBezTo>
                  <a:pt x="47" y="67"/>
                  <a:pt x="47" y="67"/>
                  <a:pt x="47" y="67"/>
                </a:cubicBezTo>
                <a:cubicBezTo>
                  <a:pt x="46" y="72"/>
                  <a:pt x="46" y="72"/>
                  <a:pt x="46" y="72"/>
                </a:cubicBezTo>
                <a:cubicBezTo>
                  <a:pt x="46" y="71"/>
                  <a:pt x="46" y="71"/>
                  <a:pt x="46" y="71"/>
                </a:cubicBezTo>
                <a:cubicBezTo>
                  <a:pt x="44" y="74"/>
                  <a:pt x="44" y="74"/>
                  <a:pt x="44" y="74"/>
                </a:cubicBezTo>
                <a:cubicBezTo>
                  <a:pt x="42" y="78"/>
                  <a:pt x="42" y="78"/>
                  <a:pt x="42" y="78"/>
                </a:cubicBezTo>
                <a:cubicBezTo>
                  <a:pt x="42" y="81"/>
                  <a:pt x="42" y="81"/>
                  <a:pt x="42" y="81"/>
                </a:cubicBezTo>
                <a:cubicBezTo>
                  <a:pt x="41" y="84"/>
                  <a:pt x="41" y="84"/>
                  <a:pt x="41" y="84"/>
                </a:cubicBezTo>
                <a:cubicBezTo>
                  <a:pt x="41" y="88"/>
                  <a:pt x="41" y="88"/>
                  <a:pt x="41" y="88"/>
                </a:cubicBezTo>
                <a:cubicBezTo>
                  <a:pt x="41" y="90"/>
                  <a:pt x="41" y="90"/>
                  <a:pt x="41" y="90"/>
                </a:cubicBezTo>
                <a:cubicBezTo>
                  <a:pt x="40" y="93"/>
                  <a:pt x="40" y="93"/>
                  <a:pt x="40" y="93"/>
                </a:cubicBezTo>
                <a:cubicBezTo>
                  <a:pt x="39" y="96"/>
                  <a:pt x="39" y="96"/>
                  <a:pt x="39" y="96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36" y="103"/>
                  <a:pt x="36" y="103"/>
                  <a:pt x="36" y="103"/>
                </a:cubicBezTo>
                <a:cubicBezTo>
                  <a:pt x="32" y="107"/>
                  <a:pt x="32" y="107"/>
                  <a:pt x="32" y="107"/>
                </a:cubicBezTo>
                <a:cubicBezTo>
                  <a:pt x="28" y="108"/>
                  <a:pt x="28" y="108"/>
                  <a:pt x="28" y="108"/>
                </a:cubicBezTo>
                <a:cubicBezTo>
                  <a:pt x="25" y="109"/>
                  <a:pt x="25" y="109"/>
                  <a:pt x="25" y="109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24" y="101"/>
                  <a:pt x="24" y="101"/>
                  <a:pt x="24" y="101"/>
                </a:cubicBezTo>
                <a:cubicBezTo>
                  <a:pt x="24" y="101"/>
                  <a:pt x="22" y="102"/>
                  <a:pt x="20" y="102"/>
                </a:cubicBezTo>
                <a:cubicBezTo>
                  <a:pt x="18" y="102"/>
                  <a:pt x="17" y="101"/>
                  <a:pt x="17" y="101"/>
                </a:cubicBezTo>
                <a:cubicBezTo>
                  <a:pt x="17" y="101"/>
                  <a:pt x="18" y="105"/>
                  <a:pt x="16" y="105"/>
                </a:cubicBezTo>
                <a:cubicBezTo>
                  <a:pt x="14" y="105"/>
                  <a:pt x="12" y="104"/>
                  <a:pt x="11" y="105"/>
                </a:cubicBezTo>
                <a:cubicBezTo>
                  <a:pt x="9" y="107"/>
                  <a:pt x="8" y="106"/>
                  <a:pt x="8" y="106"/>
                </a:cubicBezTo>
                <a:cubicBezTo>
                  <a:pt x="8" y="106"/>
                  <a:pt x="4" y="107"/>
                  <a:pt x="5" y="110"/>
                </a:cubicBezTo>
                <a:cubicBezTo>
                  <a:pt x="7" y="113"/>
                  <a:pt x="5" y="113"/>
                  <a:pt x="5" y="113"/>
                </a:cubicBezTo>
                <a:lnTo>
                  <a:pt x="2" y="114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7" name="Google Shape;427;p102"/>
          <p:cNvSpPr/>
          <p:nvPr/>
        </p:nvSpPr>
        <p:spPr>
          <a:xfrm>
            <a:off x="6698250" y="3286036"/>
            <a:ext cx="132038" cy="138452"/>
          </a:xfrm>
          <a:custGeom>
            <a:avLst/>
            <a:gdLst/>
            <a:ahLst/>
            <a:cxnLst/>
            <a:rect l="l" t="t" r="r" b="b"/>
            <a:pathLst>
              <a:path w="46" h="50" extrusionOk="0">
                <a:moveTo>
                  <a:pt x="45" y="18"/>
                </a:moveTo>
                <a:cubicBezTo>
                  <a:pt x="45" y="18"/>
                  <a:pt x="42" y="18"/>
                  <a:pt x="41" y="16"/>
                </a:cubicBezTo>
                <a:cubicBezTo>
                  <a:pt x="39" y="15"/>
                  <a:pt x="39" y="13"/>
                  <a:pt x="42" y="13"/>
                </a:cubicBezTo>
                <a:cubicBezTo>
                  <a:pt x="44" y="13"/>
                  <a:pt x="45" y="13"/>
                  <a:pt x="42" y="11"/>
                </a:cubicBezTo>
                <a:cubicBezTo>
                  <a:pt x="40" y="10"/>
                  <a:pt x="38" y="9"/>
                  <a:pt x="37" y="10"/>
                </a:cubicBezTo>
                <a:cubicBezTo>
                  <a:pt x="36" y="11"/>
                  <a:pt x="35" y="14"/>
                  <a:pt x="33" y="11"/>
                </a:cubicBezTo>
                <a:cubicBezTo>
                  <a:pt x="32" y="9"/>
                  <a:pt x="32" y="9"/>
                  <a:pt x="30" y="9"/>
                </a:cubicBezTo>
                <a:cubicBezTo>
                  <a:pt x="28" y="9"/>
                  <a:pt x="29" y="8"/>
                  <a:pt x="29" y="6"/>
                </a:cubicBezTo>
                <a:cubicBezTo>
                  <a:pt x="29" y="4"/>
                  <a:pt x="24" y="0"/>
                  <a:pt x="24" y="0"/>
                </a:cubicBezTo>
                <a:cubicBezTo>
                  <a:pt x="23" y="0"/>
                  <a:pt x="22" y="0"/>
                  <a:pt x="20" y="0"/>
                </a:cubicBezTo>
                <a:cubicBezTo>
                  <a:pt x="17" y="0"/>
                  <a:pt x="15" y="0"/>
                  <a:pt x="14" y="2"/>
                </a:cubicBezTo>
                <a:cubicBezTo>
                  <a:pt x="13" y="3"/>
                  <a:pt x="12" y="4"/>
                  <a:pt x="10" y="5"/>
                </a:cubicBezTo>
                <a:cubicBezTo>
                  <a:pt x="10" y="5"/>
                  <a:pt x="7" y="8"/>
                  <a:pt x="9" y="9"/>
                </a:cubicBezTo>
                <a:cubicBezTo>
                  <a:pt x="12" y="11"/>
                  <a:pt x="10" y="13"/>
                  <a:pt x="9" y="14"/>
                </a:cubicBezTo>
                <a:cubicBezTo>
                  <a:pt x="9" y="15"/>
                  <a:pt x="8" y="16"/>
                  <a:pt x="9" y="17"/>
                </a:cubicBezTo>
                <a:cubicBezTo>
                  <a:pt x="9" y="19"/>
                  <a:pt x="12" y="19"/>
                  <a:pt x="11" y="21"/>
                </a:cubicBezTo>
                <a:cubicBezTo>
                  <a:pt x="11" y="22"/>
                  <a:pt x="8" y="21"/>
                  <a:pt x="8" y="22"/>
                </a:cubicBezTo>
                <a:cubicBezTo>
                  <a:pt x="7" y="24"/>
                  <a:pt x="13" y="24"/>
                  <a:pt x="12" y="26"/>
                </a:cubicBezTo>
                <a:cubicBezTo>
                  <a:pt x="11" y="28"/>
                  <a:pt x="9" y="27"/>
                  <a:pt x="8" y="28"/>
                </a:cubicBezTo>
                <a:cubicBezTo>
                  <a:pt x="7" y="29"/>
                  <a:pt x="7" y="30"/>
                  <a:pt x="6" y="31"/>
                </a:cubicBezTo>
                <a:cubicBezTo>
                  <a:pt x="5" y="32"/>
                  <a:pt x="4" y="32"/>
                  <a:pt x="3" y="32"/>
                </a:cubicBezTo>
                <a:cubicBezTo>
                  <a:pt x="1" y="34"/>
                  <a:pt x="1" y="35"/>
                  <a:pt x="1" y="37"/>
                </a:cubicBezTo>
                <a:cubicBezTo>
                  <a:pt x="0" y="39"/>
                  <a:pt x="1" y="41"/>
                  <a:pt x="2" y="43"/>
                </a:cubicBezTo>
                <a:cubicBezTo>
                  <a:pt x="3" y="43"/>
                  <a:pt x="3" y="43"/>
                  <a:pt x="4" y="43"/>
                </a:cubicBezTo>
                <a:cubicBezTo>
                  <a:pt x="5" y="43"/>
                  <a:pt x="6" y="45"/>
                  <a:pt x="7" y="46"/>
                </a:cubicBezTo>
                <a:cubicBezTo>
                  <a:pt x="7" y="47"/>
                  <a:pt x="7" y="47"/>
                  <a:pt x="7" y="47"/>
                </a:cubicBezTo>
                <a:cubicBezTo>
                  <a:pt x="8" y="43"/>
                  <a:pt x="8" y="43"/>
                  <a:pt x="8" y="43"/>
                </a:cubicBezTo>
                <a:cubicBezTo>
                  <a:pt x="13" y="40"/>
                  <a:pt x="13" y="40"/>
                  <a:pt x="13" y="40"/>
                </a:cubicBezTo>
                <a:cubicBezTo>
                  <a:pt x="15" y="43"/>
                  <a:pt x="15" y="43"/>
                  <a:pt x="15" y="43"/>
                </a:cubicBezTo>
                <a:cubicBezTo>
                  <a:pt x="17" y="41"/>
                  <a:pt x="17" y="41"/>
                  <a:pt x="17" y="41"/>
                </a:cubicBezTo>
                <a:cubicBezTo>
                  <a:pt x="21" y="45"/>
                  <a:pt x="21" y="45"/>
                  <a:pt x="21" y="45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5" y="47"/>
                  <a:pt x="25" y="47"/>
                  <a:pt x="25" y="47"/>
                </a:cubicBezTo>
                <a:cubicBezTo>
                  <a:pt x="27" y="45"/>
                  <a:pt x="27" y="45"/>
                  <a:pt x="27" y="45"/>
                </a:cubicBezTo>
                <a:cubicBezTo>
                  <a:pt x="29" y="48"/>
                  <a:pt x="29" y="48"/>
                  <a:pt x="29" y="48"/>
                </a:cubicBezTo>
                <a:cubicBezTo>
                  <a:pt x="31" y="44"/>
                  <a:pt x="31" y="44"/>
                  <a:pt x="31" y="44"/>
                </a:cubicBezTo>
                <a:cubicBezTo>
                  <a:pt x="34" y="44"/>
                  <a:pt x="34" y="44"/>
                  <a:pt x="34" y="44"/>
                </a:cubicBezTo>
                <a:cubicBezTo>
                  <a:pt x="36" y="43"/>
                  <a:pt x="36" y="43"/>
                  <a:pt x="36" y="43"/>
                </a:cubicBezTo>
                <a:cubicBezTo>
                  <a:pt x="39" y="42"/>
                  <a:pt x="39" y="42"/>
                  <a:pt x="39" y="42"/>
                </a:cubicBezTo>
                <a:cubicBezTo>
                  <a:pt x="40" y="42"/>
                  <a:pt x="40" y="42"/>
                  <a:pt x="40" y="42"/>
                </a:cubicBezTo>
                <a:cubicBezTo>
                  <a:pt x="40" y="42"/>
                  <a:pt x="42" y="40"/>
                  <a:pt x="42" y="38"/>
                </a:cubicBezTo>
                <a:cubicBezTo>
                  <a:pt x="43" y="36"/>
                  <a:pt x="46" y="34"/>
                  <a:pt x="44" y="33"/>
                </a:cubicBezTo>
                <a:cubicBezTo>
                  <a:pt x="42" y="33"/>
                  <a:pt x="40" y="33"/>
                  <a:pt x="39" y="31"/>
                </a:cubicBezTo>
                <a:cubicBezTo>
                  <a:pt x="38" y="29"/>
                  <a:pt x="38" y="28"/>
                  <a:pt x="39" y="26"/>
                </a:cubicBezTo>
                <a:cubicBezTo>
                  <a:pt x="40" y="25"/>
                  <a:pt x="40" y="24"/>
                  <a:pt x="42" y="23"/>
                </a:cubicBezTo>
                <a:cubicBezTo>
                  <a:pt x="44" y="21"/>
                  <a:pt x="45" y="18"/>
                  <a:pt x="45" y="18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8" name="Google Shape;428;p102"/>
          <p:cNvSpPr/>
          <p:nvPr/>
        </p:nvSpPr>
        <p:spPr>
          <a:xfrm>
            <a:off x="7309927" y="4134834"/>
            <a:ext cx="299287" cy="207677"/>
          </a:xfrm>
          <a:custGeom>
            <a:avLst/>
            <a:gdLst/>
            <a:ahLst/>
            <a:cxnLst/>
            <a:rect l="l" t="t" r="r" b="b"/>
            <a:pathLst>
              <a:path w="104" h="75" extrusionOk="0">
                <a:moveTo>
                  <a:pt x="2" y="23"/>
                </a:moveTo>
                <a:cubicBezTo>
                  <a:pt x="2" y="23"/>
                  <a:pt x="4" y="22"/>
                  <a:pt x="4" y="21"/>
                </a:cubicBezTo>
                <a:cubicBezTo>
                  <a:pt x="4" y="19"/>
                  <a:pt x="5" y="20"/>
                  <a:pt x="5" y="18"/>
                </a:cubicBezTo>
                <a:cubicBezTo>
                  <a:pt x="5" y="16"/>
                  <a:pt x="5" y="17"/>
                  <a:pt x="6" y="16"/>
                </a:cubicBezTo>
                <a:cubicBezTo>
                  <a:pt x="7" y="15"/>
                  <a:pt x="7" y="14"/>
                  <a:pt x="9" y="14"/>
                </a:cubicBezTo>
                <a:cubicBezTo>
                  <a:pt x="12" y="13"/>
                  <a:pt x="10" y="15"/>
                  <a:pt x="12" y="16"/>
                </a:cubicBezTo>
                <a:cubicBezTo>
                  <a:pt x="14" y="17"/>
                  <a:pt x="14" y="17"/>
                  <a:pt x="17" y="16"/>
                </a:cubicBezTo>
                <a:cubicBezTo>
                  <a:pt x="20" y="16"/>
                  <a:pt x="32" y="20"/>
                  <a:pt x="32" y="20"/>
                </a:cubicBezTo>
                <a:cubicBezTo>
                  <a:pt x="34" y="31"/>
                  <a:pt x="34" y="31"/>
                  <a:pt x="34" y="31"/>
                </a:cubicBezTo>
                <a:cubicBezTo>
                  <a:pt x="33" y="31"/>
                  <a:pt x="38" y="26"/>
                  <a:pt x="38" y="26"/>
                </a:cubicBezTo>
                <a:cubicBezTo>
                  <a:pt x="50" y="11"/>
                  <a:pt x="50" y="11"/>
                  <a:pt x="50" y="11"/>
                </a:cubicBezTo>
                <a:cubicBezTo>
                  <a:pt x="80" y="0"/>
                  <a:pt x="80" y="0"/>
                  <a:pt x="80" y="0"/>
                </a:cubicBezTo>
                <a:cubicBezTo>
                  <a:pt x="80" y="3"/>
                  <a:pt x="80" y="3"/>
                  <a:pt x="80" y="3"/>
                </a:cubicBezTo>
                <a:cubicBezTo>
                  <a:pt x="91" y="21"/>
                  <a:pt x="91" y="21"/>
                  <a:pt x="91" y="21"/>
                </a:cubicBezTo>
                <a:cubicBezTo>
                  <a:pt x="95" y="24"/>
                  <a:pt x="95" y="24"/>
                  <a:pt x="95" y="24"/>
                </a:cubicBezTo>
                <a:cubicBezTo>
                  <a:pt x="94" y="24"/>
                  <a:pt x="93" y="24"/>
                  <a:pt x="92" y="25"/>
                </a:cubicBezTo>
                <a:cubicBezTo>
                  <a:pt x="92" y="25"/>
                  <a:pt x="91" y="26"/>
                  <a:pt x="91" y="27"/>
                </a:cubicBezTo>
                <a:cubicBezTo>
                  <a:pt x="89" y="27"/>
                  <a:pt x="88" y="27"/>
                  <a:pt x="87" y="27"/>
                </a:cubicBezTo>
                <a:cubicBezTo>
                  <a:pt x="82" y="30"/>
                  <a:pt x="84" y="31"/>
                  <a:pt x="85" y="35"/>
                </a:cubicBezTo>
                <a:cubicBezTo>
                  <a:pt x="84" y="35"/>
                  <a:pt x="83" y="35"/>
                  <a:pt x="82" y="35"/>
                </a:cubicBezTo>
                <a:cubicBezTo>
                  <a:pt x="82" y="35"/>
                  <a:pt x="79" y="40"/>
                  <a:pt x="78" y="41"/>
                </a:cubicBezTo>
                <a:cubicBezTo>
                  <a:pt x="74" y="43"/>
                  <a:pt x="71" y="44"/>
                  <a:pt x="66" y="46"/>
                </a:cubicBezTo>
                <a:cubicBezTo>
                  <a:pt x="65" y="46"/>
                  <a:pt x="63" y="48"/>
                  <a:pt x="62" y="49"/>
                </a:cubicBezTo>
                <a:cubicBezTo>
                  <a:pt x="62" y="49"/>
                  <a:pt x="60" y="48"/>
                  <a:pt x="60" y="49"/>
                </a:cubicBezTo>
                <a:cubicBezTo>
                  <a:pt x="59" y="49"/>
                  <a:pt x="53" y="53"/>
                  <a:pt x="53" y="54"/>
                </a:cubicBezTo>
                <a:cubicBezTo>
                  <a:pt x="53" y="55"/>
                  <a:pt x="53" y="55"/>
                  <a:pt x="53" y="55"/>
                </a:cubicBezTo>
                <a:cubicBezTo>
                  <a:pt x="50" y="57"/>
                  <a:pt x="48" y="54"/>
                  <a:pt x="46" y="55"/>
                </a:cubicBezTo>
                <a:cubicBezTo>
                  <a:pt x="45" y="56"/>
                  <a:pt x="45" y="57"/>
                  <a:pt x="44" y="57"/>
                </a:cubicBezTo>
                <a:cubicBezTo>
                  <a:pt x="43" y="58"/>
                  <a:pt x="39" y="62"/>
                  <a:pt x="37" y="62"/>
                </a:cubicBezTo>
                <a:cubicBezTo>
                  <a:pt x="34" y="63"/>
                  <a:pt x="29" y="61"/>
                  <a:pt x="26" y="63"/>
                </a:cubicBezTo>
                <a:cubicBezTo>
                  <a:pt x="24" y="63"/>
                  <a:pt x="24" y="66"/>
                  <a:pt x="23" y="67"/>
                </a:cubicBezTo>
                <a:cubicBezTo>
                  <a:pt x="21" y="68"/>
                  <a:pt x="20" y="67"/>
                  <a:pt x="18" y="68"/>
                </a:cubicBezTo>
                <a:cubicBezTo>
                  <a:pt x="18" y="68"/>
                  <a:pt x="17" y="69"/>
                  <a:pt x="17" y="69"/>
                </a:cubicBezTo>
                <a:cubicBezTo>
                  <a:pt x="15" y="69"/>
                  <a:pt x="10" y="68"/>
                  <a:pt x="7" y="67"/>
                </a:cubicBezTo>
                <a:cubicBezTo>
                  <a:pt x="6" y="64"/>
                  <a:pt x="5" y="63"/>
                  <a:pt x="6" y="60"/>
                </a:cubicBezTo>
                <a:cubicBezTo>
                  <a:pt x="6" y="60"/>
                  <a:pt x="7" y="58"/>
                  <a:pt x="6" y="57"/>
                </a:cubicBezTo>
                <a:cubicBezTo>
                  <a:pt x="6" y="56"/>
                  <a:pt x="4" y="54"/>
                  <a:pt x="3" y="53"/>
                </a:cubicBezTo>
                <a:cubicBezTo>
                  <a:pt x="4" y="52"/>
                  <a:pt x="2" y="44"/>
                  <a:pt x="1" y="43"/>
                </a:cubicBezTo>
                <a:cubicBezTo>
                  <a:pt x="0" y="43"/>
                  <a:pt x="2" y="42"/>
                  <a:pt x="2" y="42"/>
                </a:cubicBezTo>
                <a:cubicBezTo>
                  <a:pt x="3" y="40"/>
                  <a:pt x="2" y="38"/>
                  <a:pt x="2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1" y="33"/>
                  <a:pt x="3" y="28"/>
                  <a:pt x="2" y="24"/>
                </a:cubicBezTo>
                <a:lnTo>
                  <a:pt x="2" y="23"/>
                </a:lnTo>
                <a:close/>
                <a:moveTo>
                  <a:pt x="94" y="73"/>
                </a:moveTo>
                <a:cubicBezTo>
                  <a:pt x="94" y="73"/>
                  <a:pt x="95" y="74"/>
                  <a:pt x="96" y="75"/>
                </a:cubicBezTo>
                <a:cubicBezTo>
                  <a:pt x="99" y="75"/>
                  <a:pt x="104" y="74"/>
                  <a:pt x="100" y="73"/>
                </a:cubicBezTo>
                <a:cubicBezTo>
                  <a:pt x="97" y="73"/>
                  <a:pt x="97" y="73"/>
                  <a:pt x="94" y="7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9" name="Google Shape;429;p102"/>
          <p:cNvSpPr/>
          <p:nvPr/>
        </p:nvSpPr>
        <p:spPr>
          <a:xfrm>
            <a:off x="5815061" y="3876576"/>
            <a:ext cx="227400" cy="202026"/>
          </a:xfrm>
          <a:custGeom>
            <a:avLst/>
            <a:gdLst/>
            <a:ahLst/>
            <a:cxnLst/>
            <a:rect l="l" t="t" r="r" b="b"/>
            <a:pathLst>
              <a:path w="79" h="73" extrusionOk="0">
                <a:moveTo>
                  <a:pt x="1" y="73"/>
                </a:moveTo>
                <a:cubicBezTo>
                  <a:pt x="4" y="69"/>
                  <a:pt x="3" y="71"/>
                  <a:pt x="3" y="71"/>
                </a:cubicBezTo>
                <a:cubicBezTo>
                  <a:pt x="36" y="70"/>
                  <a:pt x="36" y="70"/>
                  <a:pt x="36" y="70"/>
                </a:cubicBezTo>
                <a:cubicBezTo>
                  <a:pt x="36" y="70"/>
                  <a:pt x="35" y="59"/>
                  <a:pt x="35" y="53"/>
                </a:cubicBezTo>
                <a:cubicBezTo>
                  <a:pt x="35" y="46"/>
                  <a:pt x="45" y="47"/>
                  <a:pt x="45" y="47"/>
                </a:cubicBezTo>
                <a:cubicBezTo>
                  <a:pt x="46" y="24"/>
                  <a:pt x="46" y="24"/>
                  <a:pt x="46" y="24"/>
                </a:cubicBezTo>
                <a:cubicBezTo>
                  <a:pt x="79" y="23"/>
                  <a:pt x="79" y="23"/>
                  <a:pt x="79" y="23"/>
                </a:cubicBezTo>
                <a:cubicBezTo>
                  <a:pt x="78" y="7"/>
                  <a:pt x="78" y="7"/>
                  <a:pt x="78" y="7"/>
                </a:cubicBezTo>
                <a:cubicBezTo>
                  <a:pt x="78" y="0"/>
                  <a:pt x="78" y="0"/>
                  <a:pt x="78" y="0"/>
                </a:cubicBezTo>
                <a:cubicBezTo>
                  <a:pt x="41" y="1"/>
                  <a:pt x="41" y="1"/>
                  <a:pt x="41" y="1"/>
                </a:cubicBezTo>
                <a:cubicBezTo>
                  <a:pt x="40" y="3"/>
                  <a:pt x="39" y="4"/>
                  <a:pt x="39" y="4"/>
                </a:cubicBezTo>
                <a:cubicBezTo>
                  <a:pt x="38" y="4"/>
                  <a:pt x="36" y="3"/>
                  <a:pt x="35" y="3"/>
                </a:cubicBezTo>
                <a:cubicBezTo>
                  <a:pt x="34" y="4"/>
                  <a:pt x="35" y="5"/>
                  <a:pt x="35" y="5"/>
                </a:cubicBezTo>
                <a:cubicBezTo>
                  <a:pt x="34" y="6"/>
                  <a:pt x="33" y="6"/>
                  <a:pt x="33" y="7"/>
                </a:cubicBezTo>
                <a:cubicBezTo>
                  <a:pt x="32" y="8"/>
                  <a:pt x="33" y="9"/>
                  <a:pt x="32" y="11"/>
                </a:cubicBezTo>
                <a:cubicBezTo>
                  <a:pt x="32" y="11"/>
                  <a:pt x="31" y="11"/>
                  <a:pt x="31" y="11"/>
                </a:cubicBezTo>
                <a:cubicBezTo>
                  <a:pt x="30" y="12"/>
                  <a:pt x="31" y="13"/>
                  <a:pt x="31" y="13"/>
                </a:cubicBezTo>
                <a:cubicBezTo>
                  <a:pt x="30" y="14"/>
                  <a:pt x="29" y="14"/>
                  <a:pt x="29" y="14"/>
                </a:cubicBezTo>
                <a:cubicBezTo>
                  <a:pt x="28" y="14"/>
                  <a:pt x="23" y="21"/>
                  <a:pt x="23" y="21"/>
                </a:cubicBezTo>
                <a:cubicBezTo>
                  <a:pt x="22" y="23"/>
                  <a:pt x="22" y="28"/>
                  <a:pt x="22" y="28"/>
                </a:cubicBezTo>
                <a:cubicBezTo>
                  <a:pt x="22" y="29"/>
                  <a:pt x="20" y="30"/>
                  <a:pt x="19" y="31"/>
                </a:cubicBezTo>
                <a:cubicBezTo>
                  <a:pt x="17" y="34"/>
                  <a:pt x="18" y="38"/>
                  <a:pt x="15" y="41"/>
                </a:cubicBezTo>
                <a:cubicBezTo>
                  <a:pt x="15" y="42"/>
                  <a:pt x="13" y="42"/>
                  <a:pt x="12" y="43"/>
                </a:cubicBezTo>
                <a:cubicBezTo>
                  <a:pt x="11" y="45"/>
                  <a:pt x="12" y="46"/>
                  <a:pt x="12" y="47"/>
                </a:cubicBezTo>
                <a:cubicBezTo>
                  <a:pt x="12" y="47"/>
                  <a:pt x="10" y="48"/>
                  <a:pt x="10" y="49"/>
                </a:cubicBezTo>
                <a:cubicBezTo>
                  <a:pt x="10" y="49"/>
                  <a:pt x="10" y="50"/>
                  <a:pt x="10" y="51"/>
                </a:cubicBezTo>
                <a:cubicBezTo>
                  <a:pt x="10" y="52"/>
                  <a:pt x="8" y="53"/>
                  <a:pt x="8" y="53"/>
                </a:cubicBezTo>
                <a:cubicBezTo>
                  <a:pt x="8" y="54"/>
                  <a:pt x="8" y="55"/>
                  <a:pt x="8" y="56"/>
                </a:cubicBezTo>
                <a:cubicBezTo>
                  <a:pt x="8" y="56"/>
                  <a:pt x="7" y="57"/>
                  <a:pt x="7" y="57"/>
                </a:cubicBezTo>
                <a:cubicBezTo>
                  <a:pt x="6" y="58"/>
                  <a:pt x="7" y="58"/>
                  <a:pt x="6" y="60"/>
                </a:cubicBezTo>
                <a:cubicBezTo>
                  <a:pt x="5" y="62"/>
                  <a:pt x="3" y="63"/>
                  <a:pt x="1" y="64"/>
                </a:cubicBezTo>
                <a:cubicBezTo>
                  <a:pt x="1" y="64"/>
                  <a:pt x="1" y="66"/>
                  <a:pt x="1" y="66"/>
                </a:cubicBezTo>
                <a:cubicBezTo>
                  <a:pt x="2" y="65"/>
                  <a:pt x="2" y="67"/>
                  <a:pt x="2" y="68"/>
                </a:cubicBezTo>
                <a:cubicBezTo>
                  <a:pt x="1" y="69"/>
                  <a:pt x="1" y="69"/>
                  <a:pt x="1" y="69"/>
                </a:cubicBezTo>
                <a:cubicBezTo>
                  <a:pt x="0" y="71"/>
                  <a:pt x="1" y="72"/>
                  <a:pt x="1" y="7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0" name="Google Shape;430;p102"/>
          <p:cNvSpPr/>
          <p:nvPr/>
        </p:nvSpPr>
        <p:spPr>
          <a:xfrm>
            <a:off x="8781521" y="4026329"/>
            <a:ext cx="181920" cy="443610"/>
          </a:xfrm>
          <a:custGeom>
            <a:avLst/>
            <a:gdLst/>
            <a:ahLst/>
            <a:cxnLst/>
            <a:rect l="l" t="t" r="r" b="b"/>
            <a:pathLst>
              <a:path w="63" h="160" extrusionOk="0">
                <a:moveTo>
                  <a:pt x="50" y="18"/>
                </a:moveTo>
                <a:cubicBezTo>
                  <a:pt x="46" y="16"/>
                  <a:pt x="46" y="16"/>
                  <a:pt x="46" y="16"/>
                </a:cubicBezTo>
                <a:cubicBezTo>
                  <a:pt x="43" y="17"/>
                  <a:pt x="43" y="17"/>
                  <a:pt x="43" y="17"/>
                </a:cubicBezTo>
                <a:cubicBezTo>
                  <a:pt x="39" y="15"/>
                  <a:pt x="39" y="15"/>
                  <a:pt x="39" y="15"/>
                </a:cubicBezTo>
                <a:cubicBezTo>
                  <a:pt x="37" y="13"/>
                  <a:pt x="37" y="13"/>
                  <a:pt x="37" y="13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4"/>
                  <a:pt x="35" y="4"/>
                  <a:pt x="35" y="4"/>
                </a:cubicBezTo>
                <a:cubicBezTo>
                  <a:pt x="32" y="3"/>
                  <a:pt x="32" y="3"/>
                  <a:pt x="32" y="3"/>
                </a:cubicBezTo>
                <a:cubicBezTo>
                  <a:pt x="29" y="1"/>
                  <a:pt x="29" y="1"/>
                  <a:pt x="29" y="1"/>
                </a:cubicBezTo>
                <a:cubicBezTo>
                  <a:pt x="26" y="0"/>
                  <a:pt x="26" y="0"/>
                  <a:pt x="26" y="0"/>
                </a:cubicBezTo>
                <a:cubicBezTo>
                  <a:pt x="21" y="4"/>
                  <a:pt x="21" y="4"/>
                  <a:pt x="21" y="4"/>
                </a:cubicBezTo>
                <a:cubicBezTo>
                  <a:pt x="16" y="4"/>
                  <a:pt x="16" y="4"/>
                  <a:pt x="16" y="4"/>
                </a:cubicBezTo>
                <a:cubicBezTo>
                  <a:pt x="10" y="6"/>
                  <a:pt x="10" y="6"/>
                  <a:pt x="10" y="6"/>
                </a:cubicBezTo>
                <a:cubicBezTo>
                  <a:pt x="5" y="3"/>
                  <a:pt x="5" y="3"/>
                  <a:pt x="5" y="3"/>
                </a:cubicBezTo>
                <a:cubicBezTo>
                  <a:pt x="0" y="6"/>
                  <a:pt x="0" y="6"/>
                  <a:pt x="0" y="6"/>
                </a:cubicBezTo>
                <a:cubicBezTo>
                  <a:pt x="4" y="13"/>
                  <a:pt x="4" y="13"/>
                  <a:pt x="4" y="13"/>
                </a:cubicBezTo>
                <a:cubicBezTo>
                  <a:pt x="3" y="16"/>
                  <a:pt x="3" y="16"/>
                  <a:pt x="3" y="16"/>
                </a:cubicBezTo>
                <a:cubicBezTo>
                  <a:pt x="6" y="19"/>
                  <a:pt x="6" y="19"/>
                  <a:pt x="6" y="19"/>
                </a:cubicBezTo>
                <a:cubicBezTo>
                  <a:pt x="9" y="21"/>
                  <a:pt x="9" y="21"/>
                  <a:pt x="9" y="21"/>
                </a:cubicBezTo>
                <a:cubicBezTo>
                  <a:pt x="10" y="23"/>
                  <a:pt x="10" y="23"/>
                  <a:pt x="10" y="23"/>
                </a:cubicBezTo>
                <a:cubicBezTo>
                  <a:pt x="14" y="24"/>
                  <a:pt x="14" y="24"/>
                  <a:pt x="14" y="24"/>
                </a:cubicBezTo>
                <a:cubicBezTo>
                  <a:pt x="17" y="22"/>
                  <a:pt x="17" y="22"/>
                  <a:pt x="17" y="22"/>
                </a:cubicBezTo>
                <a:cubicBezTo>
                  <a:pt x="20" y="24"/>
                  <a:pt x="20" y="24"/>
                  <a:pt x="20" y="24"/>
                </a:cubicBezTo>
                <a:cubicBezTo>
                  <a:pt x="24" y="26"/>
                  <a:pt x="24" y="26"/>
                  <a:pt x="24" y="26"/>
                </a:cubicBezTo>
                <a:cubicBezTo>
                  <a:pt x="24" y="31"/>
                  <a:pt x="24" y="31"/>
                  <a:pt x="24" y="31"/>
                </a:cubicBezTo>
                <a:cubicBezTo>
                  <a:pt x="21" y="33"/>
                  <a:pt x="21" y="33"/>
                  <a:pt x="21" y="33"/>
                </a:cubicBezTo>
                <a:cubicBezTo>
                  <a:pt x="18" y="35"/>
                  <a:pt x="18" y="35"/>
                  <a:pt x="18" y="35"/>
                </a:cubicBezTo>
                <a:cubicBezTo>
                  <a:pt x="16" y="37"/>
                  <a:pt x="16" y="37"/>
                  <a:pt x="16" y="37"/>
                </a:cubicBezTo>
                <a:cubicBezTo>
                  <a:pt x="15" y="41"/>
                  <a:pt x="15" y="41"/>
                  <a:pt x="15" y="41"/>
                </a:cubicBezTo>
                <a:cubicBezTo>
                  <a:pt x="20" y="44"/>
                  <a:pt x="20" y="44"/>
                  <a:pt x="20" y="44"/>
                </a:cubicBezTo>
                <a:cubicBezTo>
                  <a:pt x="22" y="51"/>
                  <a:pt x="22" y="51"/>
                  <a:pt x="22" y="51"/>
                </a:cubicBezTo>
                <a:cubicBezTo>
                  <a:pt x="26" y="56"/>
                  <a:pt x="26" y="56"/>
                  <a:pt x="26" y="56"/>
                </a:cubicBezTo>
                <a:cubicBezTo>
                  <a:pt x="28" y="58"/>
                  <a:pt x="28" y="58"/>
                  <a:pt x="28" y="58"/>
                </a:cubicBezTo>
                <a:cubicBezTo>
                  <a:pt x="29" y="61"/>
                  <a:pt x="29" y="61"/>
                  <a:pt x="29" y="61"/>
                </a:cubicBezTo>
                <a:cubicBezTo>
                  <a:pt x="32" y="65"/>
                  <a:pt x="32" y="65"/>
                  <a:pt x="32" y="65"/>
                </a:cubicBezTo>
                <a:cubicBezTo>
                  <a:pt x="36" y="68"/>
                  <a:pt x="36" y="68"/>
                  <a:pt x="36" y="68"/>
                </a:cubicBezTo>
                <a:cubicBezTo>
                  <a:pt x="37" y="71"/>
                  <a:pt x="37" y="71"/>
                  <a:pt x="37" y="71"/>
                </a:cubicBezTo>
                <a:cubicBezTo>
                  <a:pt x="39" y="76"/>
                  <a:pt x="39" y="76"/>
                  <a:pt x="39" y="76"/>
                </a:cubicBezTo>
                <a:cubicBezTo>
                  <a:pt x="42" y="78"/>
                  <a:pt x="42" y="78"/>
                  <a:pt x="42" y="78"/>
                </a:cubicBezTo>
                <a:cubicBezTo>
                  <a:pt x="43" y="82"/>
                  <a:pt x="43" y="82"/>
                  <a:pt x="43" y="82"/>
                </a:cubicBezTo>
                <a:cubicBezTo>
                  <a:pt x="44" y="88"/>
                  <a:pt x="44" y="88"/>
                  <a:pt x="44" y="88"/>
                </a:cubicBezTo>
                <a:cubicBezTo>
                  <a:pt x="43" y="91"/>
                  <a:pt x="43" y="91"/>
                  <a:pt x="43" y="91"/>
                </a:cubicBezTo>
                <a:cubicBezTo>
                  <a:pt x="43" y="96"/>
                  <a:pt x="43" y="96"/>
                  <a:pt x="43" y="96"/>
                </a:cubicBezTo>
                <a:cubicBezTo>
                  <a:pt x="45" y="100"/>
                  <a:pt x="45" y="100"/>
                  <a:pt x="45" y="100"/>
                </a:cubicBezTo>
                <a:cubicBezTo>
                  <a:pt x="46" y="105"/>
                  <a:pt x="46" y="105"/>
                  <a:pt x="46" y="105"/>
                </a:cubicBezTo>
                <a:cubicBezTo>
                  <a:pt x="47" y="109"/>
                  <a:pt x="47" y="109"/>
                  <a:pt x="47" y="109"/>
                </a:cubicBezTo>
                <a:cubicBezTo>
                  <a:pt x="45" y="114"/>
                  <a:pt x="45" y="114"/>
                  <a:pt x="45" y="114"/>
                </a:cubicBezTo>
                <a:cubicBezTo>
                  <a:pt x="44" y="119"/>
                  <a:pt x="44" y="119"/>
                  <a:pt x="44" y="119"/>
                </a:cubicBezTo>
                <a:cubicBezTo>
                  <a:pt x="44" y="123"/>
                  <a:pt x="44" y="123"/>
                  <a:pt x="44" y="123"/>
                </a:cubicBezTo>
                <a:cubicBezTo>
                  <a:pt x="42" y="125"/>
                  <a:pt x="42" y="125"/>
                  <a:pt x="42" y="125"/>
                </a:cubicBezTo>
                <a:cubicBezTo>
                  <a:pt x="37" y="127"/>
                  <a:pt x="37" y="127"/>
                  <a:pt x="37" y="127"/>
                </a:cubicBezTo>
                <a:cubicBezTo>
                  <a:pt x="35" y="128"/>
                  <a:pt x="35" y="128"/>
                  <a:pt x="35" y="128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1" y="130"/>
                  <a:pt x="31" y="130"/>
                  <a:pt x="31" y="130"/>
                </a:cubicBezTo>
                <a:cubicBezTo>
                  <a:pt x="25" y="131"/>
                  <a:pt x="25" y="131"/>
                  <a:pt x="25" y="131"/>
                </a:cubicBezTo>
                <a:cubicBezTo>
                  <a:pt x="24" y="133"/>
                  <a:pt x="24" y="133"/>
                  <a:pt x="24" y="133"/>
                </a:cubicBezTo>
                <a:cubicBezTo>
                  <a:pt x="21" y="134"/>
                  <a:pt x="21" y="134"/>
                  <a:pt x="21" y="134"/>
                </a:cubicBezTo>
                <a:cubicBezTo>
                  <a:pt x="17" y="139"/>
                  <a:pt x="17" y="139"/>
                  <a:pt x="17" y="139"/>
                </a:cubicBezTo>
                <a:cubicBezTo>
                  <a:pt x="19" y="140"/>
                  <a:pt x="19" y="141"/>
                  <a:pt x="21" y="143"/>
                </a:cubicBezTo>
                <a:cubicBezTo>
                  <a:pt x="21" y="141"/>
                  <a:pt x="20" y="154"/>
                  <a:pt x="21" y="152"/>
                </a:cubicBezTo>
                <a:cubicBezTo>
                  <a:pt x="21" y="153"/>
                  <a:pt x="21" y="155"/>
                  <a:pt x="21" y="155"/>
                </a:cubicBezTo>
                <a:cubicBezTo>
                  <a:pt x="23" y="156"/>
                  <a:pt x="23" y="156"/>
                  <a:pt x="23" y="156"/>
                </a:cubicBezTo>
                <a:cubicBezTo>
                  <a:pt x="23" y="157"/>
                  <a:pt x="20" y="160"/>
                  <a:pt x="23" y="159"/>
                </a:cubicBezTo>
                <a:cubicBezTo>
                  <a:pt x="26" y="159"/>
                  <a:pt x="26" y="155"/>
                  <a:pt x="27" y="154"/>
                </a:cubicBezTo>
                <a:cubicBezTo>
                  <a:pt x="28" y="153"/>
                  <a:pt x="30" y="154"/>
                  <a:pt x="30" y="153"/>
                </a:cubicBezTo>
                <a:cubicBezTo>
                  <a:pt x="30" y="151"/>
                  <a:pt x="30" y="150"/>
                  <a:pt x="29" y="147"/>
                </a:cubicBezTo>
                <a:cubicBezTo>
                  <a:pt x="29" y="146"/>
                  <a:pt x="26" y="141"/>
                  <a:pt x="28" y="143"/>
                </a:cubicBezTo>
                <a:cubicBezTo>
                  <a:pt x="30" y="145"/>
                  <a:pt x="31" y="147"/>
                  <a:pt x="32" y="149"/>
                </a:cubicBezTo>
                <a:cubicBezTo>
                  <a:pt x="33" y="149"/>
                  <a:pt x="34" y="149"/>
                  <a:pt x="34" y="149"/>
                </a:cubicBezTo>
                <a:cubicBezTo>
                  <a:pt x="34" y="147"/>
                  <a:pt x="34" y="147"/>
                  <a:pt x="34" y="147"/>
                </a:cubicBezTo>
                <a:cubicBezTo>
                  <a:pt x="35" y="147"/>
                  <a:pt x="35" y="147"/>
                  <a:pt x="35" y="147"/>
                </a:cubicBezTo>
                <a:cubicBezTo>
                  <a:pt x="35" y="146"/>
                  <a:pt x="35" y="146"/>
                  <a:pt x="35" y="146"/>
                </a:cubicBezTo>
                <a:cubicBezTo>
                  <a:pt x="35" y="145"/>
                  <a:pt x="31" y="144"/>
                  <a:pt x="30" y="143"/>
                </a:cubicBezTo>
                <a:cubicBezTo>
                  <a:pt x="30" y="141"/>
                  <a:pt x="30" y="141"/>
                  <a:pt x="30" y="141"/>
                </a:cubicBezTo>
                <a:cubicBezTo>
                  <a:pt x="30" y="141"/>
                  <a:pt x="28" y="139"/>
                  <a:pt x="28" y="139"/>
                </a:cubicBezTo>
                <a:cubicBezTo>
                  <a:pt x="31" y="141"/>
                  <a:pt x="34" y="142"/>
                  <a:pt x="38" y="141"/>
                </a:cubicBezTo>
                <a:cubicBezTo>
                  <a:pt x="38" y="140"/>
                  <a:pt x="38" y="140"/>
                  <a:pt x="38" y="140"/>
                </a:cubicBezTo>
                <a:cubicBezTo>
                  <a:pt x="39" y="140"/>
                  <a:pt x="40" y="141"/>
                  <a:pt x="41" y="141"/>
                </a:cubicBezTo>
                <a:cubicBezTo>
                  <a:pt x="41" y="141"/>
                  <a:pt x="40" y="139"/>
                  <a:pt x="40" y="139"/>
                </a:cubicBezTo>
                <a:cubicBezTo>
                  <a:pt x="42" y="139"/>
                  <a:pt x="43" y="140"/>
                  <a:pt x="44" y="140"/>
                </a:cubicBezTo>
                <a:cubicBezTo>
                  <a:pt x="45" y="140"/>
                  <a:pt x="46" y="137"/>
                  <a:pt x="47" y="136"/>
                </a:cubicBezTo>
                <a:cubicBezTo>
                  <a:pt x="48" y="135"/>
                  <a:pt x="49" y="136"/>
                  <a:pt x="50" y="135"/>
                </a:cubicBezTo>
                <a:cubicBezTo>
                  <a:pt x="52" y="135"/>
                  <a:pt x="58" y="129"/>
                  <a:pt x="58" y="128"/>
                </a:cubicBezTo>
                <a:cubicBezTo>
                  <a:pt x="59" y="127"/>
                  <a:pt x="58" y="126"/>
                  <a:pt x="59" y="125"/>
                </a:cubicBezTo>
                <a:cubicBezTo>
                  <a:pt x="59" y="125"/>
                  <a:pt x="61" y="124"/>
                  <a:pt x="61" y="124"/>
                </a:cubicBezTo>
                <a:cubicBezTo>
                  <a:pt x="62" y="120"/>
                  <a:pt x="59" y="119"/>
                  <a:pt x="60" y="116"/>
                </a:cubicBezTo>
                <a:cubicBezTo>
                  <a:pt x="60" y="116"/>
                  <a:pt x="62" y="115"/>
                  <a:pt x="62" y="115"/>
                </a:cubicBezTo>
                <a:cubicBezTo>
                  <a:pt x="62" y="114"/>
                  <a:pt x="63" y="113"/>
                  <a:pt x="62" y="112"/>
                </a:cubicBezTo>
                <a:cubicBezTo>
                  <a:pt x="61" y="112"/>
                  <a:pt x="61" y="112"/>
                  <a:pt x="61" y="112"/>
                </a:cubicBezTo>
                <a:cubicBezTo>
                  <a:pt x="60" y="110"/>
                  <a:pt x="59" y="107"/>
                  <a:pt x="59" y="106"/>
                </a:cubicBezTo>
                <a:cubicBezTo>
                  <a:pt x="59" y="104"/>
                  <a:pt x="59" y="101"/>
                  <a:pt x="59" y="100"/>
                </a:cubicBezTo>
                <a:cubicBezTo>
                  <a:pt x="59" y="99"/>
                  <a:pt x="57" y="98"/>
                  <a:pt x="57" y="98"/>
                </a:cubicBezTo>
                <a:cubicBezTo>
                  <a:pt x="57" y="97"/>
                  <a:pt x="57" y="95"/>
                  <a:pt x="57" y="94"/>
                </a:cubicBezTo>
                <a:cubicBezTo>
                  <a:pt x="57" y="94"/>
                  <a:pt x="56" y="94"/>
                  <a:pt x="56" y="94"/>
                </a:cubicBezTo>
                <a:cubicBezTo>
                  <a:pt x="55" y="92"/>
                  <a:pt x="56" y="90"/>
                  <a:pt x="56" y="88"/>
                </a:cubicBezTo>
                <a:cubicBezTo>
                  <a:pt x="56" y="88"/>
                  <a:pt x="51" y="84"/>
                  <a:pt x="50" y="83"/>
                </a:cubicBezTo>
                <a:cubicBezTo>
                  <a:pt x="50" y="81"/>
                  <a:pt x="51" y="79"/>
                  <a:pt x="50" y="78"/>
                </a:cubicBezTo>
                <a:cubicBezTo>
                  <a:pt x="49" y="77"/>
                  <a:pt x="46" y="76"/>
                  <a:pt x="45" y="75"/>
                </a:cubicBezTo>
                <a:cubicBezTo>
                  <a:pt x="45" y="75"/>
                  <a:pt x="42" y="69"/>
                  <a:pt x="42" y="69"/>
                </a:cubicBezTo>
                <a:cubicBezTo>
                  <a:pt x="42" y="69"/>
                  <a:pt x="42" y="67"/>
                  <a:pt x="42" y="67"/>
                </a:cubicBezTo>
                <a:cubicBezTo>
                  <a:pt x="40" y="65"/>
                  <a:pt x="35" y="64"/>
                  <a:pt x="34" y="61"/>
                </a:cubicBezTo>
                <a:cubicBezTo>
                  <a:pt x="33" y="60"/>
                  <a:pt x="34" y="59"/>
                  <a:pt x="33" y="58"/>
                </a:cubicBezTo>
                <a:cubicBezTo>
                  <a:pt x="31" y="55"/>
                  <a:pt x="26" y="51"/>
                  <a:pt x="27" y="46"/>
                </a:cubicBezTo>
                <a:cubicBezTo>
                  <a:pt x="28" y="44"/>
                  <a:pt x="28" y="44"/>
                  <a:pt x="28" y="44"/>
                </a:cubicBezTo>
                <a:cubicBezTo>
                  <a:pt x="29" y="42"/>
                  <a:pt x="28" y="39"/>
                  <a:pt x="28" y="38"/>
                </a:cubicBezTo>
                <a:cubicBezTo>
                  <a:pt x="29" y="36"/>
                  <a:pt x="32" y="36"/>
                  <a:pt x="33" y="35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5"/>
                  <a:pt x="39" y="25"/>
                </a:cubicBezTo>
                <a:cubicBezTo>
                  <a:pt x="40" y="24"/>
                  <a:pt x="42" y="25"/>
                  <a:pt x="44" y="24"/>
                </a:cubicBezTo>
                <a:cubicBezTo>
                  <a:pt x="45" y="23"/>
                  <a:pt x="45" y="21"/>
                  <a:pt x="46" y="20"/>
                </a:cubicBezTo>
                <a:cubicBezTo>
                  <a:pt x="47" y="20"/>
                  <a:pt x="49" y="20"/>
                  <a:pt x="50" y="19"/>
                </a:cubicBezTo>
                <a:cubicBezTo>
                  <a:pt x="50" y="19"/>
                  <a:pt x="50" y="19"/>
                  <a:pt x="50" y="18"/>
                </a:cubicBezTo>
                <a:close/>
                <a:moveTo>
                  <a:pt x="25" y="135"/>
                </a:moveTo>
                <a:cubicBezTo>
                  <a:pt x="27" y="136"/>
                  <a:pt x="28" y="140"/>
                  <a:pt x="25" y="139"/>
                </a:cubicBezTo>
                <a:cubicBezTo>
                  <a:pt x="24" y="139"/>
                  <a:pt x="23" y="135"/>
                  <a:pt x="25" y="135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1" name="Google Shape;431;p102"/>
          <p:cNvSpPr/>
          <p:nvPr/>
        </p:nvSpPr>
        <p:spPr>
          <a:xfrm>
            <a:off x="4403654" y="4352680"/>
            <a:ext cx="343299" cy="350367"/>
          </a:xfrm>
          <a:custGeom>
            <a:avLst/>
            <a:gdLst/>
            <a:ahLst/>
            <a:cxnLst/>
            <a:rect l="l" t="t" r="r" b="b"/>
            <a:pathLst>
              <a:path w="119" h="126" extrusionOk="0">
                <a:moveTo>
                  <a:pt x="115" y="33"/>
                </a:moveTo>
                <a:cubicBezTo>
                  <a:pt x="115" y="35"/>
                  <a:pt x="115" y="35"/>
                  <a:pt x="115" y="35"/>
                </a:cubicBezTo>
                <a:cubicBezTo>
                  <a:pt x="119" y="35"/>
                  <a:pt x="118" y="34"/>
                  <a:pt x="115" y="33"/>
                </a:cubicBezTo>
                <a:close/>
                <a:moveTo>
                  <a:pt x="20" y="4"/>
                </a:moveTo>
                <a:cubicBezTo>
                  <a:pt x="18" y="4"/>
                  <a:pt x="15" y="5"/>
                  <a:pt x="15" y="5"/>
                </a:cubicBezTo>
                <a:cubicBezTo>
                  <a:pt x="10" y="11"/>
                  <a:pt x="10" y="11"/>
                  <a:pt x="10" y="11"/>
                </a:cubicBezTo>
                <a:cubicBezTo>
                  <a:pt x="7" y="20"/>
                  <a:pt x="7" y="20"/>
                  <a:pt x="7" y="20"/>
                </a:cubicBezTo>
                <a:cubicBezTo>
                  <a:pt x="3" y="21"/>
                  <a:pt x="3" y="21"/>
                  <a:pt x="3" y="21"/>
                </a:cubicBezTo>
                <a:cubicBezTo>
                  <a:pt x="3" y="21"/>
                  <a:pt x="5" y="24"/>
                  <a:pt x="3" y="27"/>
                </a:cubicBezTo>
                <a:cubicBezTo>
                  <a:pt x="2" y="30"/>
                  <a:pt x="4" y="30"/>
                  <a:pt x="2" y="34"/>
                </a:cubicBezTo>
                <a:cubicBezTo>
                  <a:pt x="0" y="39"/>
                  <a:pt x="3" y="38"/>
                  <a:pt x="3" y="38"/>
                </a:cubicBezTo>
                <a:cubicBezTo>
                  <a:pt x="6" y="37"/>
                  <a:pt x="6" y="37"/>
                  <a:pt x="6" y="37"/>
                </a:cubicBezTo>
                <a:cubicBezTo>
                  <a:pt x="10" y="45"/>
                  <a:pt x="10" y="45"/>
                  <a:pt x="10" y="45"/>
                </a:cubicBezTo>
                <a:cubicBezTo>
                  <a:pt x="10" y="45"/>
                  <a:pt x="8" y="45"/>
                  <a:pt x="8" y="48"/>
                </a:cubicBezTo>
                <a:cubicBezTo>
                  <a:pt x="9" y="50"/>
                  <a:pt x="10" y="51"/>
                  <a:pt x="12" y="54"/>
                </a:cubicBezTo>
                <a:cubicBezTo>
                  <a:pt x="14" y="56"/>
                  <a:pt x="13" y="59"/>
                  <a:pt x="13" y="59"/>
                </a:cubicBezTo>
                <a:cubicBezTo>
                  <a:pt x="19" y="60"/>
                  <a:pt x="19" y="60"/>
                  <a:pt x="19" y="60"/>
                </a:cubicBezTo>
                <a:cubicBezTo>
                  <a:pt x="19" y="60"/>
                  <a:pt x="24" y="61"/>
                  <a:pt x="27" y="60"/>
                </a:cubicBezTo>
                <a:cubicBezTo>
                  <a:pt x="29" y="59"/>
                  <a:pt x="31" y="60"/>
                  <a:pt x="32" y="62"/>
                </a:cubicBezTo>
                <a:cubicBezTo>
                  <a:pt x="33" y="64"/>
                  <a:pt x="36" y="69"/>
                  <a:pt x="36" y="69"/>
                </a:cubicBezTo>
                <a:cubicBezTo>
                  <a:pt x="36" y="69"/>
                  <a:pt x="41" y="68"/>
                  <a:pt x="43" y="68"/>
                </a:cubicBezTo>
                <a:cubicBezTo>
                  <a:pt x="45" y="68"/>
                  <a:pt x="49" y="69"/>
                  <a:pt x="49" y="69"/>
                </a:cubicBezTo>
                <a:cubicBezTo>
                  <a:pt x="48" y="75"/>
                  <a:pt x="48" y="75"/>
                  <a:pt x="48" y="75"/>
                </a:cubicBezTo>
                <a:cubicBezTo>
                  <a:pt x="48" y="75"/>
                  <a:pt x="45" y="76"/>
                  <a:pt x="46" y="79"/>
                </a:cubicBezTo>
                <a:cubicBezTo>
                  <a:pt x="47" y="83"/>
                  <a:pt x="51" y="84"/>
                  <a:pt x="51" y="86"/>
                </a:cubicBezTo>
                <a:cubicBezTo>
                  <a:pt x="51" y="88"/>
                  <a:pt x="54" y="90"/>
                  <a:pt x="55" y="92"/>
                </a:cubicBezTo>
                <a:cubicBezTo>
                  <a:pt x="57" y="93"/>
                  <a:pt x="64" y="97"/>
                  <a:pt x="64" y="97"/>
                </a:cubicBezTo>
                <a:cubicBezTo>
                  <a:pt x="64" y="97"/>
                  <a:pt x="62" y="101"/>
                  <a:pt x="62" y="103"/>
                </a:cubicBezTo>
                <a:cubicBezTo>
                  <a:pt x="61" y="105"/>
                  <a:pt x="58" y="108"/>
                  <a:pt x="58" y="108"/>
                </a:cubicBezTo>
                <a:cubicBezTo>
                  <a:pt x="58" y="108"/>
                  <a:pt x="57" y="113"/>
                  <a:pt x="59" y="111"/>
                </a:cubicBezTo>
                <a:cubicBezTo>
                  <a:pt x="62" y="110"/>
                  <a:pt x="61" y="112"/>
                  <a:pt x="61" y="114"/>
                </a:cubicBezTo>
                <a:cubicBezTo>
                  <a:pt x="62" y="116"/>
                  <a:pt x="63" y="118"/>
                  <a:pt x="63" y="118"/>
                </a:cubicBezTo>
                <a:cubicBezTo>
                  <a:pt x="63" y="123"/>
                  <a:pt x="63" y="123"/>
                  <a:pt x="63" y="123"/>
                </a:cubicBezTo>
                <a:cubicBezTo>
                  <a:pt x="67" y="126"/>
                  <a:pt x="67" y="126"/>
                  <a:pt x="67" y="126"/>
                </a:cubicBezTo>
                <a:cubicBezTo>
                  <a:pt x="67" y="126"/>
                  <a:pt x="70" y="123"/>
                  <a:pt x="73" y="123"/>
                </a:cubicBezTo>
                <a:cubicBezTo>
                  <a:pt x="75" y="123"/>
                  <a:pt x="76" y="119"/>
                  <a:pt x="78" y="119"/>
                </a:cubicBezTo>
                <a:cubicBezTo>
                  <a:pt x="80" y="119"/>
                  <a:pt x="80" y="117"/>
                  <a:pt x="82" y="117"/>
                </a:cubicBezTo>
                <a:cubicBezTo>
                  <a:pt x="84" y="117"/>
                  <a:pt x="85" y="111"/>
                  <a:pt x="87" y="111"/>
                </a:cubicBezTo>
                <a:cubicBezTo>
                  <a:pt x="89" y="111"/>
                  <a:pt x="90" y="110"/>
                  <a:pt x="90" y="110"/>
                </a:cubicBezTo>
                <a:cubicBezTo>
                  <a:pt x="90" y="110"/>
                  <a:pt x="89" y="106"/>
                  <a:pt x="87" y="107"/>
                </a:cubicBezTo>
                <a:cubicBezTo>
                  <a:pt x="85" y="108"/>
                  <a:pt x="82" y="109"/>
                  <a:pt x="81" y="108"/>
                </a:cubicBezTo>
                <a:cubicBezTo>
                  <a:pt x="79" y="107"/>
                  <a:pt x="78" y="107"/>
                  <a:pt x="77" y="105"/>
                </a:cubicBezTo>
                <a:cubicBezTo>
                  <a:pt x="77" y="103"/>
                  <a:pt x="79" y="99"/>
                  <a:pt x="78" y="97"/>
                </a:cubicBezTo>
                <a:cubicBezTo>
                  <a:pt x="78" y="96"/>
                  <a:pt x="78" y="95"/>
                  <a:pt x="76" y="93"/>
                </a:cubicBezTo>
                <a:cubicBezTo>
                  <a:pt x="74" y="91"/>
                  <a:pt x="76" y="89"/>
                  <a:pt x="74" y="88"/>
                </a:cubicBezTo>
                <a:cubicBezTo>
                  <a:pt x="72" y="87"/>
                  <a:pt x="72" y="86"/>
                  <a:pt x="75" y="87"/>
                </a:cubicBezTo>
                <a:cubicBezTo>
                  <a:pt x="79" y="87"/>
                  <a:pt x="81" y="89"/>
                  <a:pt x="81" y="89"/>
                </a:cubicBezTo>
                <a:cubicBezTo>
                  <a:pt x="81" y="89"/>
                  <a:pt x="86" y="89"/>
                  <a:pt x="87" y="90"/>
                </a:cubicBezTo>
                <a:cubicBezTo>
                  <a:pt x="88" y="92"/>
                  <a:pt x="92" y="92"/>
                  <a:pt x="92" y="92"/>
                </a:cubicBezTo>
                <a:cubicBezTo>
                  <a:pt x="92" y="92"/>
                  <a:pt x="90" y="91"/>
                  <a:pt x="91" y="89"/>
                </a:cubicBezTo>
                <a:cubicBezTo>
                  <a:pt x="92" y="87"/>
                  <a:pt x="94" y="88"/>
                  <a:pt x="94" y="88"/>
                </a:cubicBezTo>
                <a:cubicBezTo>
                  <a:pt x="94" y="88"/>
                  <a:pt x="97" y="88"/>
                  <a:pt x="99" y="88"/>
                </a:cubicBezTo>
                <a:cubicBezTo>
                  <a:pt x="101" y="88"/>
                  <a:pt x="101" y="86"/>
                  <a:pt x="103" y="86"/>
                </a:cubicBezTo>
                <a:cubicBezTo>
                  <a:pt x="105" y="86"/>
                  <a:pt x="105" y="82"/>
                  <a:pt x="107" y="82"/>
                </a:cubicBezTo>
                <a:cubicBezTo>
                  <a:pt x="108" y="82"/>
                  <a:pt x="111" y="82"/>
                  <a:pt x="111" y="82"/>
                </a:cubicBezTo>
                <a:cubicBezTo>
                  <a:pt x="112" y="79"/>
                  <a:pt x="112" y="79"/>
                  <a:pt x="112" y="79"/>
                </a:cubicBezTo>
                <a:cubicBezTo>
                  <a:pt x="112" y="76"/>
                  <a:pt x="112" y="76"/>
                  <a:pt x="112" y="76"/>
                </a:cubicBezTo>
                <a:cubicBezTo>
                  <a:pt x="104" y="64"/>
                  <a:pt x="104" y="64"/>
                  <a:pt x="104" y="64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07" y="63"/>
                  <a:pt x="106" y="59"/>
                  <a:pt x="108" y="59"/>
                </a:cubicBezTo>
                <a:cubicBezTo>
                  <a:pt x="110" y="59"/>
                  <a:pt x="115" y="58"/>
                  <a:pt x="115" y="56"/>
                </a:cubicBezTo>
                <a:cubicBezTo>
                  <a:pt x="115" y="54"/>
                  <a:pt x="112" y="54"/>
                  <a:pt x="112" y="54"/>
                </a:cubicBezTo>
                <a:cubicBezTo>
                  <a:pt x="112" y="54"/>
                  <a:pt x="112" y="50"/>
                  <a:pt x="110" y="49"/>
                </a:cubicBezTo>
                <a:cubicBezTo>
                  <a:pt x="109" y="49"/>
                  <a:pt x="108" y="46"/>
                  <a:pt x="110" y="46"/>
                </a:cubicBezTo>
                <a:cubicBezTo>
                  <a:pt x="112" y="46"/>
                  <a:pt x="114" y="45"/>
                  <a:pt x="116" y="44"/>
                </a:cubicBezTo>
                <a:cubicBezTo>
                  <a:pt x="118" y="42"/>
                  <a:pt x="118" y="42"/>
                  <a:pt x="118" y="42"/>
                </a:cubicBezTo>
                <a:cubicBezTo>
                  <a:pt x="118" y="38"/>
                  <a:pt x="118" y="38"/>
                  <a:pt x="118" y="38"/>
                </a:cubicBezTo>
                <a:cubicBezTo>
                  <a:pt x="118" y="37"/>
                  <a:pt x="117" y="36"/>
                  <a:pt x="117" y="36"/>
                </a:cubicBezTo>
                <a:cubicBezTo>
                  <a:pt x="115" y="36"/>
                  <a:pt x="113" y="37"/>
                  <a:pt x="113" y="37"/>
                </a:cubicBezTo>
                <a:cubicBezTo>
                  <a:pt x="111" y="38"/>
                  <a:pt x="111" y="36"/>
                  <a:pt x="108" y="37"/>
                </a:cubicBezTo>
                <a:cubicBezTo>
                  <a:pt x="107" y="38"/>
                  <a:pt x="107" y="38"/>
                  <a:pt x="107" y="38"/>
                </a:cubicBezTo>
                <a:cubicBezTo>
                  <a:pt x="103" y="39"/>
                  <a:pt x="102" y="39"/>
                  <a:pt x="99" y="40"/>
                </a:cubicBezTo>
                <a:cubicBezTo>
                  <a:pt x="99" y="39"/>
                  <a:pt x="99" y="38"/>
                  <a:pt x="100" y="37"/>
                </a:cubicBezTo>
                <a:cubicBezTo>
                  <a:pt x="103" y="36"/>
                  <a:pt x="107" y="35"/>
                  <a:pt x="110" y="35"/>
                </a:cubicBezTo>
                <a:cubicBezTo>
                  <a:pt x="110" y="34"/>
                  <a:pt x="109" y="32"/>
                  <a:pt x="110" y="31"/>
                </a:cubicBezTo>
                <a:cubicBezTo>
                  <a:pt x="110" y="30"/>
                  <a:pt x="112" y="29"/>
                  <a:pt x="112" y="28"/>
                </a:cubicBezTo>
                <a:cubicBezTo>
                  <a:pt x="112" y="28"/>
                  <a:pt x="111" y="25"/>
                  <a:pt x="111" y="26"/>
                </a:cubicBezTo>
                <a:cubicBezTo>
                  <a:pt x="111" y="25"/>
                  <a:pt x="111" y="25"/>
                  <a:pt x="111" y="25"/>
                </a:cubicBezTo>
                <a:cubicBezTo>
                  <a:pt x="110" y="25"/>
                  <a:pt x="108" y="25"/>
                  <a:pt x="106" y="25"/>
                </a:cubicBezTo>
                <a:cubicBezTo>
                  <a:pt x="107" y="25"/>
                  <a:pt x="107" y="26"/>
                  <a:pt x="107" y="26"/>
                </a:cubicBezTo>
                <a:cubicBezTo>
                  <a:pt x="106" y="26"/>
                  <a:pt x="105" y="25"/>
                  <a:pt x="104" y="25"/>
                </a:cubicBezTo>
                <a:cubicBezTo>
                  <a:pt x="104" y="24"/>
                  <a:pt x="103" y="23"/>
                  <a:pt x="102" y="23"/>
                </a:cubicBezTo>
                <a:cubicBezTo>
                  <a:pt x="102" y="23"/>
                  <a:pt x="101" y="24"/>
                  <a:pt x="101" y="25"/>
                </a:cubicBezTo>
                <a:cubicBezTo>
                  <a:pt x="99" y="25"/>
                  <a:pt x="99" y="25"/>
                  <a:pt x="99" y="25"/>
                </a:cubicBezTo>
                <a:cubicBezTo>
                  <a:pt x="98" y="22"/>
                  <a:pt x="98" y="20"/>
                  <a:pt x="96" y="18"/>
                </a:cubicBezTo>
                <a:cubicBezTo>
                  <a:pt x="98" y="18"/>
                  <a:pt x="99" y="18"/>
                  <a:pt x="101" y="17"/>
                </a:cubicBezTo>
                <a:cubicBezTo>
                  <a:pt x="101" y="17"/>
                  <a:pt x="101" y="15"/>
                  <a:pt x="101" y="15"/>
                </a:cubicBezTo>
                <a:cubicBezTo>
                  <a:pt x="96" y="15"/>
                  <a:pt x="93" y="16"/>
                  <a:pt x="88" y="16"/>
                </a:cubicBezTo>
                <a:cubicBezTo>
                  <a:pt x="88" y="16"/>
                  <a:pt x="90" y="17"/>
                  <a:pt x="90" y="17"/>
                </a:cubicBezTo>
                <a:cubicBezTo>
                  <a:pt x="88" y="17"/>
                  <a:pt x="86" y="17"/>
                  <a:pt x="85" y="17"/>
                </a:cubicBezTo>
                <a:cubicBezTo>
                  <a:pt x="85" y="17"/>
                  <a:pt x="85" y="17"/>
                  <a:pt x="85" y="17"/>
                </a:cubicBezTo>
                <a:cubicBezTo>
                  <a:pt x="84" y="18"/>
                  <a:pt x="83" y="18"/>
                  <a:pt x="81" y="19"/>
                </a:cubicBezTo>
                <a:cubicBezTo>
                  <a:pt x="81" y="20"/>
                  <a:pt x="81" y="20"/>
                  <a:pt x="81" y="20"/>
                </a:cubicBezTo>
                <a:cubicBezTo>
                  <a:pt x="80" y="20"/>
                  <a:pt x="77" y="21"/>
                  <a:pt x="77" y="21"/>
                </a:cubicBezTo>
                <a:cubicBezTo>
                  <a:pt x="74" y="21"/>
                  <a:pt x="69" y="20"/>
                  <a:pt x="67" y="19"/>
                </a:cubicBezTo>
                <a:cubicBezTo>
                  <a:pt x="65" y="18"/>
                  <a:pt x="70" y="17"/>
                  <a:pt x="63" y="16"/>
                </a:cubicBezTo>
                <a:cubicBezTo>
                  <a:pt x="60" y="15"/>
                  <a:pt x="56" y="15"/>
                  <a:pt x="53" y="16"/>
                </a:cubicBezTo>
                <a:cubicBezTo>
                  <a:pt x="52" y="16"/>
                  <a:pt x="52" y="18"/>
                  <a:pt x="50" y="17"/>
                </a:cubicBezTo>
                <a:cubicBezTo>
                  <a:pt x="47" y="17"/>
                  <a:pt x="49" y="15"/>
                  <a:pt x="50" y="14"/>
                </a:cubicBezTo>
                <a:cubicBezTo>
                  <a:pt x="49" y="12"/>
                  <a:pt x="48" y="10"/>
                  <a:pt x="47" y="9"/>
                </a:cubicBezTo>
                <a:cubicBezTo>
                  <a:pt x="47" y="9"/>
                  <a:pt x="46" y="9"/>
                  <a:pt x="45" y="9"/>
                </a:cubicBezTo>
                <a:cubicBezTo>
                  <a:pt x="45" y="9"/>
                  <a:pt x="45" y="7"/>
                  <a:pt x="44" y="7"/>
                </a:cubicBezTo>
                <a:cubicBezTo>
                  <a:pt x="41" y="6"/>
                  <a:pt x="39" y="7"/>
                  <a:pt x="37" y="6"/>
                </a:cubicBezTo>
                <a:cubicBezTo>
                  <a:pt x="35" y="5"/>
                  <a:pt x="35" y="2"/>
                  <a:pt x="34" y="0"/>
                </a:cubicBezTo>
                <a:cubicBezTo>
                  <a:pt x="33" y="1"/>
                  <a:pt x="32" y="1"/>
                  <a:pt x="31" y="1"/>
                </a:cubicBezTo>
                <a:cubicBezTo>
                  <a:pt x="31" y="1"/>
                  <a:pt x="31" y="3"/>
                  <a:pt x="31" y="4"/>
                </a:cubicBezTo>
                <a:cubicBezTo>
                  <a:pt x="32" y="5"/>
                  <a:pt x="33" y="5"/>
                  <a:pt x="35" y="6"/>
                </a:cubicBezTo>
                <a:cubicBezTo>
                  <a:pt x="35" y="6"/>
                  <a:pt x="36" y="8"/>
                  <a:pt x="36" y="8"/>
                </a:cubicBezTo>
                <a:cubicBezTo>
                  <a:pt x="30" y="9"/>
                  <a:pt x="27" y="10"/>
                  <a:pt x="23" y="12"/>
                </a:cubicBezTo>
                <a:cubicBezTo>
                  <a:pt x="22" y="15"/>
                  <a:pt x="22" y="16"/>
                  <a:pt x="22" y="19"/>
                </a:cubicBezTo>
                <a:cubicBezTo>
                  <a:pt x="23" y="19"/>
                  <a:pt x="24" y="19"/>
                  <a:pt x="24" y="20"/>
                </a:cubicBezTo>
                <a:cubicBezTo>
                  <a:pt x="24" y="20"/>
                  <a:pt x="26" y="22"/>
                  <a:pt x="26" y="22"/>
                </a:cubicBezTo>
                <a:cubicBezTo>
                  <a:pt x="26" y="23"/>
                  <a:pt x="25" y="24"/>
                  <a:pt x="25" y="24"/>
                </a:cubicBezTo>
                <a:cubicBezTo>
                  <a:pt x="25" y="26"/>
                  <a:pt x="26" y="28"/>
                  <a:pt x="27" y="30"/>
                </a:cubicBezTo>
                <a:cubicBezTo>
                  <a:pt x="24" y="32"/>
                  <a:pt x="22" y="32"/>
                  <a:pt x="20" y="33"/>
                </a:cubicBezTo>
                <a:cubicBezTo>
                  <a:pt x="20" y="33"/>
                  <a:pt x="20" y="32"/>
                  <a:pt x="20" y="31"/>
                </a:cubicBezTo>
                <a:cubicBezTo>
                  <a:pt x="19" y="31"/>
                  <a:pt x="19" y="31"/>
                  <a:pt x="19" y="31"/>
                </a:cubicBezTo>
                <a:cubicBezTo>
                  <a:pt x="18" y="28"/>
                  <a:pt x="15" y="25"/>
                  <a:pt x="16" y="21"/>
                </a:cubicBezTo>
                <a:cubicBezTo>
                  <a:pt x="17" y="19"/>
                  <a:pt x="19" y="19"/>
                  <a:pt x="21" y="17"/>
                </a:cubicBezTo>
                <a:cubicBezTo>
                  <a:pt x="20" y="17"/>
                  <a:pt x="21" y="16"/>
                  <a:pt x="21" y="15"/>
                </a:cubicBezTo>
                <a:cubicBezTo>
                  <a:pt x="20" y="14"/>
                  <a:pt x="20" y="14"/>
                  <a:pt x="19" y="14"/>
                </a:cubicBezTo>
                <a:cubicBezTo>
                  <a:pt x="19" y="12"/>
                  <a:pt x="19" y="13"/>
                  <a:pt x="19" y="12"/>
                </a:cubicBezTo>
                <a:cubicBezTo>
                  <a:pt x="19" y="11"/>
                  <a:pt x="18" y="11"/>
                  <a:pt x="18" y="10"/>
                </a:cubicBezTo>
                <a:cubicBezTo>
                  <a:pt x="17" y="10"/>
                  <a:pt x="16" y="10"/>
                  <a:pt x="15" y="10"/>
                </a:cubicBezTo>
                <a:cubicBezTo>
                  <a:pt x="15" y="10"/>
                  <a:pt x="15" y="8"/>
                  <a:pt x="15" y="8"/>
                </a:cubicBezTo>
                <a:cubicBezTo>
                  <a:pt x="16" y="8"/>
                  <a:pt x="18" y="6"/>
                  <a:pt x="19" y="6"/>
                </a:cubicBezTo>
                <a:cubicBezTo>
                  <a:pt x="20" y="6"/>
                  <a:pt x="20" y="6"/>
                  <a:pt x="20" y="6"/>
                </a:cubicBezTo>
                <a:cubicBezTo>
                  <a:pt x="20" y="5"/>
                  <a:pt x="20" y="4"/>
                  <a:pt x="20" y="4"/>
                </a:cubicBezTo>
                <a:close/>
                <a:moveTo>
                  <a:pt x="88" y="11"/>
                </a:moveTo>
                <a:cubicBezTo>
                  <a:pt x="86" y="11"/>
                  <a:pt x="89" y="12"/>
                  <a:pt x="89" y="12"/>
                </a:cubicBezTo>
                <a:cubicBezTo>
                  <a:pt x="89" y="12"/>
                  <a:pt x="91" y="10"/>
                  <a:pt x="88" y="1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2" name="Google Shape;432;p102"/>
          <p:cNvSpPr/>
          <p:nvPr/>
        </p:nvSpPr>
        <p:spPr>
          <a:xfrm>
            <a:off x="10398257" y="5198930"/>
            <a:ext cx="26407" cy="57923"/>
          </a:xfrm>
          <a:custGeom>
            <a:avLst/>
            <a:gdLst/>
            <a:ahLst/>
            <a:cxnLst/>
            <a:rect l="l" t="t" r="r" b="b"/>
            <a:pathLst>
              <a:path w="9" h="21" extrusionOk="0">
                <a:moveTo>
                  <a:pt x="4" y="14"/>
                </a:moveTo>
                <a:cubicBezTo>
                  <a:pt x="5" y="17"/>
                  <a:pt x="5" y="18"/>
                  <a:pt x="6" y="21"/>
                </a:cubicBezTo>
                <a:cubicBezTo>
                  <a:pt x="7" y="21"/>
                  <a:pt x="8" y="21"/>
                  <a:pt x="9" y="21"/>
                </a:cubicBezTo>
                <a:cubicBezTo>
                  <a:pt x="9" y="21"/>
                  <a:pt x="9" y="19"/>
                  <a:pt x="9" y="19"/>
                </a:cubicBezTo>
                <a:cubicBezTo>
                  <a:pt x="8" y="18"/>
                  <a:pt x="7" y="18"/>
                  <a:pt x="6" y="17"/>
                </a:cubicBezTo>
                <a:cubicBezTo>
                  <a:pt x="5" y="16"/>
                  <a:pt x="6" y="15"/>
                  <a:pt x="6" y="14"/>
                </a:cubicBezTo>
                <a:lnTo>
                  <a:pt x="4" y="14"/>
                </a:lnTo>
                <a:close/>
                <a:moveTo>
                  <a:pt x="0" y="0"/>
                </a:moveTo>
                <a:cubicBezTo>
                  <a:pt x="0" y="4"/>
                  <a:pt x="0" y="7"/>
                  <a:pt x="1" y="11"/>
                </a:cubicBezTo>
                <a:cubicBezTo>
                  <a:pt x="2" y="11"/>
                  <a:pt x="3" y="10"/>
                  <a:pt x="4" y="10"/>
                </a:cubicBezTo>
                <a:cubicBezTo>
                  <a:pt x="3" y="11"/>
                  <a:pt x="5" y="11"/>
                  <a:pt x="6" y="11"/>
                </a:cubicBezTo>
                <a:cubicBezTo>
                  <a:pt x="7" y="10"/>
                  <a:pt x="5" y="7"/>
                  <a:pt x="5" y="6"/>
                </a:cubicBezTo>
                <a:cubicBezTo>
                  <a:pt x="4" y="6"/>
                  <a:pt x="5" y="5"/>
                  <a:pt x="6" y="5"/>
                </a:cubicBezTo>
                <a:cubicBezTo>
                  <a:pt x="6" y="5"/>
                  <a:pt x="6" y="2"/>
                  <a:pt x="6" y="2"/>
                </a:cubicBezTo>
                <a:cubicBezTo>
                  <a:pt x="5" y="2"/>
                  <a:pt x="3" y="4"/>
                  <a:pt x="2" y="4"/>
                </a:cubicBezTo>
                <a:cubicBezTo>
                  <a:pt x="2" y="4"/>
                  <a:pt x="2" y="2"/>
                  <a:pt x="2" y="2"/>
                </a:cubicBezTo>
                <a:cubicBezTo>
                  <a:pt x="2" y="1"/>
                  <a:pt x="0" y="0"/>
                  <a:pt x="0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3" name="Google Shape;433;p102"/>
          <p:cNvSpPr/>
          <p:nvPr/>
        </p:nvSpPr>
        <p:spPr>
          <a:xfrm>
            <a:off x="10398257" y="5198930"/>
            <a:ext cx="26407" cy="57923"/>
          </a:xfrm>
          <a:custGeom>
            <a:avLst/>
            <a:gdLst/>
            <a:ahLst/>
            <a:cxnLst/>
            <a:rect l="l" t="t" r="r" b="b"/>
            <a:pathLst>
              <a:path w="9" h="21" extrusionOk="0">
                <a:moveTo>
                  <a:pt x="4" y="14"/>
                </a:moveTo>
                <a:cubicBezTo>
                  <a:pt x="5" y="17"/>
                  <a:pt x="5" y="18"/>
                  <a:pt x="6" y="21"/>
                </a:cubicBezTo>
                <a:cubicBezTo>
                  <a:pt x="7" y="21"/>
                  <a:pt x="8" y="21"/>
                  <a:pt x="9" y="21"/>
                </a:cubicBezTo>
                <a:cubicBezTo>
                  <a:pt x="9" y="21"/>
                  <a:pt x="9" y="19"/>
                  <a:pt x="9" y="19"/>
                </a:cubicBezTo>
                <a:cubicBezTo>
                  <a:pt x="8" y="18"/>
                  <a:pt x="7" y="18"/>
                  <a:pt x="6" y="17"/>
                </a:cubicBezTo>
                <a:cubicBezTo>
                  <a:pt x="5" y="16"/>
                  <a:pt x="6" y="15"/>
                  <a:pt x="6" y="14"/>
                </a:cubicBezTo>
                <a:lnTo>
                  <a:pt x="4" y="14"/>
                </a:lnTo>
                <a:close/>
                <a:moveTo>
                  <a:pt x="0" y="0"/>
                </a:moveTo>
                <a:cubicBezTo>
                  <a:pt x="0" y="4"/>
                  <a:pt x="0" y="7"/>
                  <a:pt x="1" y="11"/>
                </a:cubicBezTo>
                <a:cubicBezTo>
                  <a:pt x="2" y="11"/>
                  <a:pt x="3" y="10"/>
                  <a:pt x="4" y="10"/>
                </a:cubicBezTo>
                <a:cubicBezTo>
                  <a:pt x="3" y="11"/>
                  <a:pt x="5" y="11"/>
                  <a:pt x="6" y="11"/>
                </a:cubicBezTo>
                <a:cubicBezTo>
                  <a:pt x="7" y="10"/>
                  <a:pt x="5" y="7"/>
                  <a:pt x="5" y="6"/>
                </a:cubicBezTo>
                <a:cubicBezTo>
                  <a:pt x="4" y="6"/>
                  <a:pt x="5" y="5"/>
                  <a:pt x="6" y="5"/>
                </a:cubicBezTo>
                <a:cubicBezTo>
                  <a:pt x="6" y="5"/>
                  <a:pt x="6" y="2"/>
                  <a:pt x="6" y="2"/>
                </a:cubicBezTo>
                <a:cubicBezTo>
                  <a:pt x="5" y="2"/>
                  <a:pt x="3" y="4"/>
                  <a:pt x="2" y="4"/>
                </a:cubicBezTo>
                <a:cubicBezTo>
                  <a:pt x="2" y="4"/>
                  <a:pt x="2" y="2"/>
                  <a:pt x="2" y="2"/>
                </a:cubicBezTo>
                <a:cubicBezTo>
                  <a:pt x="2" y="1"/>
                  <a:pt x="0" y="0"/>
                  <a:pt x="0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4" name="Google Shape;434;p102"/>
          <p:cNvSpPr/>
          <p:nvPr/>
        </p:nvSpPr>
        <p:spPr>
          <a:xfrm>
            <a:off x="3142019" y="3150412"/>
            <a:ext cx="1436283" cy="798216"/>
          </a:xfrm>
          <a:custGeom>
            <a:avLst/>
            <a:gdLst/>
            <a:ahLst/>
            <a:cxnLst/>
            <a:rect l="l" t="t" r="r" b="b"/>
            <a:pathLst>
              <a:path w="499" h="288" extrusionOk="0">
                <a:moveTo>
                  <a:pt x="363" y="82"/>
                </a:moveTo>
                <a:cubicBezTo>
                  <a:pt x="367" y="81"/>
                  <a:pt x="363" y="87"/>
                  <a:pt x="362" y="87"/>
                </a:cubicBezTo>
                <a:cubicBezTo>
                  <a:pt x="360" y="88"/>
                  <a:pt x="362" y="82"/>
                  <a:pt x="363" y="82"/>
                </a:cubicBezTo>
                <a:close/>
                <a:moveTo>
                  <a:pt x="22" y="9"/>
                </a:moveTo>
                <a:cubicBezTo>
                  <a:pt x="22" y="10"/>
                  <a:pt x="23" y="10"/>
                  <a:pt x="23" y="11"/>
                </a:cubicBezTo>
                <a:cubicBezTo>
                  <a:pt x="23" y="12"/>
                  <a:pt x="21" y="14"/>
                  <a:pt x="21" y="14"/>
                </a:cubicBezTo>
                <a:cubicBezTo>
                  <a:pt x="21" y="15"/>
                  <a:pt x="22" y="19"/>
                  <a:pt x="22" y="19"/>
                </a:cubicBezTo>
                <a:cubicBezTo>
                  <a:pt x="20" y="19"/>
                  <a:pt x="21" y="18"/>
                  <a:pt x="20" y="18"/>
                </a:cubicBezTo>
                <a:cubicBezTo>
                  <a:pt x="20" y="18"/>
                  <a:pt x="20" y="17"/>
                  <a:pt x="20" y="16"/>
                </a:cubicBezTo>
                <a:cubicBezTo>
                  <a:pt x="20" y="16"/>
                  <a:pt x="16" y="11"/>
                  <a:pt x="20" y="12"/>
                </a:cubicBezTo>
                <a:cubicBezTo>
                  <a:pt x="20" y="12"/>
                  <a:pt x="20" y="14"/>
                  <a:pt x="20" y="13"/>
                </a:cubicBezTo>
                <a:cubicBezTo>
                  <a:pt x="21" y="11"/>
                  <a:pt x="20" y="11"/>
                  <a:pt x="20" y="11"/>
                </a:cubicBezTo>
                <a:cubicBezTo>
                  <a:pt x="20" y="11"/>
                  <a:pt x="20" y="11"/>
                  <a:pt x="22" y="10"/>
                </a:cubicBezTo>
                <a:lnTo>
                  <a:pt x="22" y="9"/>
                </a:lnTo>
                <a:close/>
                <a:moveTo>
                  <a:pt x="20" y="22"/>
                </a:moveTo>
                <a:cubicBezTo>
                  <a:pt x="19" y="22"/>
                  <a:pt x="20" y="23"/>
                  <a:pt x="20" y="23"/>
                </a:cubicBezTo>
                <a:cubicBezTo>
                  <a:pt x="20" y="24"/>
                  <a:pt x="19" y="24"/>
                  <a:pt x="18" y="25"/>
                </a:cubicBezTo>
                <a:cubicBezTo>
                  <a:pt x="17" y="25"/>
                  <a:pt x="17" y="26"/>
                  <a:pt x="17" y="27"/>
                </a:cubicBezTo>
                <a:cubicBezTo>
                  <a:pt x="16" y="26"/>
                  <a:pt x="15" y="26"/>
                  <a:pt x="16" y="25"/>
                </a:cubicBezTo>
                <a:cubicBezTo>
                  <a:pt x="17" y="24"/>
                  <a:pt x="18" y="23"/>
                  <a:pt x="20" y="22"/>
                </a:cubicBezTo>
                <a:close/>
                <a:moveTo>
                  <a:pt x="446" y="57"/>
                </a:moveTo>
                <a:cubicBezTo>
                  <a:pt x="446" y="58"/>
                  <a:pt x="447" y="60"/>
                  <a:pt x="446" y="63"/>
                </a:cubicBezTo>
                <a:cubicBezTo>
                  <a:pt x="445" y="63"/>
                  <a:pt x="445" y="63"/>
                  <a:pt x="445" y="63"/>
                </a:cubicBezTo>
                <a:cubicBezTo>
                  <a:pt x="445" y="62"/>
                  <a:pt x="445" y="60"/>
                  <a:pt x="445" y="59"/>
                </a:cubicBezTo>
                <a:lnTo>
                  <a:pt x="446" y="57"/>
                </a:lnTo>
                <a:close/>
                <a:moveTo>
                  <a:pt x="103" y="91"/>
                </a:moveTo>
                <a:cubicBezTo>
                  <a:pt x="105" y="96"/>
                  <a:pt x="104" y="95"/>
                  <a:pt x="109" y="93"/>
                </a:cubicBezTo>
                <a:cubicBezTo>
                  <a:pt x="108" y="95"/>
                  <a:pt x="108" y="95"/>
                  <a:pt x="109" y="96"/>
                </a:cubicBezTo>
                <a:cubicBezTo>
                  <a:pt x="109" y="96"/>
                  <a:pt x="109" y="97"/>
                  <a:pt x="110" y="97"/>
                </a:cubicBezTo>
                <a:cubicBezTo>
                  <a:pt x="111" y="97"/>
                  <a:pt x="109" y="100"/>
                  <a:pt x="109" y="100"/>
                </a:cubicBezTo>
                <a:cubicBezTo>
                  <a:pt x="109" y="100"/>
                  <a:pt x="107" y="101"/>
                  <a:pt x="107" y="101"/>
                </a:cubicBezTo>
                <a:cubicBezTo>
                  <a:pt x="105" y="99"/>
                  <a:pt x="101" y="95"/>
                  <a:pt x="101" y="92"/>
                </a:cubicBezTo>
                <a:lnTo>
                  <a:pt x="103" y="91"/>
                </a:lnTo>
                <a:close/>
                <a:moveTo>
                  <a:pt x="459" y="102"/>
                </a:moveTo>
                <a:cubicBezTo>
                  <a:pt x="456" y="104"/>
                  <a:pt x="456" y="104"/>
                  <a:pt x="456" y="104"/>
                </a:cubicBezTo>
                <a:cubicBezTo>
                  <a:pt x="454" y="104"/>
                  <a:pt x="452" y="102"/>
                  <a:pt x="449" y="103"/>
                </a:cubicBezTo>
                <a:cubicBezTo>
                  <a:pt x="449" y="103"/>
                  <a:pt x="447" y="105"/>
                  <a:pt x="446" y="105"/>
                </a:cubicBezTo>
                <a:cubicBezTo>
                  <a:pt x="445" y="106"/>
                  <a:pt x="444" y="105"/>
                  <a:pt x="443" y="106"/>
                </a:cubicBezTo>
                <a:cubicBezTo>
                  <a:pt x="443" y="106"/>
                  <a:pt x="443" y="108"/>
                  <a:pt x="442" y="108"/>
                </a:cubicBezTo>
                <a:cubicBezTo>
                  <a:pt x="444" y="108"/>
                  <a:pt x="446" y="109"/>
                  <a:pt x="447" y="108"/>
                </a:cubicBezTo>
                <a:cubicBezTo>
                  <a:pt x="448" y="108"/>
                  <a:pt x="450" y="107"/>
                  <a:pt x="451" y="106"/>
                </a:cubicBezTo>
                <a:cubicBezTo>
                  <a:pt x="453" y="106"/>
                  <a:pt x="454" y="108"/>
                  <a:pt x="456" y="107"/>
                </a:cubicBezTo>
                <a:cubicBezTo>
                  <a:pt x="457" y="107"/>
                  <a:pt x="457" y="105"/>
                  <a:pt x="457" y="104"/>
                </a:cubicBezTo>
                <a:cubicBezTo>
                  <a:pt x="457" y="104"/>
                  <a:pt x="461" y="102"/>
                  <a:pt x="459" y="102"/>
                </a:cubicBezTo>
                <a:close/>
                <a:moveTo>
                  <a:pt x="287" y="233"/>
                </a:moveTo>
                <a:cubicBezTo>
                  <a:pt x="288" y="233"/>
                  <a:pt x="288" y="235"/>
                  <a:pt x="287" y="235"/>
                </a:cubicBezTo>
                <a:cubicBezTo>
                  <a:pt x="287" y="235"/>
                  <a:pt x="286" y="232"/>
                  <a:pt x="287" y="233"/>
                </a:cubicBezTo>
                <a:close/>
                <a:moveTo>
                  <a:pt x="299" y="239"/>
                </a:moveTo>
                <a:cubicBezTo>
                  <a:pt x="299" y="239"/>
                  <a:pt x="298" y="240"/>
                  <a:pt x="298" y="240"/>
                </a:cubicBezTo>
                <a:cubicBezTo>
                  <a:pt x="298" y="240"/>
                  <a:pt x="298" y="242"/>
                  <a:pt x="299" y="242"/>
                </a:cubicBezTo>
                <a:cubicBezTo>
                  <a:pt x="299" y="243"/>
                  <a:pt x="299" y="243"/>
                  <a:pt x="299" y="243"/>
                </a:cubicBezTo>
                <a:cubicBezTo>
                  <a:pt x="300" y="242"/>
                  <a:pt x="300" y="244"/>
                  <a:pt x="301" y="243"/>
                </a:cubicBezTo>
                <a:cubicBezTo>
                  <a:pt x="303" y="243"/>
                  <a:pt x="301" y="239"/>
                  <a:pt x="301" y="239"/>
                </a:cubicBezTo>
                <a:cubicBezTo>
                  <a:pt x="301" y="239"/>
                  <a:pt x="299" y="239"/>
                  <a:pt x="299" y="239"/>
                </a:cubicBezTo>
                <a:close/>
                <a:moveTo>
                  <a:pt x="331" y="45"/>
                </a:moveTo>
                <a:cubicBezTo>
                  <a:pt x="331" y="45"/>
                  <a:pt x="331" y="47"/>
                  <a:pt x="331" y="47"/>
                </a:cubicBezTo>
                <a:cubicBezTo>
                  <a:pt x="334" y="46"/>
                  <a:pt x="332" y="45"/>
                  <a:pt x="332" y="45"/>
                </a:cubicBezTo>
                <a:cubicBezTo>
                  <a:pt x="331" y="45"/>
                  <a:pt x="333" y="44"/>
                  <a:pt x="331" y="45"/>
                </a:cubicBezTo>
                <a:close/>
                <a:moveTo>
                  <a:pt x="475" y="91"/>
                </a:moveTo>
                <a:cubicBezTo>
                  <a:pt x="475" y="91"/>
                  <a:pt x="472" y="94"/>
                  <a:pt x="475" y="93"/>
                </a:cubicBezTo>
                <a:cubicBezTo>
                  <a:pt x="476" y="93"/>
                  <a:pt x="478" y="90"/>
                  <a:pt x="475" y="91"/>
                </a:cubicBezTo>
                <a:close/>
                <a:moveTo>
                  <a:pt x="425" y="143"/>
                </a:moveTo>
                <a:cubicBezTo>
                  <a:pt x="425" y="143"/>
                  <a:pt x="425" y="145"/>
                  <a:pt x="425" y="146"/>
                </a:cubicBezTo>
                <a:cubicBezTo>
                  <a:pt x="426" y="146"/>
                  <a:pt x="426" y="146"/>
                  <a:pt x="426" y="146"/>
                </a:cubicBezTo>
                <a:cubicBezTo>
                  <a:pt x="426" y="145"/>
                  <a:pt x="425" y="142"/>
                  <a:pt x="425" y="143"/>
                </a:cubicBezTo>
                <a:close/>
                <a:moveTo>
                  <a:pt x="415" y="180"/>
                </a:moveTo>
                <a:cubicBezTo>
                  <a:pt x="413" y="180"/>
                  <a:pt x="415" y="181"/>
                  <a:pt x="416" y="181"/>
                </a:cubicBezTo>
                <a:cubicBezTo>
                  <a:pt x="416" y="181"/>
                  <a:pt x="417" y="179"/>
                  <a:pt x="415" y="180"/>
                </a:cubicBezTo>
                <a:close/>
                <a:moveTo>
                  <a:pt x="290" y="237"/>
                </a:moveTo>
                <a:cubicBezTo>
                  <a:pt x="290" y="238"/>
                  <a:pt x="290" y="238"/>
                  <a:pt x="290" y="238"/>
                </a:cubicBezTo>
                <a:cubicBezTo>
                  <a:pt x="287" y="239"/>
                  <a:pt x="289" y="237"/>
                  <a:pt x="290" y="237"/>
                </a:cubicBezTo>
                <a:close/>
                <a:moveTo>
                  <a:pt x="288" y="242"/>
                </a:moveTo>
                <a:cubicBezTo>
                  <a:pt x="290" y="243"/>
                  <a:pt x="292" y="242"/>
                  <a:pt x="294" y="243"/>
                </a:cubicBezTo>
                <a:cubicBezTo>
                  <a:pt x="294" y="243"/>
                  <a:pt x="294" y="241"/>
                  <a:pt x="294" y="241"/>
                </a:cubicBezTo>
                <a:cubicBezTo>
                  <a:pt x="296" y="241"/>
                  <a:pt x="295" y="242"/>
                  <a:pt x="297" y="242"/>
                </a:cubicBezTo>
                <a:cubicBezTo>
                  <a:pt x="296" y="237"/>
                  <a:pt x="296" y="240"/>
                  <a:pt x="298" y="235"/>
                </a:cubicBezTo>
                <a:cubicBezTo>
                  <a:pt x="299" y="236"/>
                  <a:pt x="303" y="237"/>
                  <a:pt x="304" y="238"/>
                </a:cubicBezTo>
                <a:cubicBezTo>
                  <a:pt x="304" y="239"/>
                  <a:pt x="303" y="239"/>
                  <a:pt x="304" y="240"/>
                </a:cubicBezTo>
                <a:cubicBezTo>
                  <a:pt x="304" y="241"/>
                  <a:pt x="304" y="241"/>
                  <a:pt x="304" y="241"/>
                </a:cubicBezTo>
                <a:cubicBezTo>
                  <a:pt x="305" y="241"/>
                  <a:pt x="307" y="240"/>
                  <a:pt x="308" y="241"/>
                </a:cubicBezTo>
                <a:cubicBezTo>
                  <a:pt x="308" y="241"/>
                  <a:pt x="307" y="243"/>
                  <a:pt x="308" y="243"/>
                </a:cubicBezTo>
                <a:cubicBezTo>
                  <a:pt x="308" y="244"/>
                  <a:pt x="309" y="243"/>
                  <a:pt x="310" y="243"/>
                </a:cubicBezTo>
                <a:cubicBezTo>
                  <a:pt x="310" y="239"/>
                  <a:pt x="310" y="239"/>
                  <a:pt x="310" y="239"/>
                </a:cubicBezTo>
                <a:cubicBezTo>
                  <a:pt x="309" y="239"/>
                  <a:pt x="308" y="240"/>
                  <a:pt x="307" y="239"/>
                </a:cubicBezTo>
                <a:cubicBezTo>
                  <a:pt x="306" y="239"/>
                  <a:pt x="306" y="236"/>
                  <a:pt x="307" y="237"/>
                </a:cubicBezTo>
                <a:cubicBezTo>
                  <a:pt x="308" y="236"/>
                  <a:pt x="308" y="236"/>
                  <a:pt x="310" y="235"/>
                </a:cubicBezTo>
                <a:cubicBezTo>
                  <a:pt x="310" y="234"/>
                  <a:pt x="310" y="234"/>
                  <a:pt x="310" y="234"/>
                </a:cubicBezTo>
                <a:cubicBezTo>
                  <a:pt x="309" y="234"/>
                  <a:pt x="308" y="233"/>
                  <a:pt x="308" y="233"/>
                </a:cubicBezTo>
                <a:cubicBezTo>
                  <a:pt x="308" y="233"/>
                  <a:pt x="307" y="234"/>
                  <a:pt x="306" y="234"/>
                </a:cubicBezTo>
                <a:cubicBezTo>
                  <a:pt x="305" y="231"/>
                  <a:pt x="305" y="231"/>
                  <a:pt x="305" y="231"/>
                </a:cubicBezTo>
                <a:cubicBezTo>
                  <a:pt x="303" y="231"/>
                  <a:pt x="302" y="232"/>
                  <a:pt x="302" y="232"/>
                </a:cubicBezTo>
                <a:cubicBezTo>
                  <a:pt x="302" y="231"/>
                  <a:pt x="302" y="231"/>
                  <a:pt x="302" y="231"/>
                </a:cubicBezTo>
                <a:cubicBezTo>
                  <a:pt x="300" y="230"/>
                  <a:pt x="300" y="231"/>
                  <a:pt x="300" y="230"/>
                </a:cubicBezTo>
                <a:cubicBezTo>
                  <a:pt x="300" y="230"/>
                  <a:pt x="301" y="229"/>
                  <a:pt x="300" y="229"/>
                </a:cubicBezTo>
                <a:cubicBezTo>
                  <a:pt x="302" y="229"/>
                  <a:pt x="304" y="230"/>
                  <a:pt x="306" y="229"/>
                </a:cubicBezTo>
                <a:cubicBezTo>
                  <a:pt x="306" y="229"/>
                  <a:pt x="307" y="227"/>
                  <a:pt x="307" y="227"/>
                </a:cubicBezTo>
                <a:cubicBezTo>
                  <a:pt x="307" y="227"/>
                  <a:pt x="310" y="226"/>
                  <a:pt x="310" y="226"/>
                </a:cubicBezTo>
                <a:cubicBezTo>
                  <a:pt x="313" y="226"/>
                  <a:pt x="314" y="228"/>
                  <a:pt x="316" y="229"/>
                </a:cubicBezTo>
                <a:cubicBezTo>
                  <a:pt x="316" y="228"/>
                  <a:pt x="317" y="228"/>
                  <a:pt x="318" y="228"/>
                </a:cubicBezTo>
                <a:cubicBezTo>
                  <a:pt x="318" y="228"/>
                  <a:pt x="318" y="226"/>
                  <a:pt x="318" y="225"/>
                </a:cubicBezTo>
                <a:cubicBezTo>
                  <a:pt x="319" y="225"/>
                  <a:pt x="319" y="225"/>
                  <a:pt x="319" y="225"/>
                </a:cubicBezTo>
                <a:cubicBezTo>
                  <a:pt x="320" y="227"/>
                  <a:pt x="320" y="228"/>
                  <a:pt x="320" y="229"/>
                </a:cubicBezTo>
                <a:cubicBezTo>
                  <a:pt x="321" y="229"/>
                  <a:pt x="322" y="230"/>
                  <a:pt x="323" y="229"/>
                </a:cubicBezTo>
                <a:cubicBezTo>
                  <a:pt x="326" y="225"/>
                  <a:pt x="326" y="225"/>
                  <a:pt x="326" y="225"/>
                </a:cubicBezTo>
                <a:cubicBezTo>
                  <a:pt x="326" y="225"/>
                  <a:pt x="327" y="227"/>
                  <a:pt x="327" y="227"/>
                </a:cubicBezTo>
                <a:cubicBezTo>
                  <a:pt x="326" y="228"/>
                  <a:pt x="329" y="228"/>
                  <a:pt x="329" y="228"/>
                </a:cubicBezTo>
                <a:cubicBezTo>
                  <a:pt x="330" y="226"/>
                  <a:pt x="330" y="226"/>
                  <a:pt x="330" y="226"/>
                </a:cubicBezTo>
                <a:cubicBezTo>
                  <a:pt x="331" y="226"/>
                  <a:pt x="331" y="227"/>
                  <a:pt x="332" y="226"/>
                </a:cubicBezTo>
                <a:cubicBezTo>
                  <a:pt x="333" y="227"/>
                  <a:pt x="333" y="227"/>
                  <a:pt x="334" y="227"/>
                </a:cubicBezTo>
                <a:cubicBezTo>
                  <a:pt x="334" y="228"/>
                  <a:pt x="333" y="228"/>
                  <a:pt x="333" y="229"/>
                </a:cubicBezTo>
                <a:cubicBezTo>
                  <a:pt x="333" y="230"/>
                  <a:pt x="335" y="230"/>
                  <a:pt x="335" y="231"/>
                </a:cubicBezTo>
                <a:cubicBezTo>
                  <a:pt x="336" y="231"/>
                  <a:pt x="339" y="231"/>
                  <a:pt x="340" y="231"/>
                </a:cubicBezTo>
                <a:cubicBezTo>
                  <a:pt x="341" y="232"/>
                  <a:pt x="340" y="233"/>
                  <a:pt x="341" y="234"/>
                </a:cubicBezTo>
                <a:cubicBezTo>
                  <a:pt x="342" y="235"/>
                  <a:pt x="347" y="237"/>
                  <a:pt x="349" y="237"/>
                </a:cubicBezTo>
                <a:cubicBezTo>
                  <a:pt x="350" y="236"/>
                  <a:pt x="351" y="233"/>
                  <a:pt x="352" y="233"/>
                </a:cubicBezTo>
                <a:cubicBezTo>
                  <a:pt x="353" y="232"/>
                  <a:pt x="354" y="233"/>
                  <a:pt x="355" y="233"/>
                </a:cubicBezTo>
                <a:cubicBezTo>
                  <a:pt x="356" y="234"/>
                  <a:pt x="357" y="234"/>
                  <a:pt x="357" y="235"/>
                </a:cubicBezTo>
                <a:cubicBezTo>
                  <a:pt x="358" y="237"/>
                  <a:pt x="358" y="239"/>
                  <a:pt x="359" y="240"/>
                </a:cubicBezTo>
                <a:cubicBezTo>
                  <a:pt x="359" y="241"/>
                  <a:pt x="362" y="241"/>
                  <a:pt x="363" y="242"/>
                </a:cubicBezTo>
                <a:cubicBezTo>
                  <a:pt x="363" y="243"/>
                  <a:pt x="364" y="250"/>
                  <a:pt x="363" y="251"/>
                </a:cubicBezTo>
                <a:cubicBezTo>
                  <a:pt x="362" y="253"/>
                  <a:pt x="362" y="253"/>
                  <a:pt x="362" y="253"/>
                </a:cubicBezTo>
                <a:cubicBezTo>
                  <a:pt x="362" y="256"/>
                  <a:pt x="363" y="258"/>
                  <a:pt x="363" y="259"/>
                </a:cubicBezTo>
                <a:cubicBezTo>
                  <a:pt x="364" y="258"/>
                  <a:pt x="365" y="257"/>
                  <a:pt x="365" y="256"/>
                </a:cubicBezTo>
                <a:cubicBezTo>
                  <a:pt x="366" y="256"/>
                  <a:pt x="368" y="256"/>
                  <a:pt x="368" y="256"/>
                </a:cubicBezTo>
                <a:cubicBezTo>
                  <a:pt x="367" y="261"/>
                  <a:pt x="366" y="261"/>
                  <a:pt x="365" y="267"/>
                </a:cubicBezTo>
                <a:cubicBezTo>
                  <a:pt x="366" y="267"/>
                  <a:pt x="370" y="269"/>
                  <a:pt x="371" y="270"/>
                </a:cubicBezTo>
                <a:cubicBezTo>
                  <a:pt x="372" y="271"/>
                  <a:pt x="372" y="276"/>
                  <a:pt x="373" y="278"/>
                </a:cubicBezTo>
                <a:cubicBezTo>
                  <a:pt x="373" y="278"/>
                  <a:pt x="374" y="279"/>
                  <a:pt x="375" y="279"/>
                </a:cubicBezTo>
                <a:cubicBezTo>
                  <a:pt x="375" y="281"/>
                  <a:pt x="375" y="282"/>
                  <a:pt x="376" y="283"/>
                </a:cubicBezTo>
                <a:cubicBezTo>
                  <a:pt x="377" y="284"/>
                  <a:pt x="377" y="283"/>
                  <a:pt x="378" y="284"/>
                </a:cubicBezTo>
                <a:cubicBezTo>
                  <a:pt x="379" y="285"/>
                  <a:pt x="379" y="287"/>
                  <a:pt x="380" y="287"/>
                </a:cubicBezTo>
                <a:cubicBezTo>
                  <a:pt x="381" y="288"/>
                  <a:pt x="381" y="287"/>
                  <a:pt x="382" y="287"/>
                </a:cubicBezTo>
                <a:cubicBezTo>
                  <a:pt x="382" y="286"/>
                  <a:pt x="382" y="286"/>
                  <a:pt x="383" y="285"/>
                </a:cubicBezTo>
                <a:cubicBezTo>
                  <a:pt x="382" y="285"/>
                  <a:pt x="382" y="284"/>
                  <a:pt x="382" y="283"/>
                </a:cubicBezTo>
                <a:cubicBezTo>
                  <a:pt x="383" y="282"/>
                  <a:pt x="383" y="282"/>
                  <a:pt x="383" y="282"/>
                </a:cubicBezTo>
                <a:cubicBezTo>
                  <a:pt x="383" y="281"/>
                  <a:pt x="384" y="280"/>
                  <a:pt x="385" y="279"/>
                </a:cubicBezTo>
                <a:cubicBezTo>
                  <a:pt x="385" y="278"/>
                  <a:pt x="384" y="275"/>
                  <a:pt x="385" y="273"/>
                </a:cubicBezTo>
                <a:cubicBezTo>
                  <a:pt x="386" y="270"/>
                  <a:pt x="386" y="270"/>
                  <a:pt x="386" y="270"/>
                </a:cubicBezTo>
                <a:cubicBezTo>
                  <a:pt x="385" y="270"/>
                  <a:pt x="386" y="267"/>
                  <a:pt x="385" y="266"/>
                </a:cubicBezTo>
                <a:cubicBezTo>
                  <a:pt x="384" y="265"/>
                  <a:pt x="384" y="265"/>
                  <a:pt x="384" y="265"/>
                </a:cubicBezTo>
                <a:cubicBezTo>
                  <a:pt x="383" y="263"/>
                  <a:pt x="384" y="261"/>
                  <a:pt x="383" y="259"/>
                </a:cubicBezTo>
                <a:cubicBezTo>
                  <a:pt x="383" y="258"/>
                  <a:pt x="381" y="256"/>
                  <a:pt x="381" y="255"/>
                </a:cubicBezTo>
                <a:cubicBezTo>
                  <a:pt x="380" y="254"/>
                  <a:pt x="382" y="254"/>
                  <a:pt x="381" y="252"/>
                </a:cubicBezTo>
                <a:cubicBezTo>
                  <a:pt x="381" y="251"/>
                  <a:pt x="379" y="250"/>
                  <a:pt x="379" y="249"/>
                </a:cubicBezTo>
                <a:cubicBezTo>
                  <a:pt x="379" y="249"/>
                  <a:pt x="379" y="246"/>
                  <a:pt x="379" y="246"/>
                </a:cubicBezTo>
                <a:cubicBezTo>
                  <a:pt x="379" y="244"/>
                  <a:pt x="376" y="241"/>
                  <a:pt x="376" y="239"/>
                </a:cubicBezTo>
                <a:cubicBezTo>
                  <a:pt x="375" y="236"/>
                  <a:pt x="377" y="233"/>
                  <a:pt x="375" y="231"/>
                </a:cubicBezTo>
                <a:cubicBezTo>
                  <a:pt x="375" y="230"/>
                  <a:pt x="373" y="230"/>
                  <a:pt x="373" y="229"/>
                </a:cubicBezTo>
                <a:cubicBezTo>
                  <a:pt x="373" y="228"/>
                  <a:pt x="373" y="228"/>
                  <a:pt x="373" y="228"/>
                </a:cubicBezTo>
                <a:cubicBezTo>
                  <a:pt x="373" y="228"/>
                  <a:pt x="375" y="227"/>
                  <a:pt x="375" y="226"/>
                </a:cubicBezTo>
                <a:cubicBezTo>
                  <a:pt x="376" y="224"/>
                  <a:pt x="374" y="223"/>
                  <a:pt x="375" y="221"/>
                </a:cubicBezTo>
                <a:cubicBezTo>
                  <a:pt x="376" y="221"/>
                  <a:pt x="376" y="221"/>
                  <a:pt x="376" y="221"/>
                </a:cubicBezTo>
                <a:cubicBezTo>
                  <a:pt x="376" y="219"/>
                  <a:pt x="378" y="212"/>
                  <a:pt x="377" y="214"/>
                </a:cubicBezTo>
                <a:cubicBezTo>
                  <a:pt x="377" y="212"/>
                  <a:pt x="377" y="212"/>
                  <a:pt x="377" y="212"/>
                </a:cubicBezTo>
                <a:cubicBezTo>
                  <a:pt x="381" y="210"/>
                  <a:pt x="381" y="210"/>
                  <a:pt x="381" y="210"/>
                </a:cubicBezTo>
                <a:cubicBezTo>
                  <a:pt x="380" y="208"/>
                  <a:pt x="380" y="208"/>
                  <a:pt x="380" y="208"/>
                </a:cubicBezTo>
                <a:cubicBezTo>
                  <a:pt x="381" y="207"/>
                  <a:pt x="382" y="208"/>
                  <a:pt x="383" y="207"/>
                </a:cubicBezTo>
                <a:cubicBezTo>
                  <a:pt x="384" y="206"/>
                  <a:pt x="384" y="204"/>
                  <a:pt x="385" y="203"/>
                </a:cubicBezTo>
                <a:cubicBezTo>
                  <a:pt x="386" y="202"/>
                  <a:pt x="386" y="204"/>
                  <a:pt x="388" y="203"/>
                </a:cubicBezTo>
                <a:cubicBezTo>
                  <a:pt x="388" y="203"/>
                  <a:pt x="391" y="200"/>
                  <a:pt x="391" y="200"/>
                </a:cubicBezTo>
                <a:cubicBezTo>
                  <a:pt x="391" y="200"/>
                  <a:pt x="390" y="198"/>
                  <a:pt x="391" y="198"/>
                </a:cubicBezTo>
                <a:cubicBezTo>
                  <a:pt x="391" y="198"/>
                  <a:pt x="393" y="199"/>
                  <a:pt x="393" y="198"/>
                </a:cubicBezTo>
                <a:cubicBezTo>
                  <a:pt x="393" y="198"/>
                  <a:pt x="395" y="193"/>
                  <a:pt x="395" y="193"/>
                </a:cubicBezTo>
                <a:cubicBezTo>
                  <a:pt x="396" y="193"/>
                  <a:pt x="395" y="194"/>
                  <a:pt x="397" y="194"/>
                </a:cubicBezTo>
                <a:cubicBezTo>
                  <a:pt x="398" y="193"/>
                  <a:pt x="399" y="191"/>
                  <a:pt x="400" y="191"/>
                </a:cubicBezTo>
                <a:cubicBezTo>
                  <a:pt x="401" y="190"/>
                  <a:pt x="403" y="191"/>
                  <a:pt x="404" y="190"/>
                </a:cubicBezTo>
                <a:cubicBezTo>
                  <a:pt x="409" y="185"/>
                  <a:pt x="409" y="185"/>
                  <a:pt x="409" y="185"/>
                </a:cubicBezTo>
                <a:cubicBezTo>
                  <a:pt x="409" y="184"/>
                  <a:pt x="408" y="183"/>
                  <a:pt x="409" y="183"/>
                </a:cubicBezTo>
                <a:cubicBezTo>
                  <a:pt x="409" y="182"/>
                  <a:pt x="412" y="181"/>
                  <a:pt x="413" y="181"/>
                </a:cubicBezTo>
                <a:cubicBezTo>
                  <a:pt x="412" y="179"/>
                  <a:pt x="411" y="178"/>
                  <a:pt x="411" y="176"/>
                </a:cubicBezTo>
                <a:cubicBezTo>
                  <a:pt x="412" y="176"/>
                  <a:pt x="413" y="177"/>
                  <a:pt x="414" y="176"/>
                </a:cubicBezTo>
                <a:cubicBezTo>
                  <a:pt x="414" y="175"/>
                  <a:pt x="414" y="175"/>
                  <a:pt x="414" y="175"/>
                </a:cubicBezTo>
                <a:cubicBezTo>
                  <a:pt x="415" y="175"/>
                  <a:pt x="415" y="175"/>
                  <a:pt x="415" y="175"/>
                </a:cubicBezTo>
                <a:cubicBezTo>
                  <a:pt x="414" y="174"/>
                  <a:pt x="414" y="172"/>
                  <a:pt x="413" y="171"/>
                </a:cubicBezTo>
                <a:cubicBezTo>
                  <a:pt x="414" y="171"/>
                  <a:pt x="416" y="170"/>
                  <a:pt x="417" y="170"/>
                </a:cubicBezTo>
                <a:cubicBezTo>
                  <a:pt x="417" y="172"/>
                  <a:pt x="417" y="172"/>
                  <a:pt x="417" y="172"/>
                </a:cubicBezTo>
                <a:cubicBezTo>
                  <a:pt x="418" y="172"/>
                  <a:pt x="419" y="172"/>
                  <a:pt x="420" y="172"/>
                </a:cubicBezTo>
                <a:cubicBezTo>
                  <a:pt x="420" y="172"/>
                  <a:pt x="425" y="167"/>
                  <a:pt x="421" y="170"/>
                </a:cubicBezTo>
                <a:cubicBezTo>
                  <a:pt x="420" y="170"/>
                  <a:pt x="421" y="168"/>
                  <a:pt x="421" y="168"/>
                </a:cubicBezTo>
                <a:cubicBezTo>
                  <a:pt x="415" y="166"/>
                  <a:pt x="415" y="166"/>
                  <a:pt x="415" y="166"/>
                </a:cubicBezTo>
                <a:cubicBezTo>
                  <a:pt x="415" y="166"/>
                  <a:pt x="415" y="164"/>
                  <a:pt x="415" y="164"/>
                </a:cubicBezTo>
                <a:cubicBezTo>
                  <a:pt x="417" y="164"/>
                  <a:pt x="419" y="164"/>
                  <a:pt x="420" y="163"/>
                </a:cubicBezTo>
                <a:cubicBezTo>
                  <a:pt x="420" y="163"/>
                  <a:pt x="420" y="161"/>
                  <a:pt x="421" y="161"/>
                </a:cubicBezTo>
                <a:cubicBezTo>
                  <a:pt x="420" y="160"/>
                  <a:pt x="419" y="161"/>
                  <a:pt x="419" y="159"/>
                </a:cubicBezTo>
                <a:cubicBezTo>
                  <a:pt x="419" y="159"/>
                  <a:pt x="420" y="158"/>
                  <a:pt x="420" y="157"/>
                </a:cubicBezTo>
                <a:cubicBezTo>
                  <a:pt x="414" y="154"/>
                  <a:pt x="414" y="154"/>
                  <a:pt x="414" y="154"/>
                </a:cubicBezTo>
                <a:cubicBezTo>
                  <a:pt x="414" y="154"/>
                  <a:pt x="414" y="153"/>
                  <a:pt x="414" y="152"/>
                </a:cubicBezTo>
                <a:cubicBezTo>
                  <a:pt x="414" y="152"/>
                  <a:pt x="412" y="151"/>
                  <a:pt x="412" y="150"/>
                </a:cubicBezTo>
                <a:cubicBezTo>
                  <a:pt x="414" y="150"/>
                  <a:pt x="415" y="150"/>
                  <a:pt x="417" y="150"/>
                </a:cubicBezTo>
                <a:cubicBezTo>
                  <a:pt x="416" y="148"/>
                  <a:pt x="415" y="146"/>
                  <a:pt x="413" y="144"/>
                </a:cubicBezTo>
                <a:cubicBezTo>
                  <a:pt x="414" y="144"/>
                  <a:pt x="415" y="144"/>
                  <a:pt x="415" y="144"/>
                </a:cubicBezTo>
                <a:cubicBezTo>
                  <a:pt x="415" y="143"/>
                  <a:pt x="415" y="143"/>
                  <a:pt x="415" y="143"/>
                </a:cubicBezTo>
                <a:cubicBezTo>
                  <a:pt x="414" y="142"/>
                  <a:pt x="412" y="141"/>
                  <a:pt x="411" y="140"/>
                </a:cubicBezTo>
                <a:cubicBezTo>
                  <a:pt x="412" y="139"/>
                  <a:pt x="411" y="139"/>
                  <a:pt x="413" y="138"/>
                </a:cubicBezTo>
                <a:cubicBezTo>
                  <a:pt x="412" y="138"/>
                  <a:pt x="412" y="134"/>
                  <a:pt x="412" y="134"/>
                </a:cubicBezTo>
                <a:cubicBezTo>
                  <a:pt x="413" y="134"/>
                  <a:pt x="413" y="134"/>
                  <a:pt x="413" y="134"/>
                </a:cubicBezTo>
                <a:cubicBezTo>
                  <a:pt x="415" y="129"/>
                  <a:pt x="415" y="127"/>
                  <a:pt x="415" y="123"/>
                </a:cubicBezTo>
                <a:cubicBezTo>
                  <a:pt x="416" y="123"/>
                  <a:pt x="416" y="123"/>
                  <a:pt x="418" y="122"/>
                </a:cubicBezTo>
                <a:cubicBezTo>
                  <a:pt x="419" y="121"/>
                  <a:pt x="419" y="121"/>
                  <a:pt x="419" y="121"/>
                </a:cubicBezTo>
                <a:cubicBezTo>
                  <a:pt x="419" y="121"/>
                  <a:pt x="421" y="122"/>
                  <a:pt x="422" y="122"/>
                </a:cubicBezTo>
                <a:cubicBezTo>
                  <a:pt x="423" y="120"/>
                  <a:pt x="422" y="120"/>
                  <a:pt x="423" y="119"/>
                </a:cubicBezTo>
                <a:cubicBezTo>
                  <a:pt x="423" y="119"/>
                  <a:pt x="424" y="121"/>
                  <a:pt x="424" y="122"/>
                </a:cubicBezTo>
                <a:cubicBezTo>
                  <a:pt x="422" y="123"/>
                  <a:pt x="420" y="125"/>
                  <a:pt x="419" y="127"/>
                </a:cubicBezTo>
                <a:cubicBezTo>
                  <a:pt x="420" y="129"/>
                  <a:pt x="420" y="129"/>
                  <a:pt x="420" y="129"/>
                </a:cubicBezTo>
                <a:cubicBezTo>
                  <a:pt x="419" y="130"/>
                  <a:pt x="417" y="131"/>
                  <a:pt x="417" y="132"/>
                </a:cubicBezTo>
                <a:cubicBezTo>
                  <a:pt x="416" y="133"/>
                  <a:pt x="417" y="134"/>
                  <a:pt x="418" y="134"/>
                </a:cubicBezTo>
                <a:cubicBezTo>
                  <a:pt x="419" y="135"/>
                  <a:pt x="417" y="135"/>
                  <a:pt x="417" y="135"/>
                </a:cubicBezTo>
                <a:cubicBezTo>
                  <a:pt x="417" y="136"/>
                  <a:pt x="417" y="140"/>
                  <a:pt x="418" y="140"/>
                </a:cubicBezTo>
                <a:cubicBezTo>
                  <a:pt x="418" y="141"/>
                  <a:pt x="418" y="141"/>
                  <a:pt x="418" y="141"/>
                </a:cubicBezTo>
                <a:cubicBezTo>
                  <a:pt x="420" y="140"/>
                  <a:pt x="420" y="140"/>
                  <a:pt x="423" y="140"/>
                </a:cubicBezTo>
                <a:cubicBezTo>
                  <a:pt x="423" y="140"/>
                  <a:pt x="422" y="143"/>
                  <a:pt x="423" y="144"/>
                </a:cubicBezTo>
                <a:cubicBezTo>
                  <a:pt x="424" y="143"/>
                  <a:pt x="426" y="142"/>
                  <a:pt x="428" y="142"/>
                </a:cubicBezTo>
                <a:cubicBezTo>
                  <a:pt x="428" y="140"/>
                  <a:pt x="428" y="140"/>
                  <a:pt x="428" y="140"/>
                </a:cubicBezTo>
                <a:cubicBezTo>
                  <a:pt x="428" y="140"/>
                  <a:pt x="427" y="140"/>
                  <a:pt x="427" y="138"/>
                </a:cubicBezTo>
                <a:cubicBezTo>
                  <a:pt x="427" y="138"/>
                  <a:pt x="428" y="138"/>
                  <a:pt x="428" y="137"/>
                </a:cubicBezTo>
                <a:cubicBezTo>
                  <a:pt x="429" y="138"/>
                  <a:pt x="429" y="135"/>
                  <a:pt x="429" y="134"/>
                </a:cubicBezTo>
                <a:cubicBezTo>
                  <a:pt x="428" y="134"/>
                  <a:pt x="428" y="134"/>
                  <a:pt x="428" y="134"/>
                </a:cubicBezTo>
                <a:cubicBezTo>
                  <a:pt x="428" y="133"/>
                  <a:pt x="430" y="131"/>
                  <a:pt x="429" y="130"/>
                </a:cubicBezTo>
                <a:cubicBezTo>
                  <a:pt x="428" y="130"/>
                  <a:pt x="428" y="130"/>
                  <a:pt x="428" y="130"/>
                </a:cubicBezTo>
                <a:cubicBezTo>
                  <a:pt x="428" y="129"/>
                  <a:pt x="426" y="127"/>
                  <a:pt x="426" y="126"/>
                </a:cubicBezTo>
                <a:cubicBezTo>
                  <a:pt x="426" y="126"/>
                  <a:pt x="426" y="126"/>
                  <a:pt x="426" y="126"/>
                </a:cubicBezTo>
                <a:cubicBezTo>
                  <a:pt x="426" y="125"/>
                  <a:pt x="427" y="123"/>
                  <a:pt x="427" y="123"/>
                </a:cubicBezTo>
                <a:cubicBezTo>
                  <a:pt x="428" y="123"/>
                  <a:pt x="430" y="125"/>
                  <a:pt x="431" y="126"/>
                </a:cubicBezTo>
                <a:cubicBezTo>
                  <a:pt x="432" y="126"/>
                  <a:pt x="433" y="125"/>
                  <a:pt x="434" y="126"/>
                </a:cubicBezTo>
                <a:cubicBezTo>
                  <a:pt x="436" y="124"/>
                  <a:pt x="436" y="121"/>
                  <a:pt x="438" y="119"/>
                </a:cubicBezTo>
                <a:cubicBezTo>
                  <a:pt x="440" y="120"/>
                  <a:pt x="440" y="120"/>
                  <a:pt x="440" y="120"/>
                </a:cubicBezTo>
                <a:cubicBezTo>
                  <a:pt x="440" y="119"/>
                  <a:pt x="441" y="117"/>
                  <a:pt x="441" y="116"/>
                </a:cubicBezTo>
                <a:cubicBezTo>
                  <a:pt x="442" y="115"/>
                  <a:pt x="441" y="109"/>
                  <a:pt x="441" y="109"/>
                </a:cubicBezTo>
                <a:cubicBezTo>
                  <a:pt x="441" y="109"/>
                  <a:pt x="440" y="109"/>
                  <a:pt x="439" y="109"/>
                </a:cubicBezTo>
                <a:cubicBezTo>
                  <a:pt x="439" y="109"/>
                  <a:pt x="439" y="107"/>
                  <a:pt x="439" y="107"/>
                </a:cubicBezTo>
                <a:cubicBezTo>
                  <a:pt x="440" y="107"/>
                  <a:pt x="440" y="107"/>
                  <a:pt x="440" y="107"/>
                </a:cubicBezTo>
                <a:cubicBezTo>
                  <a:pt x="440" y="106"/>
                  <a:pt x="440" y="106"/>
                  <a:pt x="440" y="106"/>
                </a:cubicBezTo>
                <a:cubicBezTo>
                  <a:pt x="441" y="105"/>
                  <a:pt x="445" y="101"/>
                  <a:pt x="446" y="101"/>
                </a:cubicBezTo>
                <a:cubicBezTo>
                  <a:pt x="446" y="100"/>
                  <a:pt x="446" y="100"/>
                  <a:pt x="446" y="100"/>
                </a:cubicBezTo>
                <a:cubicBezTo>
                  <a:pt x="446" y="99"/>
                  <a:pt x="448" y="100"/>
                  <a:pt x="448" y="100"/>
                </a:cubicBezTo>
                <a:cubicBezTo>
                  <a:pt x="449" y="100"/>
                  <a:pt x="449" y="98"/>
                  <a:pt x="450" y="98"/>
                </a:cubicBezTo>
                <a:cubicBezTo>
                  <a:pt x="450" y="98"/>
                  <a:pt x="452" y="99"/>
                  <a:pt x="453" y="99"/>
                </a:cubicBezTo>
                <a:cubicBezTo>
                  <a:pt x="454" y="98"/>
                  <a:pt x="454" y="96"/>
                  <a:pt x="454" y="96"/>
                </a:cubicBezTo>
                <a:cubicBezTo>
                  <a:pt x="456" y="95"/>
                  <a:pt x="458" y="96"/>
                  <a:pt x="460" y="96"/>
                </a:cubicBezTo>
                <a:cubicBezTo>
                  <a:pt x="460" y="97"/>
                  <a:pt x="460" y="97"/>
                  <a:pt x="460" y="97"/>
                </a:cubicBezTo>
                <a:cubicBezTo>
                  <a:pt x="461" y="98"/>
                  <a:pt x="462" y="96"/>
                  <a:pt x="462" y="97"/>
                </a:cubicBezTo>
                <a:cubicBezTo>
                  <a:pt x="461" y="96"/>
                  <a:pt x="462" y="93"/>
                  <a:pt x="462" y="91"/>
                </a:cubicBezTo>
                <a:cubicBezTo>
                  <a:pt x="463" y="92"/>
                  <a:pt x="465" y="91"/>
                  <a:pt x="466" y="92"/>
                </a:cubicBezTo>
                <a:cubicBezTo>
                  <a:pt x="466" y="92"/>
                  <a:pt x="466" y="94"/>
                  <a:pt x="466" y="94"/>
                </a:cubicBezTo>
                <a:cubicBezTo>
                  <a:pt x="466" y="94"/>
                  <a:pt x="467" y="95"/>
                  <a:pt x="468" y="95"/>
                </a:cubicBezTo>
                <a:cubicBezTo>
                  <a:pt x="469" y="94"/>
                  <a:pt x="470" y="93"/>
                  <a:pt x="470" y="93"/>
                </a:cubicBezTo>
                <a:cubicBezTo>
                  <a:pt x="470" y="92"/>
                  <a:pt x="472" y="93"/>
                  <a:pt x="472" y="93"/>
                </a:cubicBezTo>
                <a:cubicBezTo>
                  <a:pt x="472" y="92"/>
                  <a:pt x="472" y="91"/>
                  <a:pt x="471" y="91"/>
                </a:cubicBezTo>
                <a:cubicBezTo>
                  <a:pt x="470" y="90"/>
                  <a:pt x="466" y="89"/>
                  <a:pt x="466" y="88"/>
                </a:cubicBezTo>
                <a:cubicBezTo>
                  <a:pt x="465" y="87"/>
                  <a:pt x="466" y="87"/>
                  <a:pt x="466" y="86"/>
                </a:cubicBezTo>
                <a:cubicBezTo>
                  <a:pt x="467" y="85"/>
                  <a:pt x="468" y="85"/>
                  <a:pt x="470" y="85"/>
                </a:cubicBezTo>
                <a:cubicBezTo>
                  <a:pt x="467" y="79"/>
                  <a:pt x="469" y="80"/>
                  <a:pt x="473" y="76"/>
                </a:cubicBezTo>
                <a:cubicBezTo>
                  <a:pt x="473" y="75"/>
                  <a:pt x="473" y="75"/>
                  <a:pt x="473" y="75"/>
                </a:cubicBezTo>
                <a:cubicBezTo>
                  <a:pt x="472" y="75"/>
                  <a:pt x="472" y="75"/>
                  <a:pt x="472" y="75"/>
                </a:cubicBezTo>
                <a:cubicBezTo>
                  <a:pt x="473" y="73"/>
                  <a:pt x="473" y="71"/>
                  <a:pt x="474" y="69"/>
                </a:cubicBezTo>
                <a:cubicBezTo>
                  <a:pt x="475" y="70"/>
                  <a:pt x="475" y="70"/>
                  <a:pt x="476" y="70"/>
                </a:cubicBezTo>
                <a:cubicBezTo>
                  <a:pt x="475" y="72"/>
                  <a:pt x="478" y="69"/>
                  <a:pt x="478" y="69"/>
                </a:cubicBezTo>
                <a:cubicBezTo>
                  <a:pt x="480" y="69"/>
                  <a:pt x="478" y="70"/>
                  <a:pt x="479" y="71"/>
                </a:cubicBezTo>
                <a:cubicBezTo>
                  <a:pt x="480" y="71"/>
                  <a:pt x="480" y="71"/>
                  <a:pt x="480" y="71"/>
                </a:cubicBezTo>
                <a:cubicBezTo>
                  <a:pt x="480" y="70"/>
                  <a:pt x="480" y="69"/>
                  <a:pt x="480" y="69"/>
                </a:cubicBezTo>
                <a:cubicBezTo>
                  <a:pt x="481" y="68"/>
                  <a:pt x="482" y="70"/>
                  <a:pt x="484" y="69"/>
                </a:cubicBezTo>
                <a:cubicBezTo>
                  <a:pt x="484" y="66"/>
                  <a:pt x="484" y="65"/>
                  <a:pt x="486" y="62"/>
                </a:cubicBezTo>
                <a:cubicBezTo>
                  <a:pt x="486" y="63"/>
                  <a:pt x="487" y="65"/>
                  <a:pt x="487" y="66"/>
                </a:cubicBezTo>
                <a:cubicBezTo>
                  <a:pt x="489" y="65"/>
                  <a:pt x="489" y="65"/>
                  <a:pt x="489" y="65"/>
                </a:cubicBezTo>
                <a:cubicBezTo>
                  <a:pt x="489" y="65"/>
                  <a:pt x="489" y="63"/>
                  <a:pt x="489" y="63"/>
                </a:cubicBezTo>
                <a:cubicBezTo>
                  <a:pt x="490" y="63"/>
                  <a:pt x="491" y="65"/>
                  <a:pt x="492" y="65"/>
                </a:cubicBezTo>
                <a:cubicBezTo>
                  <a:pt x="493" y="66"/>
                  <a:pt x="493" y="64"/>
                  <a:pt x="494" y="65"/>
                </a:cubicBezTo>
                <a:cubicBezTo>
                  <a:pt x="495" y="64"/>
                  <a:pt x="495" y="63"/>
                  <a:pt x="496" y="62"/>
                </a:cubicBezTo>
                <a:cubicBezTo>
                  <a:pt x="497" y="61"/>
                  <a:pt x="498" y="61"/>
                  <a:pt x="499" y="61"/>
                </a:cubicBezTo>
                <a:cubicBezTo>
                  <a:pt x="498" y="58"/>
                  <a:pt x="498" y="57"/>
                  <a:pt x="498" y="54"/>
                </a:cubicBezTo>
                <a:cubicBezTo>
                  <a:pt x="498" y="54"/>
                  <a:pt x="497" y="54"/>
                  <a:pt x="497" y="54"/>
                </a:cubicBezTo>
                <a:cubicBezTo>
                  <a:pt x="497" y="53"/>
                  <a:pt x="498" y="53"/>
                  <a:pt x="498" y="53"/>
                </a:cubicBezTo>
                <a:cubicBezTo>
                  <a:pt x="498" y="53"/>
                  <a:pt x="497" y="52"/>
                  <a:pt x="496" y="52"/>
                </a:cubicBezTo>
                <a:cubicBezTo>
                  <a:pt x="495" y="52"/>
                  <a:pt x="496" y="50"/>
                  <a:pt x="496" y="47"/>
                </a:cubicBezTo>
                <a:cubicBezTo>
                  <a:pt x="496" y="45"/>
                  <a:pt x="492" y="46"/>
                  <a:pt x="492" y="46"/>
                </a:cubicBezTo>
                <a:cubicBezTo>
                  <a:pt x="492" y="46"/>
                  <a:pt x="492" y="39"/>
                  <a:pt x="492" y="34"/>
                </a:cubicBezTo>
                <a:cubicBezTo>
                  <a:pt x="493" y="29"/>
                  <a:pt x="490" y="28"/>
                  <a:pt x="486" y="27"/>
                </a:cubicBezTo>
                <a:cubicBezTo>
                  <a:pt x="483" y="26"/>
                  <a:pt x="482" y="33"/>
                  <a:pt x="482" y="29"/>
                </a:cubicBezTo>
                <a:cubicBezTo>
                  <a:pt x="481" y="25"/>
                  <a:pt x="479" y="28"/>
                  <a:pt x="479" y="28"/>
                </a:cubicBezTo>
                <a:cubicBezTo>
                  <a:pt x="476" y="33"/>
                  <a:pt x="476" y="33"/>
                  <a:pt x="476" y="33"/>
                </a:cubicBezTo>
                <a:cubicBezTo>
                  <a:pt x="476" y="33"/>
                  <a:pt x="473" y="38"/>
                  <a:pt x="474" y="40"/>
                </a:cubicBezTo>
                <a:cubicBezTo>
                  <a:pt x="474" y="41"/>
                  <a:pt x="468" y="47"/>
                  <a:pt x="466" y="47"/>
                </a:cubicBezTo>
                <a:cubicBezTo>
                  <a:pt x="464" y="48"/>
                  <a:pt x="463" y="51"/>
                  <a:pt x="463" y="51"/>
                </a:cubicBezTo>
                <a:cubicBezTo>
                  <a:pt x="463" y="51"/>
                  <a:pt x="441" y="54"/>
                  <a:pt x="438" y="54"/>
                </a:cubicBezTo>
                <a:cubicBezTo>
                  <a:pt x="436" y="53"/>
                  <a:pt x="436" y="52"/>
                  <a:pt x="429" y="56"/>
                </a:cubicBezTo>
                <a:cubicBezTo>
                  <a:pt x="422" y="60"/>
                  <a:pt x="421" y="62"/>
                  <a:pt x="421" y="62"/>
                </a:cubicBezTo>
                <a:cubicBezTo>
                  <a:pt x="421" y="62"/>
                  <a:pt x="421" y="63"/>
                  <a:pt x="421" y="63"/>
                </a:cubicBezTo>
                <a:cubicBezTo>
                  <a:pt x="424" y="60"/>
                  <a:pt x="424" y="60"/>
                  <a:pt x="424" y="60"/>
                </a:cubicBezTo>
                <a:cubicBezTo>
                  <a:pt x="423" y="61"/>
                  <a:pt x="424" y="63"/>
                  <a:pt x="423" y="65"/>
                </a:cubicBezTo>
                <a:cubicBezTo>
                  <a:pt x="423" y="65"/>
                  <a:pt x="421" y="65"/>
                  <a:pt x="421" y="66"/>
                </a:cubicBezTo>
                <a:cubicBezTo>
                  <a:pt x="420" y="67"/>
                  <a:pt x="422" y="67"/>
                  <a:pt x="421" y="69"/>
                </a:cubicBezTo>
                <a:cubicBezTo>
                  <a:pt x="421" y="69"/>
                  <a:pt x="419" y="70"/>
                  <a:pt x="419" y="71"/>
                </a:cubicBezTo>
                <a:cubicBezTo>
                  <a:pt x="420" y="71"/>
                  <a:pt x="419" y="73"/>
                  <a:pt x="419" y="74"/>
                </a:cubicBezTo>
                <a:cubicBezTo>
                  <a:pt x="417" y="74"/>
                  <a:pt x="415" y="74"/>
                  <a:pt x="414" y="75"/>
                </a:cubicBezTo>
                <a:cubicBezTo>
                  <a:pt x="414" y="75"/>
                  <a:pt x="413" y="76"/>
                  <a:pt x="413" y="77"/>
                </a:cubicBezTo>
                <a:cubicBezTo>
                  <a:pt x="411" y="77"/>
                  <a:pt x="410" y="76"/>
                  <a:pt x="408" y="76"/>
                </a:cubicBezTo>
                <a:cubicBezTo>
                  <a:pt x="407" y="77"/>
                  <a:pt x="407" y="77"/>
                  <a:pt x="407" y="77"/>
                </a:cubicBezTo>
                <a:cubicBezTo>
                  <a:pt x="402" y="76"/>
                  <a:pt x="399" y="77"/>
                  <a:pt x="394" y="77"/>
                </a:cubicBezTo>
                <a:cubicBezTo>
                  <a:pt x="394" y="78"/>
                  <a:pt x="393" y="77"/>
                  <a:pt x="393" y="79"/>
                </a:cubicBezTo>
                <a:cubicBezTo>
                  <a:pt x="393" y="79"/>
                  <a:pt x="395" y="80"/>
                  <a:pt x="395" y="81"/>
                </a:cubicBezTo>
                <a:cubicBezTo>
                  <a:pt x="393" y="83"/>
                  <a:pt x="391" y="87"/>
                  <a:pt x="388" y="89"/>
                </a:cubicBezTo>
                <a:cubicBezTo>
                  <a:pt x="386" y="89"/>
                  <a:pt x="385" y="88"/>
                  <a:pt x="384" y="89"/>
                </a:cubicBezTo>
                <a:cubicBezTo>
                  <a:pt x="383" y="90"/>
                  <a:pt x="382" y="92"/>
                  <a:pt x="381" y="92"/>
                </a:cubicBezTo>
                <a:cubicBezTo>
                  <a:pt x="378" y="93"/>
                  <a:pt x="376" y="92"/>
                  <a:pt x="374" y="93"/>
                </a:cubicBezTo>
                <a:cubicBezTo>
                  <a:pt x="374" y="94"/>
                  <a:pt x="374" y="94"/>
                  <a:pt x="374" y="94"/>
                </a:cubicBezTo>
                <a:cubicBezTo>
                  <a:pt x="373" y="96"/>
                  <a:pt x="369" y="99"/>
                  <a:pt x="366" y="99"/>
                </a:cubicBezTo>
                <a:cubicBezTo>
                  <a:pt x="361" y="100"/>
                  <a:pt x="358" y="97"/>
                  <a:pt x="362" y="98"/>
                </a:cubicBezTo>
                <a:cubicBezTo>
                  <a:pt x="362" y="97"/>
                  <a:pt x="362" y="97"/>
                  <a:pt x="362" y="97"/>
                </a:cubicBezTo>
                <a:cubicBezTo>
                  <a:pt x="362" y="96"/>
                  <a:pt x="360" y="97"/>
                  <a:pt x="360" y="97"/>
                </a:cubicBezTo>
                <a:cubicBezTo>
                  <a:pt x="360" y="96"/>
                  <a:pt x="360" y="95"/>
                  <a:pt x="359" y="95"/>
                </a:cubicBezTo>
                <a:cubicBezTo>
                  <a:pt x="359" y="94"/>
                  <a:pt x="356" y="95"/>
                  <a:pt x="357" y="95"/>
                </a:cubicBezTo>
                <a:cubicBezTo>
                  <a:pt x="356" y="93"/>
                  <a:pt x="356" y="93"/>
                  <a:pt x="356" y="93"/>
                </a:cubicBezTo>
                <a:cubicBezTo>
                  <a:pt x="357" y="92"/>
                  <a:pt x="359" y="91"/>
                  <a:pt x="360" y="90"/>
                </a:cubicBezTo>
                <a:cubicBezTo>
                  <a:pt x="360" y="90"/>
                  <a:pt x="360" y="89"/>
                  <a:pt x="360" y="89"/>
                </a:cubicBezTo>
                <a:cubicBezTo>
                  <a:pt x="362" y="87"/>
                  <a:pt x="365" y="86"/>
                  <a:pt x="365" y="84"/>
                </a:cubicBezTo>
                <a:cubicBezTo>
                  <a:pt x="365" y="81"/>
                  <a:pt x="365" y="79"/>
                  <a:pt x="366" y="78"/>
                </a:cubicBezTo>
                <a:cubicBezTo>
                  <a:pt x="365" y="78"/>
                  <a:pt x="365" y="79"/>
                  <a:pt x="365" y="79"/>
                </a:cubicBezTo>
                <a:cubicBezTo>
                  <a:pt x="365" y="79"/>
                  <a:pt x="366" y="78"/>
                  <a:pt x="365" y="75"/>
                </a:cubicBezTo>
                <a:cubicBezTo>
                  <a:pt x="363" y="68"/>
                  <a:pt x="365" y="69"/>
                  <a:pt x="358" y="67"/>
                </a:cubicBezTo>
                <a:cubicBezTo>
                  <a:pt x="358" y="68"/>
                  <a:pt x="357" y="69"/>
                  <a:pt x="357" y="70"/>
                </a:cubicBezTo>
                <a:cubicBezTo>
                  <a:pt x="357" y="70"/>
                  <a:pt x="355" y="70"/>
                  <a:pt x="355" y="71"/>
                </a:cubicBezTo>
                <a:cubicBezTo>
                  <a:pt x="355" y="71"/>
                  <a:pt x="353" y="71"/>
                  <a:pt x="353" y="69"/>
                </a:cubicBezTo>
                <a:cubicBezTo>
                  <a:pt x="355" y="68"/>
                  <a:pt x="355" y="68"/>
                  <a:pt x="355" y="68"/>
                </a:cubicBezTo>
                <a:cubicBezTo>
                  <a:pt x="356" y="66"/>
                  <a:pt x="358" y="61"/>
                  <a:pt x="357" y="57"/>
                </a:cubicBezTo>
                <a:cubicBezTo>
                  <a:pt x="357" y="56"/>
                  <a:pt x="355" y="55"/>
                  <a:pt x="355" y="55"/>
                </a:cubicBezTo>
                <a:cubicBezTo>
                  <a:pt x="355" y="53"/>
                  <a:pt x="356" y="52"/>
                  <a:pt x="356" y="51"/>
                </a:cubicBezTo>
                <a:cubicBezTo>
                  <a:pt x="356" y="51"/>
                  <a:pt x="354" y="49"/>
                  <a:pt x="354" y="49"/>
                </a:cubicBezTo>
                <a:cubicBezTo>
                  <a:pt x="353" y="49"/>
                  <a:pt x="352" y="49"/>
                  <a:pt x="351" y="49"/>
                </a:cubicBezTo>
                <a:cubicBezTo>
                  <a:pt x="349" y="47"/>
                  <a:pt x="349" y="46"/>
                  <a:pt x="347" y="45"/>
                </a:cubicBezTo>
                <a:cubicBezTo>
                  <a:pt x="347" y="45"/>
                  <a:pt x="346" y="45"/>
                  <a:pt x="345" y="45"/>
                </a:cubicBezTo>
                <a:cubicBezTo>
                  <a:pt x="345" y="45"/>
                  <a:pt x="344" y="46"/>
                  <a:pt x="343" y="47"/>
                </a:cubicBezTo>
                <a:cubicBezTo>
                  <a:pt x="343" y="47"/>
                  <a:pt x="344" y="49"/>
                  <a:pt x="343" y="49"/>
                </a:cubicBezTo>
                <a:cubicBezTo>
                  <a:pt x="343" y="50"/>
                  <a:pt x="342" y="49"/>
                  <a:pt x="341" y="50"/>
                </a:cubicBezTo>
                <a:cubicBezTo>
                  <a:pt x="340" y="51"/>
                  <a:pt x="339" y="53"/>
                  <a:pt x="339" y="55"/>
                </a:cubicBezTo>
                <a:cubicBezTo>
                  <a:pt x="337" y="55"/>
                  <a:pt x="336" y="55"/>
                  <a:pt x="334" y="55"/>
                </a:cubicBezTo>
                <a:cubicBezTo>
                  <a:pt x="334" y="58"/>
                  <a:pt x="333" y="60"/>
                  <a:pt x="333" y="64"/>
                </a:cubicBezTo>
                <a:cubicBezTo>
                  <a:pt x="333" y="64"/>
                  <a:pt x="331" y="64"/>
                  <a:pt x="331" y="65"/>
                </a:cubicBezTo>
                <a:cubicBezTo>
                  <a:pt x="330" y="67"/>
                  <a:pt x="331" y="73"/>
                  <a:pt x="331" y="75"/>
                </a:cubicBezTo>
                <a:cubicBezTo>
                  <a:pt x="333" y="77"/>
                  <a:pt x="333" y="77"/>
                  <a:pt x="333" y="77"/>
                </a:cubicBezTo>
                <a:cubicBezTo>
                  <a:pt x="333" y="78"/>
                  <a:pt x="333" y="81"/>
                  <a:pt x="333" y="83"/>
                </a:cubicBezTo>
                <a:cubicBezTo>
                  <a:pt x="327" y="94"/>
                  <a:pt x="327" y="94"/>
                  <a:pt x="327" y="94"/>
                </a:cubicBezTo>
                <a:cubicBezTo>
                  <a:pt x="325" y="95"/>
                  <a:pt x="325" y="94"/>
                  <a:pt x="323" y="95"/>
                </a:cubicBezTo>
                <a:cubicBezTo>
                  <a:pt x="322" y="94"/>
                  <a:pt x="321" y="93"/>
                  <a:pt x="321" y="93"/>
                </a:cubicBezTo>
                <a:cubicBezTo>
                  <a:pt x="320" y="91"/>
                  <a:pt x="321" y="90"/>
                  <a:pt x="321" y="89"/>
                </a:cubicBezTo>
                <a:cubicBezTo>
                  <a:pt x="319" y="87"/>
                  <a:pt x="319" y="87"/>
                  <a:pt x="319" y="87"/>
                </a:cubicBezTo>
                <a:cubicBezTo>
                  <a:pt x="318" y="79"/>
                  <a:pt x="318" y="73"/>
                  <a:pt x="320" y="67"/>
                </a:cubicBezTo>
                <a:cubicBezTo>
                  <a:pt x="321" y="65"/>
                  <a:pt x="323" y="63"/>
                  <a:pt x="323" y="61"/>
                </a:cubicBezTo>
                <a:cubicBezTo>
                  <a:pt x="325" y="58"/>
                  <a:pt x="324" y="57"/>
                  <a:pt x="325" y="54"/>
                </a:cubicBezTo>
                <a:cubicBezTo>
                  <a:pt x="324" y="55"/>
                  <a:pt x="321" y="55"/>
                  <a:pt x="321" y="57"/>
                </a:cubicBezTo>
                <a:cubicBezTo>
                  <a:pt x="321" y="57"/>
                  <a:pt x="321" y="59"/>
                  <a:pt x="321" y="59"/>
                </a:cubicBezTo>
                <a:cubicBezTo>
                  <a:pt x="320" y="60"/>
                  <a:pt x="319" y="60"/>
                  <a:pt x="318" y="61"/>
                </a:cubicBezTo>
                <a:cubicBezTo>
                  <a:pt x="318" y="59"/>
                  <a:pt x="317" y="58"/>
                  <a:pt x="318" y="57"/>
                </a:cubicBezTo>
                <a:cubicBezTo>
                  <a:pt x="318" y="56"/>
                  <a:pt x="321" y="55"/>
                  <a:pt x="321" y="54"/>
                </a:cubicBezTo>
                <a:cubicBezTo>
                  <a:pt x="322" y="53"/>
                  <a:pt x="322" y="52"/>
                  <a:pt x="322" y="51"/>
                </a:cubicBezTo>
                <a:cubicBezTo>
                  <a:pt x="323" y="49"/>
                  <a:pt x="325" y="46"/>
                  <a:pt x="326" y="44"/>
                </a:cubicBezTo>
                <a:cubicBezTo>
                  <a:pt x="328" y="44"/>
                  <a:pt x="328" y="46"/>
                  <a:pt x="329" y="45"/>
                </a:cubicBezTo>
                <a:cubicBezTo>
                  <a:pt x="330" y="43"/>
                  <a:pt x="330" y="43"/>
                  <a:pt x="330" y="43"/>
                </a:cubicBezTo>
                <a:cubicBezTo>
                  <a:pt x="333" y="43"/>
                  <a:pt x="334" y="44"/>
                  <a:pt x="337" y="43"/>
                </a:cubicBezTo>
                <a:cubicBezTo>
                  <a:pt x="337" y="43"/>
                  <a:pt x="338" y="40"/>
                  <a:pt x="338" y="40"/>
                </a:cubicBezTo>
                <a:cubicBezTo>
                  <a:pt x="341" y="39"/>
                  <a:pt x="342" y="43"/>
                  <a:pt x="344" y="43"/>
                </a:cubicBezTo>
                <a:cubicBezTo>
                  <a:pt x="349" y="43"/>
                  <a:pt x="345" y="41"/>
                  <a:pt x="347" y="41"/>
                </a:cubicBezTo>
                <a:cubicBezTo>
                  <a:pt x="347" y="40"/>
                  <a:pt x="348" y="41"/>
                  <a:pt x="349" y="41"/>
                </a:cubicBezTo>
                <a:cubicBezTo>
                  <a:pt x="349" y="42"/>
                  <a:pt x="349" y="42"/>
                  <a:pt x="349" y="42"/>
                </a:cubicBezTo>
                <a:cubicBezTo>
                  <a:pt x="350" y="42"/>
                  <a:pt x="351" y="42"/>
                  <a:pt x="352" y="43"/>
                </a:cubicBezTo>
                <a:cubicBezTo>
                  <a:pt x="352" y="43"/>
                  <a:pt x="352" y="41"/>
                  <a:pt x="352" y="41"/>
                </a:cubicBezTo>
                <a:cubicBezTo>
                  <a:pt x="350" y="37"/>
                  <a:pt x="349" y="37"/>
                  <a:pt x="343" y="37"/>
                </a:cubicBezTo>
                <a:cubicBezTo>
                  <a:pt x="343" y="35"/>
                  <a:pt x="343" y="33"/>
                  <a:pt x="343" y="31"/>
                </a:cubicBezTo>
                <a:cubicBezTo>
                  <a:pt x="336" y="34"/>
                  <a:pt x="329" y="37"/>
                  <a:pt x="322" y="35"/>
                </a:cubicBezTo>
                <a:cubicBezTo>
                  <a:pt x="321" y="33"/>
                  <a:pt x="321" y="31"/>
                  <a:pt x="320" y="29"/>
                </a:cubicBezTo>
                <a:cubicBezTo>
                  <a:pt x="318" y="30"/>
                  <a:pt x="315" y="31"/>
                  <a:pt x="314" y="31"/>
                </a:cubicBezTo>
                <a:cubicBezTo>
                  <a:pt x="310" y="30"/>
                  <a:pt x="315" y="28"/>
                  <a:pt x="313" y="27"/>
                </a:cubicBezTo>
                <a:cubicBezTo>
                  <a:pt x="314" y="26"/>
                  <a:pt x="314" y="28"/>
                  <a:pt x="316" y="27"/>
                </a:cubicBezTo>
                <a:cubicBezTo>
                  <a:pt x="317" y="27"/>
                  <a:pt x="319" y="24"/>
                  <a:pt x="319" y="23"/>
                </a:cubicBezTo>
                <a:cubicBezTo>
                  <a:pt x="318" y="23"/>
                  <a:pt x="318" y="22"/>
                  <a:pt x="316" y="22"/>
                </a:cubicBezTo>
                <a:cubicBezTo>
                  <a:pt x="315" y="23"/>
                  <a:pt x="315" y="23"/>
                  <a:pt x="315" y="23"/>
                </a:cubicBezTo>
                <a:cubicBezTo>
                  <a:pt x="314" y="24"/>
                  <a:pt x="312" y="24"/>
                  <a:pt x="311" y="25"/>
                </a:cubicBezTo>
                <a:cubicBezTo>
                  <a:pt x="311" y="26"/>
                  <a:pt x="311" y="26"/>
                  <a:pt x="311" y="26"/>
                </a:cubicBezTo>
                <a:cubicBezTo>
                  <a:pt x="306" y="30"/>
                  <a:pt x="306" y="30"/>
                  <a:pt x="306" y="30"/>
                </a:cubicBezTo>
                <a:cubicBezTo>
                  <a:pt x="305" y="31"/>
                  <a:pt x="303" y="31"/>
                  <a:pt x="302" y="31"/>
                </a:cubicBezTo>
                <a:cubicBezTo>
                  <a:pt x="300" y="32"/>
                  <a:pt x="300" y="33"/>
                  <a:pt x="300" y="33"/>
                </a:cubicBezTo>
                <a:cubicBezTo>
                  <a:pt x="297" y="34"/>
                  <a:pt x="295" y="32"/>
                  <a:pt x="294" y="31"/>
                </a:cubicBezTo>
                <a:cubicBezTo>
                  <a:pt x="294" y="30"/>
                  <a:pt x="294" y="30"/>
                  <a:pt x="294" y="30"/>
                </a:cubicBezTo>
                <a:cubicBezTo>
                  <a:pt x="291" y="29"/>
                  <a:pt x="288" y="31"/>
                  <a:pt x="287" y="31"/>
                </a:cubicBezTo>
                <a:cubicBezTo>
                  <a:pt x="286" y="31"/>
                  <a:pt x="285" y="31"/>
                  <a:pt x="284" y="31"/>
                </a:cubicBezTo>
                <a:cubicBezTo>
                  <a:pt x="284" y="30"/>
                  <a:pt x="288" y="27"/>
                  <a:pt x="288" y="27"/>
                </a:cubicBezTo>
                <a:cubicBezTo>
                  <a:pt x="289" y="26"/>
                  <a:pt x="288" y="25"/>
                  <a:pt x="289" y="25"/>
                </a:cubicBezTo>
                <a:cubicBezTo>
                  <a:pt x="290" y="24"/>
                  <a:pt x="291" y="24"/>
                  <a:pt x="292" y="24"/>
                </a:cubicBezTo>
                <a:cubicBezTo>
                  <a:pt x="293" y="23"/>
                  <a:pt x="295" y="21"/>
                  <a:pt x="296" y="20"/>
                </a:cubicBezTo>
                <a:cubicBezTo>
                  <a:pt x="297" y="20"/>
                  <a:pt x="298" y="20"/>
                  <a:pt x="298" y="20"/>
                </a:cubicBezTo>
                <a:cubicBezTo>
                  <a:pt x="299" y="20"/>
                  <a:pt x="300" y="18"/>
                  <a:pt x="300" y="18"/>
                </a:cubicBezTo>
                <a:cubicBezTo>
                  <a:pt x="302" y="17"/>
                  <a:pt x="303" y="16"/>
                  <a:pt x="304" y="16"/>
                </a:cubicBezTo>
                <a:cubicBezTo>
                  <a:pt x="303" y="15"/>
                  <a:pt x="301" y="15"/>
                  <a:pt x="300" y="14"/>
                </a:cubicBezTo>
                <a:cubicBezTo>
                  <a:pt x="298" y="12"/>
                  <a:pt x="297" y="14"/>
                  <a:pt x="295" y="13"/>
                </a:cubicBezTo>
                <a:cubicBezTo>
                  <a:pt x="293" y="13"/>
                  <a:pt x="292" y="12"/>
                  <a:pt x="290" y="13"/>
                </a:cubicBezTo>
                <a:cubicBezTo>
                  <a:pt x="288" y="13"/>
                  <a:pt x="287" y="12"/>
                  <a:pt x="285" y="12"/>
                </a:cubicBezTo>
                <a:cubicBezTo>
                  <a:pt x="282" y="12"/>
                  <a:pt x="280" y="10"/>
                  <a:pt x="278" y="9"/>
                </a:cubicBezTo>
                <a:cubicBezTo>
                  <a:pt x="277" y="8"/>
                  <a:pt x="274" y="9"/>
                  <a:pt x="274" y="11"/>
                </a:cubicBezTo>
                <a:cubicBezTo>
                  <a:pt x="273" y="13"/>
                  <a:pt x="271" y="9"/>
                  <a:pt x="268" y="9"/>
                </a:cubicBezTo>
                <a:cubicBezTo>
                  <a:pt x="265" y="9"/>
                  <a:pt x="264" y="8"/>
                  <a:pt x="264" y="8"/>
                </a:cubicBezTo>
                <a:cubicBezTo>
                  <a:pt x="264" y="8"/>
                  <a:pt x="262" y="0"/>
                  <a:pt x="260" y="0"/>
                </a:cubicBezTo>
                <a:cubicBezTo>
                  <a:pt x="258" y="0"/>
                  <a:pt x="258" y="5"/>
                  <a:pt x="258" y="5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2"/>
                  <a:pt x="20" y="3"/>
                  <a:pt x="20" y="3"/>
                </a:cubicBezTo>
                <a:cubicBezTo>
                  <a:pt x="20" y="4"/>
                  <a:pt x="18" y="4"/>
                  <a:pt x="18" y="5"/>
                </a:cubicBezTo>
                <a:cubicBezTo>
                  <a:pt x="18" y="6"/>
                  <a:pt x="18" y="6"/>
                  <a:pt x="18" y="6"/>
                </a:cubicBezTo>
                <a:cubicBezTo>
                  <a:pt x="18" y="7"/>
                  <a:pt x="20" y="8"/>
                  <a:pt x="20" y="9"/>
                </a:cubicBezTo>
                <a:cubicBezTo>
                  <a:pt x="19" y="10"/>
                  <a:pt x="18" y="10"/>
                  <a:pt x="16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3" y="12"/>
                  <a:pt x="3" y="10"/>
                  <a:pt x="0" y="9"/>
                </a:cubicBezTo>
                <a:cubicBezTo>
                  <a:pt x="0" y="11"/>
                  <a:pt x="0" y="13"/>
                  <a:pt x="0" y="15"/>
                </a:cubicBezTo>
                <a:cubicBezTo>
                  <a:pt x="1" y="17"/>
                  <a:pt x="4" y="18"/>
                  <a:pt x="4" y="19"/>
                </a:cubicBezTo>
                <a:cubicBezTo>
                  <a:pt x="6" y="21"/>
                  <a:pt x="5" y="23"/>
                  <a:pt x="6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7" y="27"/>
                  <a:pt x="6" y="27"/>
                  <a:pt x="6" y="29"/>
                </a:cubicBezTo>
                <a:cubicBezTo>
                  <a:pt x="7" y="29"/>
                  <a:pt x="8" y="28"/>
                  <a:pt x="8" y="29"/>
                </a:cubicBezTo>
                <a:cubicBezTo>
                  <a:pt x="8" y="30"/>
                  <a:pt x="8" y="32"/>
                  <a:pt x="8" y="33"/>
                </a:cubicBezTo>
                <a:cubicBezTo>
                  <a:pt x="6" y="33"/>
                  <a:pt x="6" y="33"/>
                  <a:pt x="6" y="33"/>
                </a:cubicBezTo>
                <a:cubicBezTo>
                  <a:pt x="6" y="35"/>
                  <a:pt x="6" y="36"/>
                  <a:pt x="8" y="37"/>
                </a:cubicBezTo>
                <a:cubicBezTo>
                  <a:pt x="9" y="38"/>
                  <a:pt x="6" y="39"/>
                  <a:pt x="6" y="39"/>
                </a:cubicBezTo>
                <a:cubicBezTo>
                  <a:pt x="7" y="45"/>
                  <a:pt x="7" y="49"/>
                  <a:pt x="7" y="55"/>
                </a:cubicBezTo>
                <a:cubicBezTo>
                  <a:pt x="6" y="57"/>
                  <a:pt x="6" y="57"/>
                  <a:pt x="6" y="57"/>
                </a:cubicBezTo>
                <a:cubicBezTo>
                  <a:pt x="6" y="57"/>
                  <a:pt x="6" y="60"/>
                  <a:pt x="6" y="60"/>
                </a:cubicBezTo>
                <a:cubicBezTo>
                  <a:pt x="6" y="60"/>
                  <a:pt x="7" y="61"/>
                  <a:pt x="6" y="61"/>
                </a:cubicBezTo>
                <a:cubicBezTo>
                  <a:pt x="5" y="64"/>
                  <a:pt x="6" y="71"/>
                  <a:pt x="5" y="73"/>
                </a:cubicBezTo>
                <a:cubicBezTo>
                  <a:pt x="5" y="73"/>
                  <a:pt x="4" y="74"/>
                  <a:pt x="4" y="74"/>
                </a:cubicBezTo>
                <a:cubicBezTo>
                  <a:pt x="4" y="76"/>
                  <a:pt x="4" y="79"/>
                  <a:pt x="4" y="81"/>
                </a:cubicBezTo>
                <a:cubicBezTo>
                  <a:pt x="4" y="86"/>
                  <a:pt x="5" y="87"/>
                  <a:pt x="8" y="90"/>
                </a:cubicBezTo>
                <a:cubicBezTo>
                  <a:pt x="7" y="91"/>
                  <a:pt x="7" y="92"/>
                  <a:pt x="6" y="92"/>
                </a:cubicBezTo>
                <a:cubicBezTo>
                  <a:pt x="6" y="95"/>
                  <a:pt x="8" y="97"/>
                  <a:pt x="8" y="99"/>
                </a:cubicBezTo>
                <a:cubicBezTo>
                  <a:pt x="8" y="102"/>
                  <a:pt x="7" y="105"/>
                  <a:pt x="7" y="108"/>
                </a:cubicBezTo>
                <a:cubicBezTo>
                  <a:pt x="6" y="109"/>
                  <a:pt x="5" y="108"/>
                  <a:pt x="4" y="110"/>
                </a:cubicBezTo>
                <a:cubicBezTo>
                  <a:pt x="4" y="111"/>
                  <a:pt x="4" y="111"/>
                  <a:pt x="4" y="111"/>
                </a:cubicBezTo>
                <a:cubicBezTo>
                  <a:pt x="6" y="114"/>
                  <a:pt x="7" y="115"/>
                  <a:pt x="8" y="118"/>
                </a:cubicBezTo>
                <a:cubicBezTo>
                  <a:pt x="8" y="118"/>
                  <a:pt x="9" y="118"/>
                  <a:pt x="9" y="118"/>
                </a:cubicBezTo>
                <a:cubicBezTo>
                  <a:pt x="9" y="119"/>
                  <a:pt x="9" y="120"/>
                  <a:pt x="9" y="121"/>
                </a:cubicBezTo>
                <a:cubicBezTo>
                  <a:pt x="10" y="122"/>
                  <a:pt x="10" y="122"/>
                  <a:pt x="10" y="122"/>
                </a:cubicBezTo>
                <a:cubicBezTo>
                  <a:pt x="11" y="124"/>
                  <a:pt x="10" y="126"/>
                  <a:pt x="11" y="129"/>
                </a:cubicBezTo>
                <a:cubicBezTo>
                  <a:pt x="11" y="130"/>
                  <a:pt x="13" y="129"/>
                  <a:pt x="13" y="130"/>
                </a:cubicBezTo>
                <a:cubicBezTo>
                  <a:pt x="14" y="130"/>
                  <a:pt x="14" y="133"/>
                  <a:pt x="14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16" y="135"/>
                  <a:pt x="16" y="137"/>
                  <a:pt x="16" y="138"/>
                </a:cubicBezTo>
                <a:cubicBezTo>
                  <a:pt x="16" y="138"/>
                  <a:pt x="18" y="139"/>
                  <a:pt x="18" y="139"/>
                </a:cubicBezTo>
                <a:cubicBezTo>
                  <a:pt x="21" y="139"/>
                  <a:pt x="19" y="136"/>
                  <a:pt x="19" y="136"/>
                </a:cubicBezTo>
                <a:cubicBezTo>
                  <a:pt x="20" y="136"/>
                  <a:pt x="21" y="136"/>
                  <a:pt x="22" y="136"/>
                </a:cubicBezTo>
                <a:cubicBezTo>
                  <a:pt x="21" y="137"/>
                  <a:pt x="23" y="136"/>
                  <a:pt x="23" y="136"/>
                </a:cubicBezTo>
                <a:cubicBezTo>
                  <a:pt x="23" y="137"/>
                  <a:pt x="22" y="137"/>
                  <a:pt x="22" y="138"/>
                </a:cubicBezTo>
                <a:cubicBezTo>
                  <a:pt x="22" y="139"/>
                  <a:pt x="24" y="144"/>
                  <a:pt x="23" y="144"/>
                </a:cubicBezTo>
                <a:cubicBezTo>
                  <a:pt x="23" y="144"/>
                  <a:pt x="21" y="142"/>
                  <a:pt x="21" y="142"/>
                </a:cubicBezTo>
                <a:cubicBezTo>
                  <a:pt x="21" y="142"/>
                  <a:pt x="20" y="142"/>
                  <a:pt x="20" y="142"/>
                </a:cubicBezTo>
                <a:cubicBezTo>
                  <a:pt x="20" y="143"/>
                  <a:pt x="19" y="145"/>
                  <a:pt x="20" y="146"/>
                </a:cubicBezTo>
                <a:cubicBezTo>
                  <a:pt x="20" y="147"/>
                  <a:pt x="25" y="148"/>
                  <a:pt x="26" y="149"/>
                </a:cubicBezTo>
                <a:cubicBezTo>
                  <a:pt x="27" y="152"/>
                  <a:pt x="27" y="152"/>
                  <a:pt x="27" y="152"/>
                </a:cubicBezTo>
                <a:cubicBezTo>
                  <a:pt x="26" y="152"/>
                  <a:pt x="25" y="152"/>
                  <a:pt x="24" y="152"/>
                </a:cubicBezTo>
                <a:cubicBezTo>
                  <a:pt x="25" y="156"/>
                  <a:pt x="23" y="153"/>
                  <a:pt x="26" y="157"/>
                </a:cubicBezTo>
                <a:cubicBezTo>
                  <a:pt x="26" y="158"/>
                  <a:pt x="26" y="159"/>
                  <a:pt x="27" y="160"/>
                </a:cubicBezTo>
                <a:cubicBezTo>
                  <a:pt x="28" y="161"/>
                  <a:pt x="28" y="161"/>
                  <a:pt x="28" y="161"/>
                </a:cubicBezTo>
                <a:cubicBezTo>
                  <a:pt x="29" y="163"/>
                  <a:pt x="29" y="165"/>
                  <a:pt x="30" y="166"/>
                </a:cubicBezTo>
                <a:cubicBezTo>
                  <a:pt x="30" y="166"/>
                  <a:pt x="31" y="166"/>
                  <a:pt x="32" y="166"/>
                </a:cubicBezTo>
                <a:cubicBezTo>
                  <a:pt x="33" y="167"/>
                  <a:pt x="34" y="169"/>
                  <a:pt x="34" y="170"/>
                </a:cubicBezTo>
                <a:cubicBezTo>
                  <a:pt x="33" y="170"/>
                  <a:pt x="34" y="172"/>
                  <a:pt x="34" y="172"/>
                </a:cubicBezTo>
                <a:cubicBezTo>
                  <a:pt x="35" y="173"/>
                  <a:pt x="35" y="173"/>
                  <a:pt x="36" y="173"/>
                </a:cubicBezTo>
                <a:cubicBezTo>
                  <a:pt x="37" y="175"/>
                  <a:pt x="37" y="177"/>
                  <a:pt x="36" y="180"/>
                </a:cubicBezTo>
                <a:cubicBezTo>
                  <a:pt x="42" y="180"/>
                  <a:pt x="46" y="183"/>
                  <a:pt x="52" y="184"/>
                </a:cubicBezTo>
                <a:cubicBezTo>
                  <a:pt x="52" y="186"/>
                  <a:pt x="52" y="187"/>
                  <a:pt x="53" y="188"/>
                </a:cubicBezTo>
                <a:cubicBezTo>
                  <a:pt x="54" y="188"/>
                  <a:pt x="55" y="188"/>
                  <a:pt x="56" y="187"/>
                </a:cubicBezTo>
                <a:cubicBezTo>
                  <a:pt x="58" y="189"/>
                  <a:pt x="59" y="192"/>
                  <a:pt x="61" y="194"/>
                </a:cubicBezTo>
                <a:cubicBezTo>
                  <a:pt x="62" y="194"/>
                  <a:pt x="64" y="194"/>
                  <a:pt x="64" y="196"/>
                </a:cubicBezTo>
                <a:cubicBezTo>
                  <a:pt x="65" y="197"/>
                  <a:pt x="64" y="198"/>
                  <a:pt x="64" y="200"/>
                </a:cubicBezTo>
                <a:cubicBezTo>
                  <a:pt x="66" y="201"/>
                  <a:pt x="66" y="201"/>
                  <a:pt x="66" y="201"/>
                </a:cubicBezTo>
                <a:cubicBezTo>
                  <a:pt x="66" y="202"/>
                  <a:pt x="66" y="203"/>
                  <a:pt x="66" y="203"/>
                </a:cubicBezTo>
                <a:cubicBezTo>
                  <a:pt x="90" y="202"/>
                  <a:pt x="90" y="202"/>
                  <a:pt x="90" y="202"/>
                </a:cubicBezTo>
                <a:cubicBezTo>
                  <a:pt x="90" y="205"/>
                  <a:pt x="90" y="205"/>
                  <a:pt x="90" y="205"/>
                </a:cubicBezTo>
                <a:cubicBezTo>
                  <a:pt x="113" y="217"/>
                  <a:pt x="113" y="217"/>
                  <a:pt x="113" y="217"/>
                </a:cubicBezTo>
                <a:cubicBezTo>
                  <a:pt x="141" y="218"/>
                  <a:pt x="141" y="218"/>
                  <a:pt x="141" y="218"/>
                </a:cubicBezTo>
                <a:cubicBezTo>
                  <a:pt x="141" y="213"/>
                  <a:pt x="141" y="213"/>
                  <a:pt x="141" y="213"/>
                </a:cubicBezTo>
                <a:cubicBezTo>
                  <a:pt x="159" y="213"/>
                  <a:pt x="159" y="213"/>
                  <a:pt x="159" y="213"/>
                </a:cubicBezTo>
                <a:cubicBezTo>
                  <a:pt x="162" y="218"/>
                  <a:pt x="162" y="218"/>
                  <a:pt x="162" y="218"/>
                </a:cubicBezTo>
                <a:cubicBezTo>
                  <a:pt x="166" y="220"/>
                  <a:pt x="166" y="220"/>
                  <a:pt x="166" y="220"/>
                </a:cubicBezTo>
                <a:cubicBezTo>
                  <a:pt x="167" y="222"/>
                  <a:pt x="167" y="222"/>
                  <a:pt x="167" y="222"/>
                </a:cubicBezTo>
                <a:cubicBezTo>
                  <a:pt x="169" y="224"/>
                  <a:pt x="169" y="224"/>
                  <a:pt x="169" y="224"/>
                </a:cubicBezTo>
                <a:cubicBezTo>
                  <a:pt x="173" y="228"/>
                  <a:pt x="173" y="228"/>
                  <a:pt x="173" y="228"/>
                </a:cubicBezTo>
                <a:cubicBezTo>
                  <a:pt x="174" y="232"/>
                  <a:pt x="174" y="232"/>
                  <a:pt x="174" y="232"/>
                </a:cubicBezTo>
                <a:cubicBezTo>
                  <a:pt x="175" y="234"/>
                  <a:pt x="175" y="234"/>
                  <a:pt x="175" y="234"/>
                </a:cubicBezTo>
                <a:cubicBezTo>
                  <a:pt x="177" y="238"/>
                  <a:pt x="177" y="238"/>
                  <a:pt x="177" y="238"/>
                </a:cubicBezTo>
                <a:cubicBezTo>
                  <a:pt x="179" y="241"/>
                  <a:pt x="179" y="241"/>
                  <a:pt x="179" y="241"/>
                </a:cubicBezTo>
                <a:cubicBezTo>
                  <a:pt x="182" y="243"/>
                  <a:pt x="182" y="243"/>
                  <a:pt x="182" y="243"/>
                </a:cubicBezTo>
                <a:cubicBezTo>
                  <a:pt x="185" y="243"/>
                  <a:pt x="185" y="243"/>
                  <a:pt x="185" y="243"/>
                </a:cubicBezTo>
                <a:cubicBezTo>
                  <a:pt x="188" y="243"/>
                  <a:pt x="188" y="243"/>
                  <a:pt x="188" y="243"/>
                </a:cubicBezTo>
                <a:cubicBezTo>
                  <a:pt x="190" y="241"/>
                  <a:pt x="190" y="241"/>
                  <a:pt x="190" y="241"/>
                </a:cubicBezTo>
                <a:cubicBezTo>
                  <a:pt x="193" y="237"/>
                  <a:pt x="193" y="237"/>
                  <a:pt x="193" y="237"/>
                </a:cubicBezTo>
                <a:cubicBezTo>
                  <a:pt x="196" y="236"/>
                  <a:pt x="196" y="236"/>
                  <a:pt x="196" y="236"/>
                </a:cubicBezTo>
                <a:cubicBezTo>
                  <a:pt x="199" y="236"/>
                  <a:pt x="199" y="236"/>
                  <a:pt x="199" y="236"/>
                </a:cubicBezTo>
                <a:cubicBezTo>
                  <a:pt x="202" y="238"/>
                  <a:pt x="202" y="238"/>
                  <a:pt x="202" y="238"/>
                </a:cubicBezTo>
                <a:cubicBezTo>
                  <a:pt x="205" y="240"/>
                  <a:pt x="205" y="240"/>
                  <a:pt x="205" y="240"/>
                </a:cubicBezTo>
                <a:cubicBezTo>
                  <a:pt x="207" y="243"/>
                  <a:pt x="207" y="243"/>
                  <a:pt x="207" y="243"/>
                </a:cubicBezTo>
                <a:cubicBezTo>
                  <a:pt x="208" y="246"/>
                  <a:pt x="208" y="246"/>
                  <a:pt x="208" y="246"/>
                </a:cubicBezTo>
                <a:cubicBezTo>
                  <a:pt x="209" y="248"/>
                  <a:pt x="209" y="248"/>
                  <a:pt x="209" y="248"/>
                </a:cubicBezTo>
                <a:cubicBezTo>
                  <a:pt x="211" y="252"/>
                  <a:pt x="211" y="252"/>
                  <a:pt x="211" y="252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5" y="260"/>
                  <a:pt x="215" y="260"/>
                  <a:pt x="215" y="260"/>
                </a:cubicBezTo>
                <a:cubicBezTo>
                  <a:pt x="218" y="262"/>
                  <a:pt x="218" y="262"/>
                  <a:pt x="218" y="262"/>
                </a:cubicBezTo>
                <a:cubicBezTo>
                  <a:pt x="219" y="265"/>
                  <a:pt x="219" y="265"/>
                  <a:pt x="219" y="265"/>
                </a:cubicBezTo>
                <a:cubicBezTo>
                  <a:pt x="221" y="271"/>
                  <a:pt x="221" y="271"/>
                  <a:pt x="221" y="271"/>
                </a:cubicBezTo>
                <a:cubicBezTo>
                  <a:pt x="222" y="275"/>
                  <a:pt x="222" y="275"/>
                  <a:pt x="222" y="275"/>
                </a:cubicBezTo>
                <a:cubicBezTo>
                  <a:pt x="224" y="276"/>
                  <a:pt x="224" y="276"/>
                  <a:pt x="224" y="276"/>
                </a:cubicBezTo>
                <a:cubicBezTo>
                  <a:pt x="228" y="278"/>
                  <a:pt x="228" y="278"/>
                  <a:pt x="228" y="278"/>
                </a:cubicBezTo>
                <a:cubicBezTo>
                  <a:pt x="232" y="278"/>
                  <a:pt x="232" y="278"/>
                  <a:pt x="232" y="278"/>
                </a:cubicBezTo>
                <a:cubicBezTo>
                  <a:pt x="234" y="281"/>
                  <a:pt x="234" y="281"/>
                  <a:pt x="234" y="281"/>
                </a:cubicBezTo>
                <a:cubicBezTo>
                  <a:pt x="238" y="281"/>
                  <a:pt x="238" y="281"/>
                  <a:pt x="238" y="281"/>
                </a:cubicBezTo>
                <a:cubicBezTo>
                  <a:pt x="237" y="280"/>
                  <a:pt x="237" y="280"/>
                  <a:pt x="237" y="280"/>
                </a:cubicBezTo>
                <a:cubicBezTo>
                  <a:pt x="237" y="280"/>
                  <a:pt x="236" y="278"/>
                  <a:pt x="237" y="277"/>
                </a:cubicBezTo>
                <a:cubicBezTo>
                  <a:pt x="237" y="278"/>
                  <a:pt x="237" y="276"/>
                  <a:pt x="237" y="275"/>
                </a:cubicBezTo>
                <a:cubicBezTo>
                  <a:pt x="236" y="275"/>
                  <a:pt x="236" y="275"/>
                  <a:pt x="236" y="275"/>
                </a:cubicBezTo>
                <a:cubicBezTo>
                  <a:pt x="235" y="274"/>
                  <a:pt x="236" y="274"/>
                  <a:pt x="235" y="273"/>
                </a:cubicBezTo>
                <a:cubicBezTo>
                  <a:pt x="234" y="273"/>
                  <a:pt x="234" y="273"/>
                  <a:pt x="234" y="273"/>
                </a:cubicBezTo>
                <a:cubicBezTo>
                  <a:pt x="233" y="269"/>
                  <a:pt x="233" y="266"/>
                  <a:pt x="234" y="263"/>
                </a:cubicBezTo>
                <a:cubicBezTo>
                  <a:pt x="232" y="262"/>
                  <a:pt x="233" y="263"/>
                  <a:pt x="232" y="261"/>
                </a:cubicBezTo>
                <a:cubicBezTo>
                  <a:pt x="234" y="261"/>
                  <a:pt x="234" y="261"/>
                  <a:pt x="235" y="261"/>
                </a:cubicBezTo>
                <a:cubicBezTo>
                  <a:pt x="235" y="261"/>
                  <a:pt x="235" y="256"/>
                  <a:pt x="236" y="255"/>
                </a:cubicBezTo>
                <a:cubicBezTo>
                  <a:pt x="236" y="255"/>
                  <a:pt x="238" y="255"/>
                  <a:pt x="238" y="255"/>
                </a:cubicBezTo>
                <a:cubicBezTo>
                  <a:pt x="238" y="255"/>
                  <a:pt x="239" y="253"/>
                  <a:pt x="239" y="253"/>
                </a:cubicBezTo>
                <a:cubicBezTo>
                  <a:pt x="240" y="252"/>
                  <a:pt x="241" y="253"/>
                  <a:pt x="242" y="253"/>
                </a:cubicBezTo>
                <a:cubicBezTo>
                  <a:pt x="246" y="250"/>
                  <a:pt x="244" y="249"/>
                  <a:pt x="244" y="248"/>
                </a:cubicBezTo>
                <a:cubicBezTo>
                  <a:pt x="245" y="248"/>
                  <a:pt x="246" y="248"/>
                  <a:pt x="246" y="248"/>
                </a:cubicBezTo>
                <a:cubicBezTo>
                  <a:pt x="247" y="246"/>
                  <a:pt x="247" y="246"/>
                  <a:pt x="247" y="246"/>
                </a:cubicBezTo>
                <a:cubicBezTo>
                  <a:pt x="249" y="246"/>
                  <a:pt x="249" y="246"/>
                  <a:pt x="251" y="247"/>
                </a:cubicBezTo>
                <a:cubicBezTo>
                  <a:pt x="251" y="246"/>
                  <a:pt x="253" y="244"/>
                  <a:pt x="253" y="244"/>
                </a:cubicBezTo>
                <a:cubicBezTo>
                  <a:pt x="254" y="244"/>
                  <a:pt x="253" y="246"/>
                  <a:pt x="254" y="245"/>
                </a:cubicBezTo>
                <a:cubicBezTo>
                  <a:pt x="255" y="244"/>
                  <a:pt x="254" y="242"/>
                  <a:pt x="254" y="241"/>
                </a:cubicBezTo>
                <a:cubicBezTo>
                  <a:pt x="255" y="241"/>
                  <a:pt x="257" y="241"/>
                  <a:pt x="257" y="240"/>
                </a:cubicBezTo>
                <a:cubicBezTo>
                  <a:pt x="257" y="239"/>
                  <a:pt x="257" y="237"/>
                  <a:pt x="257" y="236"/>
                </a:cubicBezTo>
                <a:cubicBezTo>
                  <a:pt x="262" y="239"/>
                  <a:pt x="262" y="237"/>
                  <a:pt x="267" y="235"/>
                </a:cubicBezTo>
                <a:cubicBezTo>
                  <a:pt x="267" y="235"/>
                  <a:pt x="267" y="233"/>
                  <a:pt x="267" y="233"/>
                </a:cubicBezTo>
                <a:cubicBezTo>
                  <a:pt x="268" y="233"/>
                  <a:pt x="268" y="235"/>
                  <a:pt x="268" y="235"/>
                </a:cubicBezTo>
                <a:cubicBezTo>
                  <a:pt x="270" y="235"/>
                  <a:pt x="271" y="233"/>
                  <a:pt x="272" y="233"/>
                </a:cubicBezTo>
                <a:cubicBezTo>
                  <a:pt x="273" y="233"/>
                  <a:pt x="273" y="234"/>
                  <a:pt x="274" y="235"/>
                </a:cubicBezTo>
                <a:cubicBezTo>
                  <a:pt x="277" y="237"/>
                  <a:pt x="279" y="236"/>
                  <a:pt x="282" y="234"/>
                </a:cubicBezTo>
                <a:cubicBezTo>
                  <a:pt x="283" y="235"/>
                  <a:pt x="282" y="236"/>
                  <a:pt x="282" y="237"/>
                </a:cubicBezTo>
                <a:cubicBezTo>
                  <a:pt x="286" y="239"/>
                  <a:pt x="285" y="238"/>
                  <a:pt x="288" y="238"/>
                </a:cubicBezTo>
                <a:cubicBezTo>
                  <a:pt x="287" y="239"/>
                  <a:pt x="287" y="242"/>
                  <a:pt x="288" y="242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5" name="Google Shape;435;p102"/>
          <p:cNvSpPr/>
          <p:nvPr/>
        </p:nvSpPr>
        <p:spPr>
          <a:xfrm>
            <a:off x="4778382" y="5631238"/>
            <a:ext cx="134972" cy="146928"/>
          </a:xfrm>
          <a:custGeom>
            <a:avLst/>
            <a:gdLst/>
            <a:ahLst/>
            <a:cxnLst/>
            <a:rect l="l" t="t" r="r" b="b"/>
            <a:pathLst>
              <a:path w="47" h="53" extrusionOk="0">
                <a:moveTo>
                  <a:pt x="44" y="37"/>
                </a:moveTo>
                <a:cubicBezTo>
                  <a:pt x="43" y="35"/>
                  <a:pt x="43" y="35"/>
                  <a:pt x="43" y="35"/>
                </a:cubicBezTo>
                <a:cubicBezTo>
                  <a:pt x="47" y="29"/>
                  <a:pt x="47" y="29"/>
                  <a:pt x="47" y="29"/>
                </a:cubicBezTo>
                <a:cubicBezTo>
                  <a:pt x="47" y="29"/>
                  <a:pt x="46" y="28"/>
                  <a:pt x="44" y="27"/>
                </a:cubicBezTo>
                <a:cubicBezTo>
                  <a:pt x="41" y="26"/>
                  <a:pt x="40" y="24"/>
                  <a:pt x="40" y="21"/>
                </a:cubicBezTo>
                <a:cubicBezTo>
                  <a:pt x="39" y="18"/>
                  <a:pt x="37" y="19"/>
                  <a:pt x="34" y="17"/>
                </a:cubicBezTo>
                <a:cubicBezTo>
                  <a:pt x="31" y="15"/>
                  <a:pt x="30" y="15"/>
                  <a:pt x="29" y="13"/>
                </a:cubicBezTo>
                <a:cubicBezTo>
                  <a:pt x="27" y="10"/>
                  <a:pt x="24" y="11"/>
                  <a:pt x="23" y="9"/>
                </a:cubicBezTo>
                <a:cubicBezTo>
                  <a:pt x="22" y="7"/>
                  <a:pt x="21" y="5"/>
                  <a:pt x="21" y="5"/>
                </a:cubicBezTo>
                <a:cubicBezTo>
                  <a:pt x="13" y="0"/>
                  <a:pt x="13" y="0"/>
                  <a:pt x="13" y="0"/>
                </a:cubicBezTo>
                <a:cubicBezTo>
                  <a:pt x="7" y="2"/>
                  <a:pt x="7" y="2"/>
                  <a:pt x="7" y="2"/>
                </a:cubicBezTo>
                <a:cubicBezTo>
                  <a:pt x="7" y="2"/>
                  <a:pt x="4" y="5"/>
                  <a:pt x="5" y="8"/>
                </a:cubicBezTo>
                <a:cubicBezTo>
                  <a:pt x="6" y="12"/>
                  <a:pt x="2" y="11"/>
                  <a:pt x="3" y="15"/>
                </a:cubicBezTo>
                <a:cubicBezTo>
                  <a:pt x="4" y="19"/>
                  <a:pt x="0" y="21"/>
                  <a:pt x="1" y="23"/>
                </a:cubicBezTo>
                <a:cubicBezTo>
                  <a:pt x="2" y="25"/>
                  <a:pt x="1" y="30"/>
                  <a:pt x="1" y="30"/>
                </a:cubicBezTo>
                <a:cubicBezTo>
                  <a:pt x="2" y="30"/>
                  <a:pt x="2" y="30"/>
                  <a:pt x="2" y="30"/>
                </a:cubicBezTo>
                <a:cubicBezTo>
                  <a:pt x="1" y="35"/>
                  <a:pt x="0" y="42"/>
                  <a:pt x="3" y="45"/>
                </a:cubicBezTo>
                <a:cubicBezTo>
                  <a:pt x="4" y="45"/>
                  <a:pt x="4" y="45"/>
                  <a:pt x="4" y="45"/>
                </a:cubicBezTo>
                <a:cubicBezTo>
                  <a:pt x="4" y="45"/>
                  <a:pt x="6" y="47"/>
                  <a:pt x="6" y="47"/>
                </a:cubicBezTo>
                <a:cubicBezTo>
                  <a:pt x="7" y="47"/>
                  <a:pt x="8" y="47"/>
                  <a:pt x="9" y="47"/>
                </a:cubicBezTo>
                <a:cubicBezTo>
                  <a:pt x="10" y="48"/>
                  <a:pt x="11" y="50"/>
                  <a:pt x="12" y="51"/>
                </a:cubicBezTo>
                <a:cubicBezTo>
                  <a:pt x="12" y="51"/>
                  <a:pt x="12" y="51"/>
                  <a:pt x="12" y="51"/>
                </a:cubicBezTo>
                <a:cubicBezTo>
                  <a:pt x="14" y="52"/>
                  <a:pt x="15" y="51"/>
                  <a:pt x="16" y="52"/>
                </a:cubicBezTo>
                <a:cubicBezTo>
                  <a:pt x="17" y="53"/>
                  <a:pt x="17" y="53"/>
                  <a:pt x="17" y="53"/>
                </a:cubicBezTo>
                <a:cubicBezTo>
                  <a:pt x="20" y="53"/>
                  <a:pt x="21" y="52"/>
                  <a:pt x="22" y="52"/>
                </a:cubicBezTo>
                <a:cubicBezTo>
                  <a:pt x="25" y="51"/>
                  <a:pt x="27" y="53"/>
                  <a:pt x="27" y="53"/>
                </a:cubicBezTo>
                <a:cubicBezTo>
                  <a:pt x="30" y="53"/>
                  <a:pt x="37" y="51"/>
                  <a:pt x="38" y="50"/>
                </a:cubicBezTo>
                <a:cubicBezTo>
                  <a:pt x="38" y="48"/>
                  <a:pt x="38" y="48"/>
                  <a:pt x="38" y="48"/>
                </a:cubicBezTo>
                <a:cubicBezTo>
                  <a:pt x="39" y="47"/>
                  <a:pt x="41" y="46"/>
                  <a:pt x="42" y="44"/>
                </a:cubicBezTo>
                <a:cubicBezTo>
                  <a:pt x="42" y="43"/>
                  <a:pt x="42" y="42"/>
                  <a:pt x="42" y="40"/>
                </a:cubicBezTo>
                <a:cubicBezTo>
                  <a:pt x="43" y="40"/>
                  <a:pt x="44" y="39"/>
                  <a:pt x="45" y="38"/>
                </a:cubicBezTo>
                <a:lnTo>
                  <a:pt x="44" y="37"/>
                </a:lnTo>
                <a:close/>
              </a:path>
            </a:pathLst>
          </a:custGeom>
          <a:solidFill>
            <a:srgbClr val="CCEDEB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6" name="Google Shape;436;p102"/>
          <p:cNvSpPr/>
          <p:nvPr/>
        </p:nvSpPr>
        <p:spPr>
          <a:xfrm>
            <a:off x="6045393" y="2712453"/>
            <a:ext cx="250873" cy="418180"/>
          </a:xfrm>
          <a:custGeom>
            <a:avLst/>
            <a:gdLst/>
            <a:ahLst/>
            <a:cxnLst/>
            <a:rect l="l" t="t" r="r" b="b"/>
            <a:pathLst>
              <a:path w="87" h="151" extrusionOk="0">
                <a:moveTo>
                  <a:pt x="10" y="83"/>
                </a:moveTo>
                <a:cubicBezTo>
                  <a:pt x="10" y="83"/>
                  <a:pt x="4" y="85"/>
                  <a:pt x="5" y="88"/>
                </a:cubicBezTo>
                <a:cubicBezTo>
                  <a:pt x="6" y="91"/>
                  <a:pt x="0" y="89"/>
                  <a:pt x="1" y="92"/>
                </a:cubicBezTo>
                <a:cubicBezTo>
                  <a:pt x="2" y="94"/>
                  <a:pt x="0" y="94"/>
                  <a:pt x="3" y="94"/>
                </a:cubicBezTo>
                <a:cubicBezTo>
                  <a:pt x="6" y="94"/>
                  <a:pt x="4" y="99"/>
                  <a:pt x="6" y="97"/>
                </a:cubicBezTo>
                <a:cubicBezTo>
                  <a:pt x="9" y="95"/>
                  <a:pt x="9" y="96"/>
                  <a:pt x="9" y="96"/>
                </a:cubicBezTo>
                <a:cubicBezTo>
                  <a:pt x="10" y="98"/>
                  <a:pt x="10" y="98"/>
                  <a:pt x="10" y="98"/>
                </a:cubicBezTo>
                <a:cubicBezTo>
                  <a:pt x="14" y="97"/>
                  <a:pt x="14" y="97"/>
                  <a:pt x="14" y="97"/>
                </a:cubicBezTo>
                <a:cubicBezTo>
                  <a:pt x="14" y="97"/>
                  <a:pt x="14" y="96"/>
                  <a:pt x="14" y="96"/>
                </a:cubicBezTo>
                <a:cubicBezTo>
                  <a:pt x="15" y="95"/>
                  <a:pt x="19" y="96"/>
                  <a:pt x="21" y="95"/>
                </a:cubicBezTo>
                <a:cubicBezTo>
                  <a:pt x="19" y="92"/>
                  <a:pt x="20" y="93"/>
                  <a:pt x="19" y="88"/>
                </a:cubicBezTo>
                <a:cubicBezTo>
                  <a:pt x="19" y="88"/>
                  <a:pt x="17" y="89"/>
                  <a:pt x="16" y="88"/>
                </a:cubicBezTo>
                <a:cubicBezTo>
                  <a:pt x="17" y="87"/>
                  <a:pt x="18" y="86"/>
                  <a:pt x="18" y="84"/>
                </a:cubicBezTo>
                <a:cubicBezTo>
                  <a:pt x="13" y="81"/>
                  <a:pt x="14" y="84"/>
                  <a:pt x="9" y="86"/>
                </a:cubicBezTo>
                <a:cubicBezTo>
                  <a:pt x="7" y="86"/>
                  <a:pt x="8" y="85"/>
                  <a:pt x="10" y="84"/>
                </a:cubicBezTo>
                <a:lnTo>
                  <a:pt x="10" y="83"/>
                </a:lnTo>
                <a:close/>
                <a:moveTo>
                  <a:pt x="33" y="48"/>
                </a:moveTo>
                <a:cubicBezTo>
                  <a:pt x="34" y="48"/>
                  <a:pt x="32" y="45"/>
                  <a:pt x="33" y="43"/>
                </a:cubicBezTo>
                <a:cubicBezTo>
                  <a:pt x="33" y="42"/>
                  <a:pt x="35" y="42"/>
                  <a:pt x="36" y="41"/>
                </a:cubicBezTo>
                <a:cubicBezTo>
                  <a:pt x="37" y="41"/>
                  <a:pt x="37" y="41"/>
                  <a:pt x="37" y="41"/>
                </a:cubicBezTo>
                <a:cubicBezTo>
                  <a:pt x="37" y="40"/>
                  <a:pt x="38" y="39"/>
                  <a:pt x="38" y="38"/>
                </a:cubicBezTo>
                <a:cubicBezTo>
                  <a:pt x="39" y="37"/>
                  <a:pt x="41" y="37"/>
                  <a:pt x="41" y="36"/>
                </a:cubicBezTo>
                <a:cubicBezTo>
                  <a:pt x="43" y="32"/>
                  <a:pt x="39" y="29"/>
                  <a:pt x="35" y="30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1" y="32"/>
                  <a:pt x="31" y="32"/>
                  <a:pt x="31" y="32"/>
                </a:cubicBezTo>
                <a:cubicBezTo>
                  <a:pt x="31" y="32"/>
                  <a:pt x="31" y="34"/>
                  <a:pt x="31" y="34"/>
                </a:cubicBezTo>
                <a:cubicBezTo>
                  <a:pt x="28" y="35"/>
                  <a:pt x="32" y="32"/>
                  <a:pt x="30" y="31"/>
                </a:cubicBezTo>
                <a:cubicBezTo>
                  <a:pt x="29" y="31"/>
                  <a:pt x="28" y="31"/>
                  <a:pt x="27" y="31"/>
                </a:cubicBezTo>
                <a:cubicBezTo>
                  <a:pt x="27" y="33"/>
                  <a:pt x="27" y="34"/>
                  <a:pt x="27" y="36"/>
                </a:cubicBezTo>
                <a:cubicBezTo>
                  <a:pt x="27" y="37"/>
                  <a:pt x="24" y="39"/>
                  <a:pt x="24" y="40"/>
                </a:cubicBezTo>
                <a:cubicBezTo>
                  <a:pt x="24" y="40"/>
                  <a:pt x="24" y="43"/>
                  <a:pt x="24" y="42"/>
                </a:cubicBezTo>
                <a:cubicBezTo>
                  <a:pt x="25" y="42"/>
                  <a:pt x="23" y="43"/>
                  <a:pt x="25" y="42"/>
                </a:cubicBezTo>
                <a:cubicBezTo>
                  <a:pt x="25" y="43"/>
                  <a:pt x="24" y="44"/>
                  <a:pt x="24" y="44"/>
                </a:cubicBezTo>
                <a:cubicBezTo>
                  <a:pt x="23" y="44"/>
                  <a:pt x="22" y="44"/>
                  <a:pt x="20" y="44"/>
                </a:cubicBezTo>
                <a:cubicBezTo>
                  <a:pt x="21" y="45"/>
                  <a:pt x="20" y="45"/>
                  <a:pt x="20" y="46"/>
                </a:cubicBezTo>
                <a:cubicBezTo>
                  <a:pt x="21" y="45"/>
                  <a:pt x="21" y="47"/>
                  <a:pt x="21" y="48"/>
                </a:cubicBezTo>
                <a:cubicBezTo>
                  <a:pt x="20" y="48"/>
                  <a:pt x="19" y="48"/>
                  <a:pt x="18" y="48"/>
                </a:cubicBezTo>
                <a:cubicBezTo>
                  <a:pt x="20" y="50"/>
                  <a:pt x="23" y="53"/>
                  <a:pt x="19" y="54"/>
                </a:cubicBezTo>
                <a:cubicBezTo>
                  <a:pt x="18" y="55"/>
                  <a:pt x="22" y="58"/>
                  <a:pt x="21" y="58"/>
                </a:cubicBezTo>
                <a:cubicBezTo>
                  <a:pt x="20" y="57"/>
                  <a:pt x="19" y="62"/>
                  <a:pt x="19" y="63"/>
                </a:cubicBezTo>
                <a:cubicBezTo>
                  <a:pt x="19" y="64"/>
                  <a:pt x="19" y="64"/>
                  <a:pt x="19" y="64"/>
                </a:cubicBezTo>
                <a:cubicBezTo>
                  <a:pt x="20" y="64"/>
                  <a:pt x="25" y="63"/>
                  <a:pt x="24" y="64"/>
                </a:cubicBezTo>
                <a:cubicBezTo>
                  <a:pt x="25" y="63"/>
                  <a:pt x="24" y="65"/>
                  <a:pt x="24" y="66"/>
                </a:cubicBezTo>
                <a:cubicBezTo>
                  <a:pt x="24" y="66"/>
                  <a:pt x="22" y="66"/>
                  <a:pt x="22" y="66"/>
                </a:cubicBezTo>
                <a:cubicBezTo>
                  <a:pt x="22" y="66"/>
                  <a:pt x="19" y="68"/>
                  <a:pt x="21" y="68"/>
                </a:cubicBezTo>
                <a:cubicBezTo>
                  <a:pt x="21" y="68"/>
                  <a:pt x="21" y="70"/>
                  <a:pt x="21" y="70"/>
                </a:cubicBezTo>
                <a:cubicBezTo>
                  <a:pt x="20" y="69"/>
                  <a:pt x="20" y="73"/>
                  <a:pt x="20" y="74"/>
                </a:cubicBezTo>
                <a:cubicBezTo>
                  <a:pt x="21" y="73"/>
                  <a:pt x="21" y="72"/>
                  <a:pt x="22" y="71"/>
                </a:cubicBezTo>
                <a:cubicBezTo>
                  <a:pt x="22" y="71"/>
                  <a:pt x="23" y="70"/>
                  <a:pt x="24" y="70"/>
                </a:cubicBezTo>
                <a:cubicBezTo>
                  <a:pt x="24" y="70"/>
                  <a:pt x="23" y="72"/>
                  <a:pt x="25" y="71"/>
                </a:cubicBezTo>
                <a:cubicBezTo>
                  <a:pt x="25" y="71"/>
                  <a:pt x="25" y="70"/>
                  <a:pt x="26" y="70"/>
                </a:cubicBezTo>
                <a:cubicBezTo>
                  <a:pt x="26" y="70"/>
                  <a:pt x="28" y="74"/>
                  <a:pt x="26" y="73"/>
                </a:cubicBezTo>
                <a:cubicBezTo>
                  <a:pt x="27" y="79"/>
                  <a:pt x="26" y="80"/>
                  <a:pt x="24" y="86"/>
                </a:cubicBezTo>
                <a:cubicBezTo>
                  <a:pt x="25" y="87"/>
                  <a:pt x="25" y="86"/>
                  <a:pt x="26" y="86"/>
                </a:cubicBezTo>
                <a:cubicBezTo>
                  <a:pt x="27" y="86"/>
                  <a:pt x="27" y="88"/>
                  <a:pt x="28" y="88"/>
                </a:cubicBezTo>
                <a:cubicBezTo>
                  <a:pt x="28" y="88"/>
                  <a:pt x="29" y="89"/>
                  <a:pt x="29" y="89"/>
                </a:cubicBezTo>
                <a:cubicBezTo>
                  <a:pt x="30" y="88"/>
                  <a:pt x="29" y="87"/>
                  <a:pt x="30" y="86"/>
                </a:cubicBezTo>
                <a:cubicBezTo>
                  <a:pt x="33" y="89"/>
                  <a:pt x="40" y="84"/>
                  <a:pt x="42" y="86"/>
                </a:cubicBezTo>
                <a:cubicBezTo>
                  <a:pt x="35" y="92"/>
                  <a:pt x="38" y="93"/>
                  <a:pt x="45" y="93"/>
                </a:cubicBezTo>
                <a:cubicBezTo>
                  <a:pt x="45" y="96"/>
                  <a:pt x="45" y="97"/>
                  <a:pt x="45" y="99"/>
                </a:cubicBezTo>
                <a:cubicBezTo>
                  <a:pt x="45" y="99"/>
                  <a:pt x="43" y="101"/>
                  <a:pt x="43" y="102"/>
                </a:cubicBezTo>
                <a:cubicBezTo>
                  <a:pt x="43" y="103"/>
                  <a:pt x="44" y="104"/>
                  <a:pt x="44" y="105"/>
                </a:cubicBezTo>
                <a:cubicBezTo>
                  <a:pt x="43" y="105"/>
                  <a:pt x="42" y="105"/>
                  <a:pt x="42" y="105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35" y="106"/>
                  <a:pt x="35" y="106"/>
                  <a:pt x="35" y="106"/>
                </a:cubicBezTo>
                <a:cubicBezTo>
                  <a:pt x="35" y="106"/>
                  <a:pt x="35" y="105"/>
                  <a:pt x="34" y="105"/>
                </a:cubicBezTo>
                <a:cubicBezTo>
                  <a:pt x="34" y="105"/>
                  <a:pt x="34" y="103"/>
                  <a:pt x="34" y="103"/>
                </a:cubicBezTo>
                <a:cubicBezTo>
                  <a:pt x="33" y="102"/>
                  <a:pt x="31" y="103"/>
                  <a:pt x="30" y="102"/>
                </a:cubicBezTo>
                <a:cubicBezTo>
                  <a:pt x="30" y="103"/>
                  <a:pt x="30" y="104"/>
                  <a:pt x="29" y="104"/>
                </a:cubicBezTo>
                <a:cubicBezTo>
                  <a:pt x="29" y="104"/>
                  <a:pt x="30" y="107"/>
                  <a:pt x="30" y="107"/>
                </a:cubicBezTo>
                <a:cubicBezTo>
                  <a:pt x="31" y="107"/>
                  <a:pt x="32" y="107"/>
                  <a:pt x="33" y="107"/>
                </a:cubicBezTo>
                <a:cubicBezTo>
                  <a:pt x="32" y="108"/>
                  <a:pt x="28" y="113"/>
                  <a:pt x="26" y="114"/>
                </a:cubicBezTo>
                <a:cubicBezTo>
                  <a:pt x="24" y="114"/>
                  <a:pt x="31" y="113"/>
                  <a:pt x="32" y="113"/>
                </a:cubicBezTo>
                <a:cubicBezTo>
                  <a:pt x="32" y="120"/>
                  <a:pt x="33" y="117"/>
                  <a:pt x="29" y="120"/>
                </a:cubicBezTo>
                <a:cubicBezTo>
                  <a:pt x="29" y="120"/>
                  <a:pt x="29" y="122"/>
                  <a:pt x="28" y="122"/>
                </a:cubicBezTo>
                <a:cubicBezTo>
                  <a:pt x="27" y="123"/>
                  <a:pt x="25" y="123"/>
                  <a:pt x="23" y="124"/>
                </a:cubicBezTo>
                <a:cubicBezTo>
                  <a:pt x="23" y="126"/>
                  <a:pt x="23" y="125"/>
                  <a:pt x="24" y="127"/>
                </a:cubicBezTo>
                <a:cubicBezTo>
                  <a:pt x="22" y="127"/>
                  <a:pt x="23" y="128"/>
                  <a:pt x="23" y="128"/>
                </a:cubicBezTo>
                <a:cubicBezTo>
                  <a:pt x="23" y="128"/>
                  <a:pt x="25" y="128"/>
                  <a:pt x="26" y="128"/>
                </a:cubicBezTo>
                <a:cubicBezTo>
                  <a:pt x="26" y="128"/>
                  <a:pt x="23" y="131"/>
                  <a:pt x="26" y="130"/>
                </a:cubicBezTo>
                <a:cubicBezTo>
                  <a:pt x="28" y="130"/>
                  <a:pt x="26" y="130"/>
                  <a:pt x="28" y="130"/>
                </a:cubicBezTo>
                <a:cubicBezTo>
                  <a:pt x="28" y="129"/>
                  <a:pt x="28" y="129"/>
                  <a:pt x="28" y="129"/>
                </a:cubicBezTo>
                <a:cubicBezTo>
                  <a:pt x="29" y="128"/>
                  <a:pt x="28" y="129"/>
                  <a:pt x="28" y="128"/>
                </a:cubicBezTo>
                <a:cubicBezTo>
                  <a:pt x="29" y="128"/>
                  <a:pt x="30" y="128"/>
                  <a:pt x="31" y="128"/>
                </a:cubicBezTo>
                <a:cubicBezTo>
                  <a:pt x="31" y="128"/>
                  <a:pt x="31" y="130"/>
                  <a:pt x="31" y="130"/>
                </a:cubicBezTo>
                <a:cubicBezTo>
                  <a:pt x="29" y="129"/>
                  <a:pt x="31" y="132"/>
                  <a:pt x="34" y="131"/>
                </a:cubicBezTo>
                <a:cubicBezTo>
                  <a:pt x="34" y="131"/>
                  <a:pt x="36" y="129"/>
                  <a:pt x="37" y="128"/>
                </a:cubicBezTo>
                <a:cubicBezTo>
                  <a:pt x="35" y="127"/>
                  <a:pt x="39" y="128"/>
                  <a:pt x="38" y="129"/>
                </a:cubicBezTo>
                <a:cubicBezTo>
                  <a:pt x="39" y="129"/>
                  <a:pt x="40" y="130"/>
                  <a:pt x="41" y="131"/>
                </a:cubicBezTo>
                <a:cubicBezTo>
                  <a:pt x="42" y="130"/>
                  <a:pt x="41" y="129"/>
                  <a:pt x="42" y="128"/>
                </a:cubicBezTo>
                <a:cubicBezTo>
                  <a:pt x="49" y="127"/>
                  <a:pt x="46" y="127"/>
                  <a:pt x="44" y="134"/>
                </a:cubicBezTo>
                <a:cubicBezTo>
                  <a:pt x="40" y="134"/>
                  <a:pt x="32" y="132"/>
                  <a:pt x="30" y="133"/>
                </a:cubicBezTo>
                <a:cubicBezTo>
                  <a:pt x="30" y="134"/>
                  <a:pt x="30" y="134"/>
                  <a:pt x="30" y="134"/>
                </a:cubicBezTo>
                <a:cubicBezTo>
                  <a:pt x="28" y="135"/>
                  <a:pt x="28" y="138"/>
                  <a:pt x="26" y="140"/>
                </a:cubicBezTo>
                <a:cubicBezTo>
                  <a:pt x="26" y="141"/>
                  <a:pt x="24" y="142"/>
                  <a:pt x="23" y="143"/>
                </a:cubicBezTo>
                <a:cubicBezTo>
                  <a:pt x="22" y="144"/>
                  <a:pt x="23" y="145"/>
                  <a:pt x="22" y="146"/>
                </a:cubicBezTo>
                <a:cubicBezTo>
                  <a:pt x="20" y="147"/>
                  <a:pt x="18" y="147"/>
                  <a:pt x="17" y="147"/>
                </a:cubicBezTo>
                <a:cubicBezTo>
                  <a:pt x="17" y="148"/>
                  <a:pt x="17" y="149"/>
                  <a:pt x="17" y="149"/>
                </a:cubicBezTo>
                <a:cubicBezTo>
                  <a:pt x="21" y="151"/>
                  <a:pt x="20" y="150"/>
                  <a:pt x="23" y="151"/>
                </a:cubicBezTo>
                <a:cubicBezTo>
                  <a:pt x="24" y="150"/>
                  <a:pt x="25" y="148"/>
                  <a:pt x="26" y="146"/>
                </a:cubicBezTo>
                <a:cubicBezTo>
                  <a:pt x="26" y="146"/>
                  <a:pt x="27" y="147"/>
                  <a:pt x="27" y="147"/>
                </a:cubicBezTo>
                <a:cubicBezTo>
                  <a:pt x="28" y="146"/>
                  <a:pt x="27" y="146"/>
                  <a:pt x="28" y="145"/>
                </a:cubicBezTo>
                <a:cubicBezTo>
                  <a:pt x="30" y="144"/>
                  <a:pt x="32" y="144"/>
                  <a:pt x="35" y="144"/>
                </a:cubicBezTo>
                <a:cubicBezTo>
                  <a:pt x="35" y="145"/>
                  <a:pt x="35" y="146"/>
                  <a:pt x="36" y="146"/>
                </a:cubicBezTo>
                <a:cubicBezTo>
                  <a:pt x="38" y="145"/>
                  <a:pt x="40" y="141"/>
                  <a:pt x="43" y="141"/>
                </a:cubicBezTo>
                <a:cubicBezTo>
                  <a:pt x="46" y="140"/>
                  <a:pt x="48" y="143"/>
                  <a:pt x="51" y="143"/>
                </a:cubicBezTo>
                <a:cubicBezTo>
                  <a:pt x="51" y="143"/>
                  <a:pt x="51" y="141"/>
                  <a:pt x="51" y="141"/>
                </a:cubicBezTo>
                <a:cubicBezTo>
                  <a:pt x="52" y="140"/>
                  <a:pt x="53" y="140"/>
                  <a:pt x="54" y="140"/>
                </a:cubicBezTo>
                <a:cubicBezTo>
                  <a:pt x="54" y="139"/>
                  <a:pt x="54" y="139"/>
                  <a:pt x="54" y="139"/>
                </a:cubicBezTo>
                <a:cubicBezTo>
                  <a:pt x="58" y="138"/>
                  <a:pt x="57" y="140"/>
                  <a:pt x="60" y="140"/>
                </a:cubicBezTo>
                <a:cubicBezTo>
                  <a:pt x="62" y="140"/>
                  <a:pt x="65" y="138"/>
                  <a:pt x="68" y="138"/>
                </a:cubicBezTo>
                <a:cubicBezTo>
                  <a:pt x="70" y="138"/>
                  <a:pt x="71" y="141"/>
                  <a:pt x="72" y="141"/>
                </a:cubicBezTo>
                <a:cubicBezTo>
                  <a:pt x="73" y="139"/>
                  <a:pt x="73" y="139"/>
                  <a:pt x="73" y="139"/>
                </a:cubicBezTo>
                <a:cubicBezTo>
                  <a:pt x="74" y="139"/>
                  <a:pt x="75" y="139"/>
                  <a:pt x="76" y="139"/>
                </a:cubicBezTo>
                <a:cubicBezTo>
                  <a:pt x="76" y="139"/>
                  <a:pt x="76" y="137"/>
                  <a:pt x="77" y="137"/>
                </a:cubicBezTo>
                <a:cubicBezTo>
                  <a:pt x="78" y="136"/>
                  <a:pt x="78" y="136"/>
                  <a:pt x="80" y="136"/>
                </a:cubicBezTo>
                <a:cubicBezTo>
                  <a:pt x="80" y="136"/>
                  <a:pt x="79" y="134"/>
                  <a:pt x="80" y="134"/>
                </a:cubicBezTo>
                <a:cubicBezTo>
                  <a:pt x="83" y="133"/>
                  <a:pt x="75" y="133"/>
                  <a:pt x="74" y="134"/>
                </a:cubicBezTo>
                <a:cubicBezTo>
                  <a:pt x="74" y="133"/>
                  <a:pt x="73" y="132"/>
                  <a:pt x="74" y="132"/>
                </a:cubicBezTo>
                <a:cubicBezTo>
                  <a:pt x="74" y="132"/>
                  <a:pt x="73" y="130"/>
                  <a:pt x="73" y="130"/>
                </a:cubicBezTo>
                <a:cubicBezTo>
                  <a:pt x="74" y="129"/>
                  <a:pt x="75" y="130"/>
                  <a:pt x="76" y="130"/>
                </a:cubicBezTo>
                <a:cubicBezTo>
                  <a:pt x="76" y="128"/>
                  <a:pt x="76" y="128"/>
                  <a:pt x="76" y="128"/>
                </a:cubicBezTo>
                <a:cubicBezTo>
                  <a:pt x="77" y="128"/>
                  <a:pt x="80" y="128"/>
                  <a:pt x="81" y="128"/>
                </a:cubicBezTo>
                <a:cubicBezTo>
                  <a:pt x="81" y="127"/>
                  <a:pt x="81" y="126"/>
                  <a:pt x="81" y="126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4" y="123"/>
                  <a:pt x="87" y="115"/>
                  <a:pt x="83" y="113"/>
                </a:cubicBezTo>
                <a:cubicBezTo>
                  <a:pt x="81" y="112"/>
                  <a:pt x="78" y="112"/>
                  <a:pt x="76" y="112"/>
                </a:cubicBezTo>
                <a:cubicBezTo>
                  <a:pt x="75" y="112"/>
                  <a:pt x="74" y="114"/>
                  <a:pt x="75" y="114"/>
                </a:cubicBezTo>
                <a:cubicBezTo>
                  <a:pt x="76" y="114"/>
                  <a:pt x="73" y="116"/>
                  <a:pt x="73" y="116"/>
                </a:cubicBezTo>
                <a:cubicBezTo>
                  <a:pt x="73" y="116"/>
                  <a:pt x="72" y="114"/>
                  <a:pt x="72" y="112"/>
                </a:cubicBezTo>
                <a:cubicBezTo>
                  <a:pt x="72" y="112"/>
                  <a:pt x="72" y="111"/>
                  <a:pt x="73" y="111"/>
                </a:cubicBezTo>
                <a:cubicBezTo>
                  <a:pt x="73" y="110"/>
                  <a:pt x="72" y="107"/>
                  <a:pt x="72" y="107"/>
                </a:cubicBezTo>
                <a:cubicBezTo>
                  <a:pt x="70" y="105"/>
                  <a:pt x="69" y="103"/>
                  <a:pt x="67" y="100"/>
                </a:cubicBezTo>
                <a:cubicBezTo>
                  <a:pt x="70" y="103"/>
                  <a:pt x="70" y="103"/>
                  <a:pt x="70" y="103"/>
                </a:cubicBezTo>
                <a:cubicBezTo>
                  <a:pt x="71" y="103"/>
                  <a:pt x="72" y="103"/>
                  <a:pt x="72" y="103"/>
                </a:cubicBezTo>
                <a:cubicBezTo>
                  <a:pt x="72" y="102"/>
                  <a:pt x="72" y="102"/>
                  <a:pt x="72" y="101"/>
                </a:cubicBezTo>
                <a:cubicBezTo>
                  <a:pt x="72" y="101"/>
                  <a:pt x="72" y="101"/>
                  <a:pt x="72" y="101"/>
                </a:cubicBezTo>
                <a:cubicBezTo>
                  <a:pt x="70" y="100"/>
                  <a:pt x="69" y="97"/>
                  <a:pt x="68" y="96"/>
                </a:cubicBezTo>
                <a:cubicBezTo>
                  <a:pt x="67" y="96"/>
                  <a:pt x="66" y="96"/>
                  <a:pt x="65" y="96"/>
                </a:cubicBezTo>
                <a:cubicBezTo>
                  <a:pt x="63" y="94"/>
                  <a:pt x="63" y="91"/>
                  <a:pt x="62" y="90"/>
                </a:cubicBezTo>
                <a:cubicBezTo>
                  <a:pt x="61" y="89"/>
                  <a:pt x="60" y="90"/>
                  <a:pt x="60" y="90"/>
                </a:cubicBezTo>
                <a:cubicBezTo>
                  <a:pt x="59" y="89"/>
                  <a:pt x="56" y="86"/>
                  <a:pt x="56" y="86"/>
                </a:cubicBezTo>
                <a:cubicBezTo>
                  <a:pt x="56" y="84"/>
                  <a:pt x="56" y="82"/>
                  <a:pt x="56" y="80"/>
                </a:cubicBezTo>
                <a:cubicBezTo>
                  <a:pt x="55" y="80"/>
                  <a:pt x="54" y="80"/>
                  <a:pt x="54" y="80"/>
                </a:cubicBezTo>
                <a:cubicBezTo>
                  <a:pt x="53" y="79"/>
                  <a:pt x="54" y="78"/>
                  <a:pt x="54" y="78"/>
                </a:cubicBezTo>
                <a:cubicBezTo>
                  <a:pt x="53" y="76"/>
                  <a:pt x="49" y="75"/>
                  <a:pt x="49" y="74"/>
                </a:cubicBezTo>
                <a:cubicBezTo>
                  <a:pt x="48" y="73"/>
                  <a:pt x="49" y="72"/>
                  <a:pt x="48" y="71"/>
                </a:cubicBezTo>
                <a:cubicBezTo>
                  <a:pt x="46" y="71"/>
                  <a:pt x="44" y="71"/>
                  <a:pt x="43" y="71"/>
                </a:cubicBezTo>
                <a:cubicBezTo>
                  <a:pt x="44" y="71"/>
                  <a:pt x="44" y="69"/>
                  <a:pt x="45" y="68"/>
                </a:cubicBezTo>
                <a:cubicBezTo>
                  <a:pt x="46" y="68"/>
                  <a:pt x="46" y="69"/>
                  <a:pt x="47" y="68"/>
                </a:cubicBezTo>
                <a:cubicBezTo>
                  <a:pt x="46" y="65"/>
                  <a:pt x="46" y="65"/>
                  <a:pt x="44" y="62"/>
                </a:cubicBezTo>
                <a:cubicBezTo>
                  <a:pt x="46" y="62"/>
                  <a:pt x="46" y="62"/>
                  <a:pt x="46" y="62"/>
                </a:cubicBezTo>
                <a:cubicBezTo>
                  <a:pt x="46" y="62"/>
                  <a:pt x="46" y="60"/>
                  <a:pt x="46" y="60"/>
                </a:cubicBezTo>
                <a:cubicBezTo>
                  <a:pt x="47" y="59"/>
                  <a:pt x="50" y="58"/>
                  <a:pt x="50" y="56"/>
                </a:cubicBezTo>
                <a:cubicBezTo>
                  <a:pt x="51" y="55"/>
                  <a:pt x="50" y="54"/>
                  <a:pt x="50" y="52"/>
                </a:cubicBezTo>
                <a:cubicBezTo>
                  <a:pt x="50" y="51"/>
                  <a:pt x="52" y="48"/>
                  <a:pt x="52" y="47"/>
                </a:cubicBezTo>
                <a:cubicBezTo>
                  <a:pt x="52" y="47"/>
                  <a:pt x="50" y="45"/>
                  <a:pt x="50" y="45"/>
                </a:cubicBezTo>
                <a:cubicBezTo>
                  <a:pt x="48" y="45"/>
                  <a:pt x="46" y="47"/>
                  <a:pt x="45" y="46"/>
                </a:cubicBezTo>
                <a:cubicBezTo>
                  <a:pt x="45" y="46"/>
                  <a:pt x="42" y="45"/>
                  <a:pt x="41" y="45"/>
                </a:cubicBezTo>
                <a:cubicBezTo>
                  <a:pt x="41" y="45"/>
                  <a:pt x="40" y="46"/>
                  <a:pt x="40" y="46"/>
                </a:cubicBezTo>
                <a:cubicBezTo>
                  <a:pt x="38" y="47"/>
                  <a:pt x="38" y="47"/>
                  <a:pt x="36" y="47"/>
                </a:cubicBezTo>
                <a:cubicBezTo>
                  <a:pt x="37" y="47"/>
                  <a:pt x="34" y="48"/>
                  <a:pt x="34" y="48"/>
                </a:cubicBezTo>
                <a:cubicBezTo>
                  <a:pt x="35" y="49"/>
                  <a:pt x="34" y="48"/>
                  <a:pt x="33" y="48"/>
                </a:cubicBezTo>
                <a:close/>
                <a:moveTo>
                  <a:pt x="55" y="141"/>
                </a:moveTo>
                <a:cubicBezTo>
                  <a:pt x="53" y="141"/>
                  <a:pt x="56" y="142"/>
                  <a:pt x="56" y="142"/>
                </a:cubicBezTo>
                <a:cubicBezTo>
                  <a:pt x="56" y="142"/>
                  <a:pt x="57" y="140"/>
                  <a:pt x="55" y="141"/>
                </a:cubicBezTo>
                <a:close/>
                <a:moveTo>
                  <a:pt x="20" y="76"/>
                </a:moveTo>
                <a:cubicBezTo>
                  <a:pt x="20" y="76"/>
                  <a:pt x="20" y="79"/>
                  <a:pt x="20" y="80"/>
                </a:cubicBezTo>
                <a:cubicBezTo>
                  <a:pt x="21" y="80"/>
                  <a:pt x="21" y="80"/>
                  <a:pt x="21" y="80"/>
                </a:cubicBezTo>
                <a:cubicBezTo>
                  <a:pt x="21" y="79"/>
                  <a:pt x="21" y="76"/>
                  <a:pt x="20" y="76"/>
                </a:cubicBezTo>
                <a:close/>
                <a:moveTo>
                  <a:pt x="15" y="76"/>
                </a:moveTo>
                <a:cubicBezTo>
                  <a:pt x="16" y="78"/>
                  <a:pt x="16" y="78"/>
                  <a:pt x="16" y="78"/>
                </a:cubicBezTo>
                <a:cubicBezTo>
                  <a:pt x="15" y="77"/>
                  <a:pt x="16" y="76"/>
                  <a:pt x="15" y="76"/>
                </a:cubicBezTo>
                <a:close/>
                <a:moveTo>
                  <a:pt x="18" y="68"/>
                </a:moveTo>
                <a:cubicBezTo>
                  <a:pt x="17" y="69"/>
                  <a:pt x="17" y="72"/>
                  <a:pt x="17" y="72"/>
                </a:cubicBezTo>
                <a:cubicBezTo>
                  <a:pt x="17" y="72"/>
                  <a:pt x="17" y="73"/>
                  <a:pt x="18" y="72"/>
                </a:cubicBezTo>
                <a:cubicBezTo>
                  <a:pt x="19" y="72"/>
                  <a:pt x="19" y="67"/>
                  <a:pt x="18" y="68"/>
                </a:cubicBezTo>
                <a:close/>
                <a:moveTo>
                  <a:pt x="12" y="68"/>
                </a:moveTo>
                <a:cubicBezTo>
                  <a:pt x="13" y="70"/>
                  <a:pt x="13" y="70"/>
                  <a:pt x="13" y="70"/>
                </a:cubicBezTo>
                <a:cubicBezTo>
                  <a:pt x="13" y="69"/>
                  <a:pt x="14" y="68"/>
                  <a:pt x="12" y="68"/>
                </a:cubicBezTo>
                <a:close/>
                <a:moveTo>
                  <a:pt x="14" y="62"/>
                </a:moveTo>
                <a:cubicBezTo>
                  <a:pt x="14" y="64"/>
                  <a:pt x="14" y="64"/>
                  <a:pt x="14" y="64"/>
                </a:cubicBezTo>
                <a:cubicBezTo>
                  <a:pt x="15" y="63"/>
                  <a:pt x="14" y="66"/>
                  <a:pt x="14" y="66"/>
                </a:cubicBezTo>
                <a:cubicBezTo>
                  <a:pt x="11" y="66"/>
                  <a:pt x="15" y="67"/>
                  <a:pt x="16" y="68"/>
                </a:cubicBezTo>
                <a:cubicBezTo>
                  <a:pt x="16" y="67"/>
                  <a:pt x="16" y="67"/>
                  <a:pt x="16" y="67"/>
                </a:cubicBezTo>
                <a:cubicBezTo>
                  <a:pt x="18" y="66"/>
                  <a:pt x="17" y="65"/>
                  <a:pt x="18" y="64"/>
                </a:cubicBezTo>
                <a:cubicBezTo>
                  <a:pt x="17" y="64"/>
                  <a:pt x="16" y="63"/>
                  <a:pt x="16" y="62"/>
                </a:cubicBezTo>
                <a:cubicBezTo>
                  <a:pt x="15" y="62"/>
                  <a:pt x="14" y="63"/>
                  <a:pt x="14" y="62"/>
                </a:cubicBezTo>
                <a:close/>
                <a:moveTo>
                  <a:pt x="3" y="50"/>
                </a:moveTo>
                <a:cubicBezTo>
                  <a:pt x="4" y="53"/>
                  <a:pt x="4" y="53"/>
                  <a:pt x="4" y="53"/>
                </a:cubicBezTo>
                <a:cubicBezTo>
                  <a:pt x="5" y="53"/>
                  <a:pt x="7" y="49"/>
                  <a:pt x="3" y="50"/>
                </a:cubicBezTo>
                <a:close/>
                <a:moveTo>
                  <a:pt x="14" y="46"/>
                </a:moveTo>
                <a:cubicBezTo>
                  <a:pt x="14" y="46"/>
                  <a:pt x="14" y="48"/>
                  <a:pt x="14" y="48"/>
                </a:cubicBezTo>
                <a:cubicBezTo>
                  <a:pt x="14" y="48"/>
                  <a:pt x="12" y="48"/>
                  <a:pt x="12" y="48"/>
                </a:cubicBezTo>
                <a:cubicBezTo>
                  <a:pt x="13" y="52"/>
                  <a:pt x="13" y="54"/>
                  <a:pt x="14" y="57"/>
                </a:cubicBezTo>
                <a:cubicBezTo>
                  <a:pt x="16" y="57"/>
                  <a:pt x="16" y="57"/>
                  <a:pt x="16" y="57"/>
                </a:cubicBezTo>
                <a:cubicBezTo>
                  <a:pt x="16" y="57"/>
                  <a:pt x="16" y="59"/>
                  <a:pt x="16" y="59"/>
                </a:cubicBezTo>
                <a:cubicBezTo>
                  <a:pt x="17" y="59"/>
                  <a:pt x="17" y="59"/>
                  <a:pt x="17" y="59"/>
                </a:cubicBezTo>
                <a:cubicBezTo>
                  <a:pt x="17" y="59"/>
                  <a:pt x="17" y="57"/>
                  <a:pt x="17" y="57"/>
                </a:cubicBezTo>
                <a:cubicBezTo>
                  <a:pt x="18" y="58"/>
                  <a:pt x="18" y="55"/>
                  <a:pt x="18" y="55"/>
                </a:cubicBezTo>
                <a:cubicBezTo>
                  <a:pt x="17" y="55"/>
                  <a:pt x="16" y="55"/>
                  <a:pt x="15" y="54"/>
                </a:cubicBezTo>
                <a:cubicBezTo>
                  <a:pt x="14" y="50"/>
                  <a:pt x="15" y="53"/>
                  <a:pt x="15" y="48"/>
                </a:cubicBezTo>
                <a:cubicBezTo>
                  <a:pt x="15" y="48"/>
                  <a:pt x="15" y="46"/>
                  <a:pt x="14" y="46"/>
                </a:cubicBezTo>
                <a:close/>
                <a:moveTo>
                  <a:pt x="4" y="46"/>
                </a:moveTo>
                <a:cubicBezTo>
                  <a:pt x="4" y="48"/>
                  <a:pt x="4" y="48"/>
                  <a:pt x="4" y="48"/>
                </a:cubicBezTo>
                <a:cubicBezTo>
                  <a:pt x="8" y="47"/>
                  <a:pt x="7" y="47"/>
                  <a:pt x="4" y="46"/>
                </a:cubicBezTo>
                <a:close/>
                <a:moveTo>
                  <a:pt x="15" y="32"/>
                </a:moveTo>
                <a:cubicBezTo>
                  <a:pt x="11" y="34"/>
                  <a:pt x="11" y="34"/>
                  <a:pt x="11" y="34"/>
                </a:cubicBezTo>
                <a:cubicBezTo>
                  <a:pt x="10" y="35"/>
                  <a:pt x="11" y="36"/>
                  <a:pt x="10" y="37"/>
                </a:cubicBezTo>
                <a:cubicBezTo>
                  <a:pt x="10" y="37"/>
                  <a:pt x="9" y="36"/>
                  <a:pt x="9" y="36"/>
                </a:cubicBezTo>
                <a:cubicBezTo>
                  <a:pt x="9" y="38"/>
                  <a:pt x="11" y="40"/>
                  <a:pt x="10" y="40"/>
                </a:cubicBezTo>
                <a:cubicBezTo>
                  <a:pt x="8" y="42"/>
                  <a:pt x="9" y="42"/>
                  <a:pt x="8" y="46"/>
                </a:cubicBezTo>
                <a:cubicBezTo>
                  <a:pt x="9" y="45"/>
                  <a:pt x="10" y="44"/>
                  <a:pt x="11" y="44"/>
                </a:cubicBezTo>
                <a:cubicBezTo>
                  <a:pt x="11" y="43"/>
                  <a:pt x="11" y="43"/>
                  <a:pt x="11" y="43"/>
                </a:cubicBezTo>
                <a:cubicBezTo>
                  <a:pt x="11" y="43"/>
                  <a:pt x="13" y="43"/>
                  <a:pt x="14" y="43"/>
                </a:cubicBezTo>
                <a:cubicBezTo>
                  <a:pt x="15" y="42"/>
                  <a:pt x="14" y="40"/>
                  <a:pt x="14" y="38"/>
                </a:cubicBezTo>
                <a:cubicBezTo>
                  <a:pt x="15" y="37"/>
                  <a:pt x="19" y="32"/>
                  <a:pt x="15" y="32"/>
                </a:cubicBezTo>
                <a:close/>
                <a:moveTo>
                  <a:pt x="60" y="5"/>
                </a:moveTo>
                <a:cubicBezTo>
                  <a:pt x="59" y="5"/>
                  <a:pt x="58" y="9"/>
                  <a:pt x="58" y="9"/>
                </a:cubicBezTo>
                <a:cubicBezTo>
                  <a:pt x="58" y="9"/>
                  <a:pt x="56" y="9"/>
                  <a:pt x="56" y="9"/>
                </a:cubicBezTo>
                <a:cubicBezTo>
                  <a:pt x="56" y="11"/>
                  <a:pt x="58" y="12"/>
                  <a:pt x="58" y="11"/>
                </a:cubicBezTo>
                <a:cubicBezTo>
                  <a:pt x="58" y="11"/>
                  <a:pt x="59" y="11"/>
                  <a:pt x="59" y="11"/>
                </a:cubicBezTo>
                <a:cubicBezTo>
                  <a:pt x="58" y="11"/>
                  <a:pt x="60" y="13"/>
                  <a:pt x="60" y="13"/>
                </a:cubicBezTo>
                <a:cubicBezTo>
                  <a:pt x="60" y="13"/>
                  <a:pt x="61" y="12"/>
                  <a:pt x="61" y="12"/>
                </a:cubicBezTo>
                <a:cubicBezTo>
                  <a:pt x="61" y="10"/>
                  <a:pt x="59" y="7"/>
                  <a:pt x="61" y="6"/>
                </a:cubicBezTo>
                <a:cubicBezTo>
                  <a:pt x="61" y="5"/>
                  <a:pt x="61" y="5"/>
                  <a:pt x="61" y="5"/>
                </a:cubicBezTo>
                <a:lnTo>
                  <a:pt x="60" y="5"/>
                </a:lnTo>
                <a:close/>
                <a:moveTo>
                  <a:pt x="65" y="0"/>
                </a:moveTo>
                <a:cubicBezTo>
                  <a:pt x="66" y="1"/>
                  <a:pt x="66" y="1"/>
                  <a:pt x="66" y="1"/>
                </a:cubicBezTo>
                <a:cubicBezTo>
                  <a:pt x="65" y="0"/>
                  <a:pt x="66" y="0"/>
                  <a:pt x="65" y="0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658BB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7" name="Google Shape;437;p102"/>
          <p:cNvSpPr/>
          <p:nvPr/>
        </p:nvSpPr>
        <p:spPr>
          <a:xfrm>
            <a:off x="7509706" y="3934500"/>
            <a:ext cx="132038" cy="89005"/>
          </a:xfrm>
          <a:custGeom>
            <a:avLst/>
            <a:gdLst/>
            <a:ahLst/>
            <a:cxnLst/>
            <a:rect l="l" t="t" r="r" b="b"/>
            <a:pathLst>
              <a:path w="46" h="32" extrusionOk="0">
                <a:moveTo>
                  <a:pt x="46" y="9"/>
                </a:moveTo>
                <a:cubicBezTo>
                  <a:pt x="46" y="8"/>
                  <a:pt x="46" y="6"/>
                  <a:pt x="46" y="4"/>
                </a:cubicBezTo>
                <a:cubicBezTo>
                  <a:pt x="43" y="4"/>
                  <a:pt x="43" y="4"/>
                  <a:pt x="43" y="4"/>
                </a:cubicBezTo>
                <a:cubicBezTo>
                  <a:pt x="43" y="1"/>
                  <a:pt x="43" y="1"/>
                  <a:pt x="43" y="1"/>
                </a:cubicBezTo>
                <a:cubicBezTo>
                  <a:pt x="42" y="0"/>
                  <a:pt x="42" y="0"/>
                  <a:pt x="42" y="0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2"/>
                  <a:pt x="39" y="4"/>
                  <a:pt x="37" y="5"/>
                </a:cubicBezTo>
                <a:cubicBezTo>
                  <a:pt x="36" y="7"/>
                  <a:pt x="35" y="10"/>
                  <a:pt x="33" y="12"/>
                </a:cubicBezTo>
                <a:cubicBezTo>
                  <a:pt x="31" y="13"/>
                  <a:pt x="29" y="14"/>
                  <a:pt x="27" y="15"/>
                </a:cubicBezTo>
                <a:cubicBezTo>
                  <a:pt x="26" y="16"/>
                  <a:pt x="26" y="16"/>
                  <a:pt x="26" y="16"/>
                </a:cubicBezTo>
                <a:cubicBezTo>
                  <a:pt x="25" y="17"/>
                  <a:pt x="25" y="16"/>
                  <a:pt x="24" y="16"/>
                </a:cubicBezTo>
                <a:cubicBezTo>
                  <a:pt x="24" y="16"/>
                  <a:pt x="24" y="18"/>
                  <a:pt x="24" y="18"/>
                </a:cubicBezTo>
                <a:cubicBezTo>
                  <a:pt x="21" y="19"/>
                  <a:pt x="17" y="15"/>
                  <a:pt x="15" y="15"/>
                </a:cubicBezTo>
                <a:cubicBezTo>
                  <a:pt x="12" y="15"/>
                  <a:pt x="13" y="17"/>
                  <a:pt x="12" y="18"/>
                </a:cubicBezTo>
                <a:cubicBezTo>
                  <a:pt x="9" y="18"/>
                  <a:pt x="8" y="17"/>
                  <a:pt x="6" y="17"/>
                </a:cubicBezTo>
                <a:cubicBezTo>
                  <a:pt x="6" y="16"/>
                  <a:pt x="6" y="15"/>
                  <a:pt x="6" y="15"/>
                </a:cubicBezTo>
                <a:cubicBezTo>
                  <a:pt x="4" y="14"/>
                  <a:pt x="3" y="15"/>
                  <a:pt x="2" y="14"/>
                </a:cubicBezTo>
                <a:cubicBezTo>
                  <a:pt x="3" y="13"/>
                  <a:pt x="3" y="11"/>
                  <a:pt x="3" y="10"/>
                </a:cubicBezTo>
                <a:cubicBezTo>
                  <a:pt x="0" y="9"/>
                  <a:pt x="0" y="9"/>
                  <a:pt x="0" y="9"/>
                </a:cubicBezTo>
                <a:cubicBezTo>
                  <a:pt x="0" y="13"/>
                  <a:pt x="0" y="13"/>
                  <a:pt x="0" y="13"/>
                </a:cubicBezTo>
                <a:cubicBezTo>
                  <a:pt x="5" y="18"/>
                  <a:pt x="5" y="18"/>
                  <a:pt x="5" y="1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7"/>
                  <a:pt x="32" y="32"/>
                  <a:pt x="34" y="32"/>
                </a:cubicBezTo>
                <a:cubicBezTo>
                  <a:pt x="36" y="32"/>
                  <a:pt x="37" y="31"/>
                  <a:pt x="37" y="31"/>
                </a:cubicBezTo>
                <a:cubicBezTo>
                  <a:pt x="37" y="31"/>
                  <a:pt x="37" y="28"/>
                  <a:pt x="39" y="25"/>
                </a:cubicBezTo>
                <a:cubicBezTo>
                  <a:pt x="41" y="22"/>
                  <a:pt x="40" y="18"/>
                  <a:pt x="40" y="18"/>
                </a:cubicBezTo>
                <a:cubicBezTo>
                  <a:pt x="38" y="19"/>
                  <a:pt x="38" y="17"/>
                  <a:pt x="39" y="15"/>
                </a:cubicBezTo>
                <a:cubicBezTo>
                  <a:pt x="41" y="14"/>
                  <a:pt x="42" y="13"/>
                  <a:pt x="42" y="13"/>
                </a:cubicBezTo>
                <a:cubicBezTo>
                  <a:pt x="42" y="13"/>
                  <a:pt x="40" y="12"/>
                  <a:pt x="40" y="11"/>
                </a:cubicBezTo>
                <a:cubicBezTo>
                  <a:pt x="40" y="9"/>
                  <a:pt x="41" y="8"/>
                  <a:pt x="42" y="9"/>
                </a:cubicBezTo>
                <a:cubicBezTo>
                  <a:pt x="43" y="10"/>
                  <a:pt x="43" y="12"/>
                  <a:pt x="44" y="11"/>
                </a:cubicBezTo>
                <a:cubicBezTo>
                  <a:pt x="44" y="9"/>
                  <a:pt x="46" y="9"/>
                  <a:pt x="46" y="9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8" name="Google Shape;438;p102"/>
          <p:cNvSpPr/>
          <p:nvPr/>
        </p:nvSpPr>
        <p:spPr>
          <a:xfrm>
            <a:off x="6825495" y="3041628"/>
            <a:ext cx="428391" cy="296682"/>
          </a:xfrm>
          <a:custGeom>
            <a:avLst/>
            <a:gdLst/>
            <a:ahLst/>
            <a:cxnLst/>
            <a:rect l="l" t="t" r="r" b="b"/>
            <a:pathLst>
              <a:path w="149" h="107" extrusionOk="0">
                <a:moveTo>
                  <a:pt x="136" y="71"/>
                </a:moveTo>
                <a:cubicBezTo>
                  <a:pt x="134" y="71"/>
                  <a:pt x="133" y="71"/>
                  <a:pt x="132" y="71"/>
                </a:cubicBezTo>
                <a:cubicBezTo>
                  <a:pt x="132" y="71"/>
                  <a:pt x="131" y="71"/>
                  <a:pt x="131" y="71"/>
                </a:cubicBezTo>
                <a:cubicBezTo>
                  <a:pt x="130" y="72"/>
                  <a:pt x="129" y="73"/>
                  <a:pt x="128" y="74"/>
                </a:cubicBezTo>
                <a:cubicBezTo>
                  <a:pt x="127" y="74"/>
                  <a:pt x="127" y="73"/>
                  <a:pt x="126" y="74"/>
                </a:cubicBezTo>
                <a:cubicBezTo>
                  <a:pt x="125" y="74"/>
                  <a:pt x="123" y="74"/>
                  <a:pt x="122" y="75"/>
                </a:cubicBezTo>
                <a:cubicBezTo>
                  <a:pt x="121" y="75"/>
                  <a:pt x="121" y="77"/>
                  <a:pt x="121" y="77"/>
                </a:cubicBezTo>
                <a:cubicBezTo>
                  <a:pt x="119" y="78"/>
                  <a:pt x="118" y="77"/>
                  <a:pt x="116" y="78"/>
                </a:cubicBezTo>
                <a:cubicBezTo>
                  <a:pt x="116" y="78"/>
                  <a:pt x="114" y="80"/>
                  <a:pt x="114" y="80"/>
                </a:cubicBezTo>
                <a:cubicBezTo>
                  <a:pt x="111" y="80"/>
                  <a:pt x="112" y="78"/>
                  <a:pt x="111" y="78"/>
                </a:cubicBezTo>
                <a:cubicBezTo>
                  <a:pt x="111" y="79"/>
                  <a:pt x="111" y="79"/>
                  <a:pt x="111" y="79"/>
                </a:cubicBezTo>
                <a:cubicBezTo>
                  <a:pt x="109" y="80"/>
                  <a:pt x="107" y="81"/>
                  <a:pt x="105" y="82"/>
                </a:cubicBezTo>
                <a:cubicBezTo>
                  <a:pt x="105" y="84"/>
                  <a:pt x="105" y="84"/>
                  <a:pt x="105" y="84"/>
                </a:cubicBezTo>
                <a:cubicBezTo>
                  <a:pt x="103" y="84"/>
                  <a:pt x="100" y="84"/>
                  <a:pt x="98" y="84"/>
                </a:cubicBezTo>
                <a:cubicBezTo>
                  <a:pt x="98" y="82"/>
                  <a:pt x="98" y="82"/>
                  <a:pt x="98" y="82"/>
                </a:cubicBezTo>
                <a:cubicBezTo>
                  <a:pt x="97" y="82"/>
                  <a:pt x="95" y="82"/>
                  <a:pt x="93" y="82"/>
                </a:cubicBezTo>
                <a:cubicBezTo>
                  <a:pt x="94" y="83"/>
                  <a:pt x="93" y="84"/>
                  <a:pt x="93" y="85"/>
                </a:cubicBezTo>
                <a:cubicBezTo>
                  <a:pt x="93" y="85"/>
                  <a:pt x="95" y="86"/>
                  <a:pt x="95" y="87"/>
                </a:cubicBezTo>
                <a:cubicBezTo>
                  <a:pt x="96" y="87"/>
                  <a:pt x="97" y="87"/>
                  <a:pt x="97" y="87"/>
                </a:cubicBezTo>
                <a:cubicBezTo>
                  <a:pt x="98" y="87"/>
                  <a:pt x="98" y="89"/>
                  <a:pt x="98" y="89"/>
                </a:cubicBezTo>
                <a:cubicBezTo>
                  <a:pt x="99" y="90"/>
                  <a:pt x="101" y="89"/>
                  <a:pt x="101" y="90"/>
                </a:cubicBezTo>
                <a:cubicBezTo>
                  <a:pt x="102" y="91"/>
                  <a:pt x="99" y="92"/>
                  <a:pt x="102" y="94"/>
                </a:cubicBezTo>
                <a:cubicBezTo>
                  <a:pt x="102" y="95"/>
                  <a:pt x="102" y="95"/>
                  <a:pt x="102" y="95"/>
                </a:cubicBezTo>
                <a:cubicBezTo>
                  <a:pt x="104" y="95"/>
                  <a:pt x="105" y="94"/>
                  <a:pt x="107" y="94"/>
                </a:cubicBezTo>
                <a:cubicBezTo>
                  <a:pt x="107" y="94"/>
                  <a:pt x="110" y="95"/>
                  <a:pt x="111" y="95"/>
                </a:cubicBezTo>
                <a:cubicBezTo>
                  <a:pt x="112" y="95"/>
                  <a:pt x="113" y="94"/>
                  <a:pt x="114" y="94"/>
                </a:cubicBezTo>
                <a:cubicBezTo>
                  <a:pt x="114" y="94"/>
                  <a:pt x="116" y="94"/>
                  <a:pt x="115" y="94"/>
                </a:cubicBezTo>
                <a:cubicBezTo>
                  <a:pt x="115" y="94"/>
                  <a:pt x="116" y="97"/>
                  <a:pt x="115" y="98"/>
                </a:cubicBezTo>
                <a:cubicBezTo>
                  <a:pt x="113" y="100"/>
                  <a:pt x="108" y="99"/>
                  <a:pt x="107" y="99"/>
                </a:cubicBezTo>
                <a:cubicBezTo>
                  <a:pt x="106" y="99"/>
                  <a:pt x="104" y="101"/>
                  <a:pt x="103" y="102"/>
                </a:cubicBezTo>
                <a:cubicBezTo>
                  <a:pt x="98" y="104"/>
                  <a:pt x="93" y="105"/>
                  <a:pt x="89" y="107"/>
                </a:cubicBezTo>
                <a:cubicBezTo>
                  <a:pt x="91" y="103"/>
                  <a:pt x="90" y="102"/>
                  <a:pt x="89" y="97"/>
                </a:cubicBezTo>
                <a:cubicBezTo>
                  <a:pt x="88" y="96"/>
                  <a:pt x="86" y="95"/>
                  <a:pt x="85" y="95"/>
                </a:cubicBezTo>
                <a:cubicBezTo>
                  <a:pt x="81" y="96"/>
                  <a:pt x="81" y="96"/>
                  <a:pt x="81" y="96"/>
                </a:cubicBezTo>
                <a:cubicBezTo>
                  <a:pt x="81" y="94"/>
                  <a:pt x="81" y="94"/>
                  <a:pt x="81" y="94"/>
                </a:cubicBezTo>
                <a:cubicBezTo>
                  <a:pt x="82" y="93"/>
                  <a:pt x="83" y="93"/>
                  <a:pt x="83" y="92"/>
                </a:cubicBezTo>
                <a:cubicBezTo>
                  <a:pt x="89" y="89"/>
                  <a:pt x="89" y="89"/>
                  <a:pt x="89" y="89"/>
                </a:cubicBezTo>
                <a:cubicBezTo>
                  <a:pt x="91" y="89"/>
                  <a:pt x="91" y="90"/>
                  <a:pt x="93" y="90"/>
                </a:cubicBezTo>
                <a:cubicBezTo>
                  <a:pt x="92" y="88"/>
                  <a:pt x="93" y="88"/>
                  <a:pt x="92" y="88"/>
                </a:cubicBezTo>
                <a:cubicBezTo>
                  <a:pt x="91" y="85"/>
                  <a:pt x="91" y="85"/>
                  <a:pt x="91" y="85"/>
                </a:cubicBezTo>
                <a:cubicBezTo>
                  <a:pt x="90" y="85"/>
                  <a:pt x="90" y="86"/>
                  <a:pt x="89" y="86"/>
                </a:cubicBezTo>
                <a:cubicBezTo>
                  <a:pt x="88" y="84"/>
                  <a:pt x="88" y="84"/>
                  <a:pt x="88" y="84"/>
                </a:cubicBezTo>
                <a:cubicBezTo>
                  <a:pt x="87" y="84"/>
                  <a:pt x="85" y="84"/>
                  <a:pt x="83" y="84"/>
                </a:cubicBezTo>
                <a:cubicBezTo>
                  <a:pt x="82" y="85"/>
                  <a:pt x="83" y="87"/>
                  <a:pt x="82" y="87"/>
                </a:cubicBezTo>
                <a:cubicBezTo>
                  <a:pt x="81" y="87"/>
                  <a:pt x="81" y="87"/>
                  <a:pt x="81" y="87"/>
                </a:cubicBezTo>
                <a:cubicBezTo>
                  <a:pt x="80" y="87"/>
                  <a:pt x="79" y="85"/>
                  <a:pt x="79" y="84"/>
                </a:cubicBezTo>
                <a:cubicBezTo>
                  <a:pt x="78" y="84"/>
                  <a:pt x="77" y="85"/>
                  <a:pt x="76" y="84"/>
                </a:cubicBezTo>
                <a:cubicBezTo>
                  <a:pt x="76" y="83"/>
                  <a:pt x="76" y="83"/>
                  <a:pt x="76" y="83"/>
                </a:cubicBezTo>
                <a:cubicBezTo>
                  <a:pt x="75" y="83"/>
                  <a:pt x="74" y="83"/>
                  <a:pt x="73" y="82"/>
                </a:cubicBezTo>
                <a:cubicBezTo>
                  <a:pt x="73" y="81"/>
                  <a:pt x="73" y="81"/>
                  <a:pt x="73" y="81"/>
                </a:cubicBezTo>
                <a:cubicBezTo>
                  <a:pt x="75" y="81"/>
                  <a:pt x="77" y="81"/>
                  <a:pt x="78" y="81"/>
                </a:cubicBezTo>
                <a:cubicBezTo>
                  <a:pt x="78" y="81"/>
                  <a:pt x="79" y="79"/>
                  <a:pt x="76" y="80"/>
                </a:cubicBezTo>
                <a:cubicBezTo>
                  <a:pt x="76" y="79"/>
                  <a:pt x="75" y="77"/>
                  <a:pt x="75" y="77"/>
                </a:cubicBezTo>
                <a:cubicBezTo>
                  <a:pt x="74" y="77"/>
                  <a:pt x="74" y="78"/>
                  <a:pt x="74" y="79"/>
                </a:cubicBezTo>
                <a:cubicBezTo>
                  <a:pt x="72" y="79"/>
                  <a:pt x="69" y="79"/>
                  <a:pt x="67" y="79"/>
                </a:cubicBezTo>
                <a:cubicBezTo>
                  <a:pt x="66" y="80"/>
                  <a:pt x="66" y="80"/>
                  <a:pt x="66" y="80"/>
                </a:cubicBezTo>
                <a:cubicBezTo>
                  <a:pt x="65" y="80"/>
                  <a:pt x="65" y="80"/>
                  <a:pt x="65" y="80"/>
                </a:cubicBezTo>
                <a:cubicBezTo>
                  <a:pt x="64" y="81"/>
                  <a:pt x="64" y="82"/>
                  <a:pt x="63" y="84"/>
                </a:cubicBezTo>
                <a:cubicBezTo>
                  <a:pt x="58" y="77"/>
                  <a:pt x="58" y="77"/>
                  <a:pt x="58" y="77"/>
                </a:cubicBezTo>
                <a:cubicBezTo>
                  <a:pt x="58" y="77"/>
                  <a:pt x="54" y="75"/>
                  <a:pt x="55" y="71"/>
                </a:cubicBezTo>
                <a:cubicBezTo>
                  <a:pt x="55" y="69"/>
                  <a:pt x="55" y="69"/>
                  <a:pt x="54" y="66"/>
                </a:cubicBezTo>
                <a:cubicBezTo>
                  <a:pt x="52" y="64"/>
                  <a:pt x="51" y="65"/>
                  <a:pt x="52" y="62"/>
                </a:cubicBezTo>
                <a:cubicBezTo>
                  <a:pt x="52" y="59"/>
                  <a:pt x="50" y="57"/>
                  <a:pt x="49" y="56"/>
                </a:cubicBezTo>
                <a:cubicBezTo>
                  <a:pt x="47" y="55"/>
                  <a:pt x="46" y="54"/>
                  <a:pt x="45" y="53"/>
                </a:cubicBezTo>
                <a:cubicBezTo>
                  <a:pt x="43" y="52"/>
                  <a:pt x="42" y="51"/>
                  <a:pt x="40" y="50"/>
                </a:cubicBezTo>
                <a:cubicBezTo>
                  <a:pt x="39" y="50"/>
                  <a:pt x="36" y="49"/>
                  <a:pt x="35" y="50"/>
                </a:cubicBezTo>
                <a:cubicBezTo>
                  <a:pt x="34" y="51"/>
                  <a:pt x="30" y="50"/>
                  <a:pt x="30" y="53"/>
                </a:cubicBezTo>
                <a:cubicBezTo>
                  <a:pt x="30" y="53"/>
                  <a:pt x="27" y="54"/>
                  <a:pt x="27" y="56"/>
                </a:cubicBezTo>
                <a:cubicBezTo>
                  <a:pt x="26" y="58"/>
                  <a:pt x="25" y="58"/>
                  <a:pt x="23" y="58"/>
                </a:cubicBezTo>
                <a:cubicBezTo>
                  <a:pt x="21" y="58"/>
                  <a:pt x="21" y="60"/>
                  <a:pt x="18" y="61"/>
                </a:cubicBezTo>
                <a:cubicBezTo>
                  <a:pt x="16" y="62"/>
                  <a:pt x="16" y="62"/>
                  <a:pt x="15" y="60"/>
                </a:cubicBezTo>
                <a:cubicBezTo>
                  <a:pt x="13" y="58"/>
                  <a:pt x="12" y="58"/>
                  <a:pt x="9" y="58"/>
                </a:cubicBezTo>
                <a:cubicBezTo>
                  <a:pt x="6" y="58"/>
                  <a:pt x="5" y="58"/>
                  <a:pt x="4" y="56"/>
                </a:cubicBezTo>
                <a:cubicBezTo>
                  <a:pt x="3" y="54"/>
                  <a:pt x="0" y="55"/>
                  <a:pt x="0" y="55"/>
                </a:cubicBezTo>
                <a:cubicBezTo>
                  <a:pt x="2" y="50"/>
                  <a:pt x="2" y="50"/>
                  <a:pt x="2" y="50"/>
                </a:cubicBezTo>
                <a:cubicBezTo>
                  <a:pt x="5" y="49"/>
                  <a:pt x="5" y="49"/>
                  <a:pt x="5" y="49"/>
                </a:cubicBezTo>
                <a:cubicBezTo>
                  <a:pt x="5" y="49"/>
                  <a:pt x="10" y="47"/>
                  <a:pt x="10" y="45"/>
                </a:cubicBezTo>
                <a:cubicBezTo>
                  <a:pt x="9" y="43"/>
                  <a:pt x="7" y="41"/>
                  <a:pt x="9" y="39"/>
                </a:cubicBezTo>
                <a:cubicBezTo>
                  <a:pt x="10" y="37"/>
                  <a:pt x="10" y="36"/>
                  <a:pt x="11" y="34"/>
                </a:cubicBezTo>
                <a:cubicBezTo>
                  <a:pt x="12" y="32"/>
                  <a:pt x="13" y="29"/>
                  <a:pt x="13" y="29"/>
                </a:cubicBezTo>
                <a:cubicBezTo>
                  <a:pt x="13" y="29"/>
                  <a:pt x="9" y="24"/>
                  <a:pt x="10" y="22"/>
                </a:cubicBezTo>
                <a:cubicBezTo>
                  <a:pt x="11" y="20"/>
                  <a:pt x="12" y="19"/>
                  <a:pt x="12" y="16"/>
                </a:cubicBezTo>
                <a:cubicBezTo>
                  <a:pt x="11" y="13"/>
                  <a:pt x="13" y="14"/>
                  <a:pt x="12" y="13"/>
                </a:cubicBezTo>
                <a:cubicBezTo>
                  <a:pt x="11" y="11"/>
                  <a:pt x="9" y="8"/>
                  <a:pt x="12" y="7"/>
                </a:cubicBezTo>
                <a:cubicBezTo>
                  <a:pt x="12" y="7"/>
                  <a:pt x="15" y="4"/>
                  <a:pt x="16" y="8"/>
                </a:cubicBezTo>
                <a:cubicBezTo>
                  <a:pt x="17" y="11"/>
                  <a:pt x="20" y="6"/>
                  <a:pt x="20" y="6"/>
                </a:cubicBezTo>
                <a:cubicBezTo>
                  <a:pt x="20" y="6"/>
                  <a:pt x="24" y="5"/>
                  <a:pt x="26" y="5"/>
                </a:cubicBezTo>
                <a:cubicBezTo>
                  <a:pt x="29" y="6"/>
                  <a:pt x="33" y="6"/>
                  <a:pt x="35" y="7"/>
                </a:cubicBezTo>
                <a:cubicBezTo>
                  <a:pt x="38" y="8"/>
                  <a:pt x="40" y="7"/>
                  <a:pt x="43" y="7"/>
                </a:cubicBezTo>
                <a:cubicBezTo>
                  <a:pt x="45" y="7"/>
                  <a:pt x="46" y="7"/>
                  <a:pt x="46" y="7"/>
                </a:cubicBezTo>
                <a:cubicBezTo>
                  <a:pt x="47" y="9"/>
                  <a:pt x="47" y="9"/>
                  <a:pt x="47" y="9"/>
                </a:cubicBezTo>
                <a:cubicBezTo>
                  <a:pt x="47" y="9"/>
                  <a:pt x="48" y="7"/>
                  <a:pt x="48" y="6"/>
                </a:cubicBezTo>
                <a:cubicBezTo>
                  <a:pt x="49" y="6"/>
                  <a:pt x="50" y="9"/>
                  <a:pt x="52" y="8"/>
                </a:cubicBezTo>
                <a:cubicBezTo>
                  <a:pt x="54" y="6"/>
                  <a:pt x="54" y="8"/>
                  <a:pt x="56" y="8"/>
                </a:cubicBezTo>
                <a:cubicBezTo>
                  <a:pt x="58" y="7"/>
                  <a:pt x="61" y="8"/>
                  <a:pt x="63" y="8"/>
                </a:cubicBezTo>
                <a:cubicBezTo>
                  <a:pt x="66" y="9"/>
                  <a:pt x="65" y="8"/>
                  <a:pt x="66" y="5"/>
                </a:cubicBezTo>
                <a:cubicBezTo>
                  <a:pt x="66" y="2"/>
                  <a:pt x="66" y="2"/>
                  <a:pt x="68" y="2"/>
                </a:cubicBezTo>
                <a:cubicBezTo>
                  <a:pt x="70" y="2"/>
                  <a:pt x="71" y="2"/>
                  <a:pt x="71" y="2"/>
                </a:cubicBezTo>
                <a:cubicBezTo>
                  <a:pt x="71" y="2"/>
                  <a:pt x="74" y="7"/>
                  <a:pt x="77" y="2"/>
                </a:cubicBezTo>
                <a:cubicBezTo>
                  <a:pt x="78" y="0"/>
                  <a:pt x="78" y="2"/>
                  <a:pt x="80" y="3"/>
                </a:cubicBezTo>
                <a:cubicBezTo>
                  <a:pt x="83" y="4"/>
                  <a:pt x="85" y="2"/>
                  <a:pt x="85" y="4"/>
                </a:cubicBezTo>
                <a:cubicBezTo>
                  <a:pt x="85" y="6"/>
                  <a:pt x="86" y="8"/>
                  <a:pt x="86" y="8"/>
                </a:cubicBezTo>
                <a:cubicBezTo>
                  <a:pt x="86" y="8"/>
                  <a:pt x="86" y="12"/>
                  <a:pt x="88" y="12"/>
                </a:cubicBezTo>
                <a:cubicBezTo>
                  <a:pt x="89" y="12"/>
                  <a:pt x="88" y="16"/>
                  <a:pt x="90" y="16"/>
                </a:cubicBezTo>
                <a:cubicBezTo>
                  <a:pt x="92" y="16"/>
                  <a:pt x="95" y="15"/>
                  <a:pt x="96" y="16"/>
                </a:cubicBezTo>
                <a:cubicBezTo>
                  <a:pt x="99" y="18"/>
                  <a:pt x="100" y="18"/>
                  <a:pt x="102" y="17"/>
                </a:cubicBezTo>
                <a:cubicBezTo>
                  <a:pt x="104" y="17"/>
                  <a:pt x="104" y="20"/>
                  <a:pt x="105" y="21"/>
                </a:cubicBezTo>
                <a:cubicBezTo>
                  <a:pt x="108" y="22"/>
                  <a:pt x="107" y="22"/>
                  <a:pt x="109" y="22"/>
                </a:cubicBezTo>
                <a:cubicBezTo>
                  <a:pt x="111" y="23"/>
                  <a:pt x="111" y="28"/>
                  <a:pt x="111" y="28"/>
                </a:cubicBezTo>
                <a:cubicBezTo>
                  <a:pt x="111" y="28"/>
                  <a:pt x="114" y="27"/>
                  <a:pt x="116" y="27"/>
                </a:cubicBezTo>
                <a:cubicBezTo>
                  <a:pt x="118" y="26"/>
                  <a:pt x="119" y="25"/>
                  <a:pt x="119" y="25"/>
                </a:cubicBezTo>
                <a:cubicBezTo>
                  <a:pt x="119" y="25"/>
                  <a:pt x="123" y="25"/>
                  <a:pt x="124" y="26"/>
                </a:cubicBezTo>
                <a:cubicBezTo>
                  <a:pt x="125" y="28"/>
                  <a:pt x="123" y="28"/>
                  <a:pt x="126" y="28"/>
                </a:cubicBezTo>
                <a:cubicBezTo>
                  <a:pt x="129" y="28"/>
                  <a:pt x="128" y="30"/>
                  <a:pt x="131" y="31"/>
                </a:cubicBezTo>
                <a:cubicBezTo>
                  <a:pt x="133" y="31"/>
                  <a:pt x="140" y="34"/>
                  <a:pt x="142" y="36"/>
                </a:cubicBezTo>
                <a:cubicBezTo>
                  <a:pt x="145" y="38"/>
                  <a:pt x="141" y="39"/>
                  <a:pt x="143" y="40"/>
                </a:cubicBezTo>
                <a:cubicBezTo>
                  <a:pt x="144" y="42"/>
                  <a:pt x="147" y="41"/>
                  <a:pt x="146" y="43"/>
                </a:cubicBezTo>
                <a:cubicBezTo>
                  <a:pt x="145" y="45"/>
                  <a:pt x="143" y="46"/>
                  <a:pt x="145" y="46"/>
                </a:cubicBezTo>
                <a:cubicBezTo>
                  <a:pt x="149" y="47"/>
                  <a:pt x="145" y="51"/>
                  <a:pt x="146" y="53"/>
                </a:cubicBezTo>
                <a:cubicBezTo>
                  <a:pt x="147" y="54"/>
                  <a:pt x="147" y="55"/>
                  <a:pt x="147" y="57"/>
                </a:cubicBezTo>
                <a:cubicBezTo>
                  <a:pt x="147" y="59"/>
                  <a:pt x="146" y="61"/>
                  <a:pt x="146" y="63"/>
                </a:cubicBezTo>
                <a:cubicBezTo>
                  <a:pt x="145" y="65"/>
                  <a:pt x="141" y="66"/>
                  <a:pt x="139" y="66"/>
                </a:cubicBezTo>
                <a:cubicBezTo>
                  <a:pt x="137" y="68"/>
                  <a:pt x="137" y="68"/>
                  <a:pt x="137" y="68"/>
                </a:cubicBezTo>
                <a:lnTo>
                  <a:pt x="136" y="71"/>
                </a:lnTo>
                <a:close/>
                <a:moveTo>
                  <a:pt x="63" y="84"/>
                </a:moveTo>
                <a:cubicBezTo>
                  <a:pt x="63" y="84"/>
                  <a:pt x="59" y="81"/>
                  <a:pt x="57" y="81"/>
                </a:cubicBezTo>
                <a:cubicBezTo>
                  <a:pt x="55" y="81"/>
                  <a:pt x="53" y="78"/>
                  <a:pt x="53" y="80"/>
                </a:cubicBezTo>
                <a:cubicBezTo>
                  <a:pt x="53" y="82"/>
                  <a:pt x="49" y="84"/>
                  <a:pt x="49" y="85"/>
                </a:cubicBezTo>
                <a:cubicBezTo>
                  <a:pt x="49" y="87"/>
                  <a:pt x="46" y="91"/>
                  <a:pt x="46" y="91"/>
                </a:cubicBezTo>
                <a:cubicBezTo>
                  <a:pt x="48" y="92"/>
                  <a:pt x="48" y="92"/>
                  <a:pt x="48" y="92"/>
                </a:cubicBezTo>
                <a:cubicBezTo>
                  <a:pt x="48" y="92"/>
                  <a:pt x="51" y="94"/>
                  <a:pt x="51" y="92"/>
                </a:cubicBezTo>
                <a:cubicBezTo>
                  <a:pt x="52" y="91"/>
                  <a:pt x="56" y="92"/>
                  <a:pt x="56" y="92"/>
                </a:cubicBezTo>
                <a:cubicBezTo>
                  <a:pt x="56" y="92"/>
                  <a:pt x="56" y="90"/>
                  <a:pt x="56" y="90"/>
                </a:cubicBezTo>
                <a:cubicBezTo>
                  <a:pt x="58" y="89"/>
                  <a:pt x="60" y="89"/>
                  <a:pt x="61" y="87"/>
                </a:cubicBezTo>
                <a:cubicBezTo>
                  <a:pt x="62" y="86"/>
                  <a:pt x="62" y="85"/>
                  <a:pt x="63" y="84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39" name="Google Shape;439;p102"/>
          <p:cNvSpPr/>
          <p:nvPr/>
        </p:nvSpPr>
        <p:spPr>
          <a:xfrm>
            <a:off x="6954991" y="4580337"/>
            <a:ext cx="149644" cy="194962"/>
          </a:xfrm>
          <a:custGeom>
            <a:avLst/>
            <a:gdLst/>
            <a:ahLst/>
            <a:cxnLst/>
            <a:rect l="l" t="t" r="r" b="b"/>
            <a:pathLst>
              <a:path w="52" h="70" extrusionOk="0">
                <a:moveTo>
                  <a:pt x="47" y="51"/>
                </a:moveTo>
                <a:cubicBezTo>
                  <a:pt x="47" y="51"/>
                  <a:pt x="46" y="49"/>
                  <a:pt x="47" y="48"/>
                </a:cubicBezTo>
                <a:cubicBezTo>
                  <a:pt x="48" y="47"/>
                  <a:pt x="44" y="42"/>
                  <a:pt x="46" y="40"/>
                </a:cubicBezTo>
                <a:cubicBezTo>
                  <a:pt x="48" y="38"/>
                  <a:pt x="47" y="37"/>
                  <a:pt x="47" y="33"/>
                </a:cubicBezTo>
                <a:cubicBezTo>
                  <a:pt x="48" y="29"/>
                  <a:pt x="50" y="31"/>
                  <a:pt x="50" y="29"/>
                </a:cubicBezTo>
                <a:cubicBezTo>
                  <a:pt x="51" y="28"/>
                  <a:pt x="51" y="26"/>
                  <a:pt x="52" y="24"/>
                </a:cubicBezTo>
                <a:cubicBezTo>
                  <a:pt x="52" y="22"/>
                  <a:pt x="52" y="21"/>
                  <a:pt x="50" y="19"/>
                </a:cubicBezTo>
                <a:cubicBezTo>
                  <a:pt x="47" y="17"/>
                  <a:pt x="48" y="16"/>
                  <a:pt x="48" y="13"/>
                </a:cubicBezTo>
                <a:cubicBezTo>
                  <a:pt x="49" y="9"/>
                  <a:pt x="51" y="9"/>
                  <a:pt x="49" y="7"/>
                </a:cubicBezTo>
                <a:cubicBezTo>
                  <a:pt x="47" y="5"/>
                  <a:pt x="50" y="7"/>
                  <a:pt x="47" y="5"/>
                </a:cubicBezTo>
                <a:cubicBezTo>
                  <a:pt x="46" y="4"/>
                  <a:pt x="45" y="3"/>
                  <a:pt x="45" y="3"/>
                </a:cubicBezTo>
                <a:cubicBezTo>
                  <a:pt x="45" y="0"/>
                  <a:pt x="45" y="0"/>
                  <a:pt x="45" y="0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3"/>
                  <a:pt x="37" y="0"/>
                  <a:pt x="35" y="1"/>
                </a:cubicBezTo>
                <a:cubicBezTo>
                  <a:pt x="33" y="2"/>
                  <a:pt x="34" y="3"/>
                  <a:pt x="32" y="2"/>
                </a:cubicBezTo>
                <a:cubicBezTo>
                  <a:pt x="29" y="2"/>
                  <a:pt x="26" y="5"/>
                  <a:pt x="25" y="6"/>
                </a:cubicBezTo>
                <a:cubicBezTo>
                  <a:pt x="25" y="7"/>
                  <a:pt x="26" y="8"/>
                  <a:pt x="26" y="10"/>
                </a:cubicBezTo>
                <a:cubicBezTo>
                  <a:pt x="25" y="12"/>
                  <a:pt x="20" y="16"/>
                  <a:pt x="23" y="16"/>
                </a:cubicBezTo>
                <a:cubicBezTo>
                  <a:pt x="25" y="16"/>
                  <a:pt x="22" y="18"/>
                  <a:pt x="21" y="20"/>
                </a:cubicBezTo>
                <a:cubicBezTo>
                  <a:pt x="21" y="21"/>
                  <a:pt x="20" y="25"/>
                  <a:pt x="21" y="25"/>
                </a:cubicBezTo>
                <a:cubicBezTo>
                  <a:pt x="22" y="25"/>
                  <a:pt x="23" y="26"/>
                  <a:pt x="23" y="28"/>
                </a:cubicBezTo>
                <a:cubicBezTo>
                  <a:pt x="24" y="27"/>
                  <a:pt x="23" y="29"/>
                  <a:pt x="23" y="30"/>
                </a:cubicBezTo>
                <a:cubicBezTo>
                  <a:pt x="23" y="32"/>
                  <a:pt x="20" y="35"/>
                  <a:pt x="19" y="36"/>
                </a:cubicBezTo>
                <a:cubicBezTo>
                  <a:pt x="19" y="36"/>
                  <a:pt x="19" y="36"/>
                  <a:pt x="19" y="36"/>
                </a:cubicBezTo>
                <a:cubicBezTo>
                  <a:pt x="18" y="37"/>
                  <a:pt x="18" y="37"/>
                  <a:pt x="18" y="37"/>
                </a:cubicBezTo>
                <a:cubicBezTo>
                  <a:pt x="17" y="36"/>
                  <a:pt x="16" y="36"/>
                  <a:pt x="16" y="36"/>
                </a:cubicBezTo>
                <a:cubicBezTo>
                  <a:pt x="15" y="37"/>
                  <a:pt x="14" y="38"/>
                  <a:pt x="14" y="38"/>
                </a:cubicBezTo>
                <a:cubicBezTo>
                  <a:pt x="11" y="40"/>
                  <a:pt x="11" y="40"/>
                  <a:pt x="11" y="40"/>
                </a:cubicBezTo>
                <a:cubicBezTo>
                  <a:pt x="11" y="40"/>
                  <a:pt x="8" y="43"/>
                  <a:pt x="8" y="45"/>
                </a:cubicBezTo>
                <a:cubicBezTo>
                  <a:pt x="8" y="46"/>
                  <a:pt x="7" y="49"/>
                  <a:pt x="7" y="52"/>
                </a:cubicBezTo>
                <a:cubicBezTo>
                  <a:pt x="7" y="52"/>
                  <a:pt x="8" y="51"/>
                  <a:pt x="9" y="51"/>
                </a:cubicBezTo>
                <a:cubicBezTo>
                  <a:pt x="8" y="54"/>
                  <a:pt x="8" y="56"/>
                  <a:pt x="6" y="57"/>
                </a:cubicBezTo>
                <a:cubicBezTo>
                  <a:pt x="6" y="58"/>
                  <a:pt x="5" y="58"/>
                  <a:pt x="4" y="58"/>
                </a:cubicBezTo>
                <a:cubicBezTo>
                  <a:pt x="4" y="59"/>
                  <a:pt x="4" y="59"/>
                  <a:pt x="4" y="59"/>
                </a:cubicBezTo>
                <a:cubicBezTo>
                  <a:pt x="0" y="63"/>
                  <a:pt x="4" y="65"/>
                  <a:pt x="4" y="65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66"/>
                  <a:pt x="7" y="67"/>
                  <a:pt x="9" y="69"/>
                </a:cubicBezTo>
                <a:cubicBezTo>
                  <a:pt x="10" y="70"/>
                  <a:pt x="12" y="70"/>
                  <a:pt x="13" y="69"/>
                </a:cubicBezTo>
                <a:cubicBezTo>
                  <a:pt x="15" y="67"/>
                  <a:pt x="18" y="66"/>
                  <a:pt x="18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30" y="67"/>
                  <a:pt x="29" y="64"/>
                  <a:pt x="29" y="64"/>
                </a:cubicBezTo>
                <a:cubicBezTo>
                  <a:pt x="28" y="63"/>
                  <a:pt x="26" y="62"/>
                  <a:pt x="25" y="61"/>
                </a:cubicBezTo>
                <a:cubicBezTo>
                  <a:pt x="26" y="60"/>
                  <a:pt x="28" y="58"/>
                  <a:pt x="28" y="57"/>
                </a:cubicBezTo>
                <a:cubicBezTo>
                  <a:pt x="28" y="57"/>
                  <a:pt x="26" y="50"/>
                  <a:pt x="28" y="51"/>
                </a:cubicBezTo>
                <a:cubicBezTo>
                  <a:pt x="28" y="51"/>
                  <a:pt x="28" y="50"/>
                  <a:pt x="28" y="50"/>
                </a:cubicBezTo>
                <a:cubicBezTo>
                  <a:pt x="30" y="46"/>
                  <a:pt x="37" y="47"/>
                  <a:pt x="41" y="48"/>
                </a:cubicBezTo>
                <a:cubicBezTo>
                  <a:pt x="41" y="47"/>
                  <a:pt x="41" y="46"/>
                  <a:pt x="42" y="45"/>
                </a:cubicBezTo>
                <a:cubicBezTo>
                  <a:pt x="43" y="45"/>
                  <a:pt x="43" y="45"/>
                  <a:pt x="43" y="45"/>
                </a:cubicBezTo>
                <a:cubicBezTo>
                  <a:pt x="44" y="46"/>
                  <a:pt x="43" y="47"/>
                  <a:pt x="44" y="47"/>
                </a:cubicBezTo>
                <a:cubicBezTo>
                  <a:pt x="44" y="47"/>
                  <a:pt x="46" y="47"/>
                  <a:pt x="46" y="47"/>
                </a:cubicBezTo>
                <a:cubicBezTo>
                  <a:pt x="47" y="48"/>
                  <a:pt x="46" y="50"/>
                  <a:pt x="45" y="51"/>
                </a:cubicBezTo>
                <a:cubicBezTo>
                  <a:pt x="46" y="51"/>
                  <a:pt x="46" y="51"/>
                  <a:pt x="47" y="51"/>
                </a:cubicBezTo>
                <a:close/>
                <a:moveTo>
                  <a:pt x="21" y="30"/>
                </a:moveTo>
                <a:cubicBezTo>
                  <a:pt x="20" y="31"/>
                  <a:pt x="20" y="32"/>
                  <a:pt x="19" y="32"/>
                </a:cubicBezTo>
                <a:cubicBezTo>
                  <a:pt x="19" y="32"/>
                  <a:pt x="20" y="32"/>
                  <a:pt x="20" y="32"/>
                </a:cubicBezTo>
                <a:cubicBezTo>
                  <a:pt x="20" y="31"/>
                  <a:pt x="21" y="31"/>
                  <a:pt x="21" y="30"/>
                </a:cubicBezTo>
                <a:close/>
                <a:moveTo>
                  <a:pt x="32" y="31"/>
                </a:moveTo>
                <a:cubicBezTo>
                  <a:pt x="32" y="31"/>
                  <a:pt x="34" y="31"/>
                  <a:pt x="34" y="31"/>
                </a:cubicBezTo>
                <a:cubicBezTo>
                  <a:pt x="34" y="32"/>
                  <a:pt x="35" y="33"/>
                  <a:pt x="35" y="34"/>
                </a:cubicBezTo>
                <a:cubicBezTo>
                  <a:pt x="35" y="34"/>
                  <a:pt x="35" y="35"/>
                  <a:pt x="35" y="34"/>
                </a:cubicBezTo>
                <a:cubicBezTo>
                  <a:pt x="36" y="35"/>
                  <a:pt x="31" y="34"/>
                  <a:pt x="30" y="34"/>
                </a:cubicBezTo>
                <a:cubicBezTo>
                  <a:pt x="30" y="33"/>
                  <a:pt x="30" y="31"/>
                  <a:pt x="31" y="32"/>
                </a:cubicBezTo>
                <a:cubicBezTo>
                  <a:pt x="31" y="32"/>
                  <a:pt x="31" y="31"/>
                  <a:pt x="32" y="3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0" name="Google Shape;440;p102"/>
          <p:cNvSpPr/>
          <p:nvPr/>
        </p:nvSpPr>
        <p:spPr>
          <a:xfrm>
            <a:off x="7541828" y="3384932"/>
            <a:ext cx="353569" cy="244409"/>
          </a:xfrm>
          <a:custGeom>
            <a:avLst/>
            <a:gdLst/>
            <a:ahLst/>
            <a:cxnLst/>
            <a:rect l="l" t="t" r="r" b="b"/>
            <a:pathLst>
              <a:path w="123" h="88" extrusionOk="0">
                <a:moveTo>
                  <a:pt x="0" y="12"/>
                </a:moveTo>
                <a:cubicBezTo>
                  <a:pt x="1" y="13"/>
                  <a:pt x="2" y="14"/>
                  <a:pt x="3" y="15"/>
                </a:cubicBezTo>
                <a:cubicBezTo>
                  <a:pt x="3" y="15"/>
                  <a:pt x="4" y="14"/>
                  <a:pt x="4" y="14"/>
                </a:cubicBezTo>
                <a:cubicBezTo>
                  <a:pt x="5" y="14"/>
                  <a:pt x="4" y="12"/>
                  <a:pt x="4" y="12"/>
                </a:cubicBezTo>
                <a:cubicBezTo>
                  <a:pt x="4" y="11"/>
                  <a:pt x="5" y="11"/>
                  <a:pt x="6" y="10"/>
                </a:cubicBezTo>
                <a:cubicBezTo>
                  <a:pt x="7" y="10"/>
                  <a:pt x="7" y="8"/>
                  <a:pt x="8" y="8"/>
                </a:cubicBezTo>
                <a:cubicBezTo>
                  <a:pt x="10" y="8"/>
                  <a:pt x="12" y="9"/>
                  <a:pt x="14" y="10"/>
                </a:cubicBezTo>
                <a:cubicBezTo>
                  <a:pt x="14" y="11"/>
                  <a:pt x="14" y="13"/>
                  <a:pt x="14" y="14"/>
                </a:cubicBezTo>
                <a:cubicBezTo>
                  <a:pt x="15" y="15"/>
                  <a:pt x="19" y="17"/>
                  <a:pt x="21" y="19"/>
                </a:cubicBezTo>
                <a:cubicBezTo>
                  <a:pt x="20" y="21"/>
                  <a:pt x="21" y="22"/>
                  <a:pt x="19" y="23"/>
                </a:cubicBezTo>
                <a:cubicBezTo>
                  <a:pt x="19" y="23"/>
                  <a:pt x="17" y="23"/>
                  <a:pt x="17" y="23"/>
                </a:cubicBezTo>
                <a:cubicBezTo>
                  <a:pt x="17" y="23"/>
                  <a:pt x="15" y="25"/>
                  <a:pt x="17" y="24"/>
                </a:cubicBezTo>
                <a:cubicBezTo>
                  <a:pt x="17" y="24"/>
                  <a:pt x="17" y="26"/>
                  <a:pt x="17" y="26"/>
                </a:cubicBezTo>
                <a:cubicBezTo>
                  <a:pt x="13" y="25"/>
                  <a:pt x="11" y="25"/>
                  <a:pt x="7" y="25"/>
                </a:cubicBezTo>
                <a:cubicBezTo>
                  <a:pt x="7" y="24"/>
                  <a:pt x="7" y="22"/>
                  <a:pt x="6" y="21"/>
                </a:cubicBezTo>
                <a:cubicBezTo>
                  <a:pt x="6" y="21"/>
                  <a:pt x="4" y="21"/>
                  <a:pt x="4" y="21"/>
                </a:cubicBezTo>
                <a:cubicBezTo>
                  <a:pt x="4" y="21"/>
                  <a:pt x="5" y="24"/>
                  <a:pt x="5" y="25"/>
                </a:cubicBezTo>
                <a:cubicBezTo>
                  <a:pt x="5" y="26"/>
                  <a:pt x="3" y="33"/>
                  <a:pt x="2" y="33"/>
                </a:cubicBezTo>
                <a:cubicBezTo>
                  <a:pt x="1" y="34"/>
                  <a:pt x="2" y="34"/>
                  <a:pt x="2" y="35"/>
                </a:cubicBezTo>
                <a:cubicBezTo>
                  <a:pt x="4" y="34"/>
                  <a:pt x="3" y="36"/>
                  <a:pt x="4" y="35"/>
                </a:cubicBezTo>
                <a:cubicBezTo>
                  <a:pt x="5" y="35"/>
                  <a:pt x="6" y="33"/>
                  <a:pt x="8" y="33"/>
                </a:cubicBezTo>
                <a:cubicBezTo>
                  <a:pt x="9" y="32"/>
                  <a:pt x="13" y="33"/>
                  <a:pt x="13" y="33"/>
                </a:cubicBezTo>
                <a:cubicBezTo>
                  <a:pt x="12" y="34"/>
                  <a:pt x="10" y="33"/>
                  <a:pt x="9" y="34"/>
                </a:cubicBezTo>
                <a:cubicBezTo>
                  <a:pt x="8" y="34"/>
                  <a:pt x="9" y="36"/>
                  <a:pt x="8" y="36"/>
                </a:cubicBezTo>
                <a:cubicBezTo>
                  <a:pt x="11" y="39"/>
                  <a:pt x="11" y="39"/>
                  <a:pt x="11" y="43"/>
                </a:cubicBezTo>
                <a:cubicBezTo>
                  <a:pt x="13" y="44"/>
                  <a:pt x="17" y="46"/>
                  <a:pt x="15" y="51"/>
                </a:cubicBezTo>
                <a:cubicBezTo>
                  <a:pt x="15" y="52"/>
                  <a:pt x="13" y="51"/>
                  <a:pt x="12" y="51"/>
                </a:cubicBezTo>
                <a:cubicBezTo>
                  <a:pt x="12" y="56"/>
                  <a:pt x="12" y="57"/>
                  <a:pt x="13" y="61"/>
                </a:cubicBezTo>
                <a:cubicBezTo>
                  <a:pt x="13" y="62"/>
                  <a:pt x="13" y="63"/>
                  <a:pt x="13" y="64"/>
                </a:cubicBezTo>
                <a:cubicBezTo>
                  <a:pt x="19" y="65"/>
                  <a:pt x="19" y="65"/>
                  <a:pt x="19" y="65"/>
                </a:cubicBezTo>
                <a:cubicBezTo>
                  <a:pt x="21" y="61"/>
                  <a:pt x="21" y="61"/>
                  <a:pt x="21" y="61"/>
                </a:cubicBezTo>
                <a:cubicBezTo>
                  <a:pt x="22" y="59"/>
                  <a:pt x="22" y="59"/>
                  <a:pt x="22" y="59"/>
                </a:cubicBezTo>
                <a:cubicBezTo>
                  <a:pt x="23" y="57"/>
                  <a:pt x="23" y="57"/>
                  <a:pt x="23" y="57"/>
                </a:cubicBezTo>
                <a:cubicBezTo>
                  <a:pt x="26" y="55"/>
                  <a:pt x="26" y="55"/>
                  <a:pt x="26" y="55"/>
                </a:cubicBezTo>
                <a:cubicBezTo>
                  <a:pt x="31" y="56"/>
                  <a:pt x="31" y="56"/>
                  <a:pt x="31" y="56"/>
                </a:cubicBezTo>
                <a:cubicBezTo>
                  <a:pt x="34" y="55"/>
                  <a:pt x="34" y="55"/>
                  <a:pt x="34" y="55"/>
                </a:cubicBezTo>
                <a:cubicBezTo>
                  <a:pt x="38" y="53"/>
                  <a:pt x="38" y="53"/>
                  <a:pt x="38" y="53"/>
                </a:cubicBezTo>
                <a:cubicBezTo>
                  <a:pt x="48" y="55"/>
                  <a:pt x="48" y="55"/>
                  <a:pt x="48" y="55"/>
                </a:cubicBezTo>
                <a:cubicBezTo>
                  <a:pt x="54" y="56"/>
                  <a:pt x="54" y="56"/>
                  <a:pt x="54" y="56"/>
                </a:cubicBezTo>
                <a:cubicBezTo>
                  <a:pt x="56" y="57"/>
                  <a:pt x="56" y="57"/>
                  <a:pt x="56" y="57"/>
                </a:cubicBezTo>
                <a:cubicBezTo>
                  <a:pt x="62" y="60"/>
                  <a:pt x="62" y="60"/>
                  <a:pt x="62" y="60"/>
                </a:cubicBezTo>
                <a:cubicBezTo>
                  <a:pt x="68" y="62"/>
                  <a:pt x="68" y="62"/>
                  <a:pt x="68" y="62"/>
                </a:cubicBezTo>
                <a:cubicBezTo>
                  <a:pt x="73" y="65"/>
                  <a:pt x="73" y="65"/>
                  <a:pt x="73" y="65"/>
                </a:cubicBezTo>
                <a:cubicBezTo>
                  <a:pt x="76" y="67"/>
                  <a:pt x="76" y="67"/>
                  <a:pt x="76" y="67"/>
                </a:cubicBezTo>
                <a:cubicBezTo>
                  <a:pt x="78" y="70"/>
                  <a:pt x="78" y="70"/>
                  <a:pt x="78" y="70"/>
                </a:cubicBezTo>
                <a:cubicBezTo>
                  <a:pt x="79" y="74"/>
                  <a:pt x="79" y="74"/>
                  <a:pt x="79" y="74"/>
                </a:cubicBezTo>
                <a:cubicBezTo>
                  <a:pt x="84" y="75"/>
                  <a:pt x="84" y="75"/>
                  <a:pt x="84" y="75"/>
                </a:cubicBezTo>
                <a:cubicBezTo>
                  <a:pt x="84" y="79"/>
                  <a:pt x="84" y="79"/>
                  <a:pt x="84" y="79"/>
                </a:cubicBezTo>
                <a:cubicBezTo>
                  <a:pt x="85" y="83"/>
                  <a:pt x="85" y="83"/>
                  <a:pt x="85" y="83"/>
                </a:cubicBezTo>
                <a:cubicBezTo>
                  <a:pt x="84" y="87"/>
                  <a:pt x="84" y="87"/>
                  <a:pt x="84" y="87"/>
                </a:cubicBezTo>
                <a:cubicBezTo>
                  <a:pt x="87" y="88"/>
                  <a:pt x="87" y="88"/>
                  <a:pt x="87" y="88"/>
                </a:cubicBezTo>
                <a:cubicBezTo>
                  <a:pt x="90" y="87"/>
                  <a:pt x="90" y="87"/>
                  <a:pt x="90" y="87"/>
                </a:cubicBezTo>
                <a:cubicBezTo>
                  <a:pt x="93" y="88"/>
                  <a:pt x="93" y="88"/>
                  <a:pt x="93" y="88"/>
                </a:cubicBezTo>
                <a:cubicBezTo>
                  <a:pt x="100" y="84"/>
                  <a:pt x="100" y="84"/>
                  <a:pt x="100" y="84"/>
                </a:cubicBezTo>
                <a:cubicBezTo>
                  <a:pt x="99" y="80"/>
                  <a:pt x="99" y="80"/>
                  <a:pt x="99" y="80"/>
                </a:cubicBezTo>
                <a:cubicBezTo>
                  <a:pt x="104" y="75"/>
                  <a:pt x="104" y="75"/>
                  <a:pt x="104" y="75"/>
                </a:cubicBezTo>
                <a:cubicBezTo>
                  <a:pt x="105" y="72"/>
                  <a:pt x="105" y="72"/>
                  <a:pt x="105" y="72"/>
                </a:cubicBezTo>
                <a:cubicBezTo>
                  <a:pt x="105" y="67"/>
                  <a:pt x="105" y="67"/>
                  <a:pt x="105" y="67"/>
                </a:cubicBezTo>
                <a:cubicBezTo>
                  <a:pt x="107" y="65"/>
                  <a:pt x="107" y="65"/>
                  <a:pt x="107" y="65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11" y="63"/>
                  <a:pt x="111" y="63"/>
                  <a:pt x="111" y="63"/>
                </a:cubicBezTo>
                <a:cubicBezTo>
                  <a:pt x="114" y="65"/>
                  <a:pt x="114" y="65"/>
                  <a:pt x="114" y="65"/>
                </a:cubicBezTo>
                <a:cubicBezTo>
                  <a:pt x="118" y="65"/>
                  <a:pt x="118" y="65"/>
                  <a:pt x="118" y="65"/>
                </a:cubicBezTo>
                <a:cubicBezTo>
                  <a:pt x="118" y="61"/>
                  <a:pt x="118" y="61"/>
                  <a:pt x="118" y="61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23" y="56"/>
                  <a:pt x="123" y="56"/>
                  <a:pt x="123" y="56"/>
                </a:cubicBezTo>
                <a:cubicBezTo>
                  <a:pt x="122" y="54"/>
                  <a:pt x="122" y="54"/>
                  <a:pt x="122" y="54"/>
                </a:cubicBezTo>
                <a:cubicBezTo>
                  <a:pt x="119" y="54"/>
                  <a:pt x="119" y="54"/>
                  <a:pt x="119" y="54"/>
                </a:cubicBezTo>
                <a:cubicBezTo>
                  <a:pt x="116" y="52"/>
                  <a:pt x="116" y="52"/>
                  <a:pt x="116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09" y="49"/>
                  <a:pt x="109" y="49"/>
                  <a:pt x="109" y="49"/>
                </a:cubicBezTo>
                <a:cubicBezTo>
                  <a:pt x="104" y="50"/>
                  <a:pt x="104" y="50"/>
                  <a:pt x="104" y="50"/>
                </a:cubicBezTo>
                <a:cubicBezTo>
                  <a:pt x="101" y="47"/>
                  <a:pt x="101" y="47"/>
                  <a:pt x="101" y="47"/>
                </a:cubicBezTo>
                <a:cubicBezTo>
                  <a:pt x="97" y="43"/>
                  <a:pt x="97" y="43"/>
                  <a:pt x="97" y="43"/>
                </a:cubicBezTo>
                <a:cubicBezTo>
                  <a:pt x="94" y="41"/>
                  <a:pt x="94" y="41"/>
                  <a:pt x="94" y="41"/>
                </a:cubicBezTo>
                <a:cubicBezTo>
                  <a:pt x="92" y="39"/>
                  <a:pt x="92" y="39"/>
                  <a:pt x="92" y="39"/>
                </a:cubicBezTo>
                <a:cubicBezTo>
                  <a:pt x="90" y="34"/>
                  <a:pt x="90" y="34"/>
                  <a:pt x="90" y="34"/>
                </a:cubicBezTo>
                <a:cubicBezTo>
                  <a:pt x="87" y="31"/>
                  <a:pt x="87" y="31"/>
                  <a:pt x="87" y="31"/>
                </a:cubicBezTo>
                <a:cubicBezTo>
                  <a:pt x="85" y="29"/>
                  <a:pt x="85" y="29"/>
                  <a:pt x="85" y="29"/>
                </a:cubicBezTo>
                <a:cubicBezTo>
                  <a:pt x="85" y="24"/>
                  <a:pt x="85" y="24"/>
                  <a:pt x="85" y="24"/>
                </a:cubicBezTo>
                <a:cubicBezTo>
                  <a:pt x="82" y="19"/>
                  <a:pt x="82" y="19"/>
                  <a:pt x="82" y="19"/>
                </a:cubicBezTo>
                <a:cubicBezTo>
                  <a:pt x="78" y="20"/>
                  <a:pt x="78" y="20"/>
                  <a:pt x="78" y="20"/>
                </a:cubicBezTo>
                <a:cubicBezTo>
                  <a:pt x="73" y="20"/>
                  <a:pt x="73" y="20"/>
                  <a:pt x="73" y="20"/>
                </a:cubicBezTo>
                <a:cubicBezTo>
                  <a:pt x="70" y="21"/>
                  <a:pt x="70" y="21"/>
                  <a:pt x="70" y="21"/>
                </a:cubicBezTo>
                <a:cubicBezTo>
                  <a:pt x="66" y="23"/>
                  <a:pt x="66" y="23"/>
                  <a:pt x="66" y="23"/>
                </a:cubicBezTo>
                <a:cubicBezTo>
                  <a:pt x="63" y="22"/>
                  <a:pt x="63" y="22"/>
                  <a:pt x="63" y="22"/>
                </a:cubicBezTo>
                <a:cubicBezTo>
                  <a:pt x="61" y="21"/>
                  <a:pt x="61" y="21"/>
                  <a:pt x="61" y="21"/>
                </a:cubicBezTo>
                <a:cubicBezTo>
                  <a:pt x="63" y="19"/>
                  <a:pt x="63" y="19"/>
                  <a:pt x="63" y="19"/>
                </a:cubicBezTo>
                <a:cubicBezTo>
                  <a:pt x="62" y="14"/>
                  <a:pt x="62" y="14"/>
                  <a:pt x="62" y="14"/>
                </a:cubicBezTo>
                <a:cubicBezTo>
                  <a:pt x="58" y="12"/>
                  <a:pt x="58" y="12"/>
                  <a:pt x="58" y="12"/>
                </a:cubicBezTo>
                <a:cubicBezTo>
                  <a:pt x="56" y="6"/>
                  <a:pt x="56" y="6"/>
                  <a:pt x="56" y="6"/>
                </a:cubicBezTo>
                <a:cubicBezTo>
                  <a:pt x="55" y="1"/>
                  <a:pt x="55" y="1"/>
                  <a:pt x="55" y="1"/>
                </a:cubicBezTo>
                <a:cubicBezTo>
                  <a:pt x="52" y="1"/>
                  <a:pt x="52" y="1"/>
                  <a:pt x="52" y="1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3"/>
                  <a:pt x="48" y="3"/>
                  <a:pt x="48" y="3"/>
                </a:cubicBezTo>
                <a:cubicBezTo>
                  <a:pt x="46" y="6"/>
                  <a:pt x="46" y="6"/>
                  <a:pt x="46" y="6"/>
                </a:cubicBezTo>
                <a:cubicBezTo>
                  <a:pt x="41" y="5"/>
                  <a:pt x="41" y="5"/>
                  <a:pt x="41" y="5"/>
                </a:cubicBezTo>
                <a:cubicBezTo>
                  <a:pt x="39" y="7"/>
                  <a:pt x="39" y="7"/>
                  <a:pt x="39" y="7"/>
                </a:cubicBezTo>
                <a:cubicBezTo>
                  <a:pt x="39" y="11"/>
                  <a:pt x="39" y="11"/>
                  <a:pt x="39" y="11"/>
                </a:cubicBezTo>
                <a:cubicBezTo>
                  <a:pt x="41" y="12"/>
                  <a:pt x="41" y="12"/>
                  <a:pt x="41" y="12"/>
                </a:cubicBezTo>
                <a:cubicBezTo>
                  <a:pt x="41" y="14"/>
                  <a:pt x="41" y="14"/>
                  <a:pt x="41" y="14"/>
                </a:cubicBezTo>
                <a:cubicBezTo>
                  <a:pt x="32" y="13"/>
                  <a:pt x="32" y="13"/>
                  <a:pt x="32" y="13"/>
                </a:cubicBezTo>
                <a:cubicBezTo>
                  <a:pt x="32" y="13"/>
                  <a:pt x="26" y="14"/>
                  <a:pt x="24" y="13"/>
                </a:cubicBezTo>
                <a:cubicBezTo>
                  <a:pt x="23" y="12"/>
                  <a:pt x="21" y="3"/>
                  <a:pt x="12" y="4"/>
                </a:cubicBezTo>
                <a:cubicBezTo>
                  <a:pt x="9" y="4"/>
                  <a:pt x="3" y="3"/>
                  <a:pt x="3" y="9"/>
                </a:cubicBezTo>
                <a:cubicBezTo>
                  <a:pt x="3" y="12"/>
                  <a:pt x="0" y="12"/>
                  <a:pt x="0" y="12"/>
                </a:cubicBezTo>
                <a:close/>
                <a:moveTo>
                  <a:pt x="6" y="39"/>
                </a:moveTo>
                <a:cubicBezTo>
                  <a:pt x="6" y="39"/>
                  <a:pt x="4" y="43"/>
                  <a:pt x="6" y="42"/>
                </a:cubicBezTo>
                <a:cubicBezTo>
                  <a:pt x="7" y="42"/>
                  <a:pt x="8" y="38"/>
                  <a:pt x="6" y="39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1" name="Google Shape;441;p102"/>
          <p:cNvSpPr/>
          <p:nvPr/>
        </p:nvSpPr>
        <p:spPr>
          <a:xfrm>
            <a:off x="6894841" y="3410362"/>
            <a:ext cx="470937" cy="213328"/>
          </a:xfrm>
          <a:custGeom>
            <a:avLst/>
            <a:gdLst/>
            <a:ahLst/>
            <a:cxnLst/>
            <a:rect l="l" t="t" r="r" b="b"/>
            <a:pathLst>
              <a:path w="164" h="77" extrusionOk="0">
                <a:moveTo>
                  <a:pt x="16" y="4"/>
                </a:moveTo>
                <a:cubicBezTo>
                  <a:pt x="16" y="4"/>
                  <a:pt x="12" y="5"/>
                  <a:pt x="11" y="4"/>
                </a:cubicBezTo>
                <a:cubicBezTo>
                  <a:pt x="10" y="3"/>
                  <a:pt x="8" y="3"/>
                  <a:pt x="7" y="4"/>
                </a:cubicBezTo>
                <a:cubicBezTo>
                  <a:pt x="6" y="5"/>
                  <a:pt x="6" y="6"/>
                  <a:pt x="6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11" y="10"/>
                  <a:pt x="9" y="11"/>
                </a:cubicBezTo>
                <a:cubicBezTo>
                  <a:pt x="7" y="13"/>
                  <a:pt x="4" y="10"/>
                  <a:pt x="4" y="12"/>
                </a:cubicBezTo>
                <a:cubicBezTo>
                  <a:pt x="4" y="14"/>
                  <a:pt x="1" y="17"/>
                  <a:pt x="1" y="17"/>
                </a:cubicBezTo>
                <a:cubicBezTo>
                  <a:pt x="2" y="18"/>
                  <a:pt x="2" y="18"/>
                  <a:pt x="2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1" y="20"/>
                  <a:pt x="1" y="20"/>
                  <a:pt x="1" y="20"/>
                </a:cubicBezTo>
                <a:cubicBezTo>
                  <a:pt x="1" y="21"/>
                  <a:pt x="0" y="23"/>
                  <a:pt x="3" y="23"/>
                </a:cubicBezTo>
                <a:cubicBezTo>
                  <a:pt x="3" y="23"/>
                  <a:pt x="7" y="19"/>
                  <a:pt x="8" y="18"/>
                </a:cubicBezTo>
                <a:cubicBezTo>
                  <a:pt x="9" y="18"/>
                  <a:pt x="11" y="18"/>
                  <a:pt x="13" y="17"/>
                </a:cubicBezTo>
                <a:cubicBezTo>
                  <a:pt x="13" y="17"/>
                  <a:pt x="14" y="15"/>
                  <a:pt x="14" y="14"/>
                </a:cubicBezTo>
                <a:cubicBezTo>
                  <a:pt x="17" y="13"/>
                  <a:pt x="21" y="14"/>
                  <a:pt x="24" y="13"/>
                </a:cubicBezTo>
                <a:cubicBezTo>
                  <a:pt x="24" y="13"/>
                  <a:pt x="25" y="11"/>
                  <a:pt x="25" y="10"/>
                </a:cubicBezTo>
                <a:cubicBezTo>
                  <a:pt x="22" y="9"/>
                  <a:pt x="18" y="8"/>
                  <a:pt x="16" y="5"/>
                </a:cubicBezTo>
                <a:cubicBezTo>
                  <a:pt x="16" y="4"/>
                  <a:pt x="16" y="5"/>
                  <a:pt x="16" y="4"/>
                </a:cubicBezTo>
                <a:close/>
                <a:moveTo>
                  <a:pt x="83" y="77"/>
                </a:moveTo>
                <a:cubicBezTo>
                  <a:pt x="84" y="77"/>
                  <a:pt x="85" y="77"/>
                  <a:pt x="86" y="77"/>
                </a:cubicBezTo>
                <a:cubicBezTo>
                  <a:pt x="89" y="76"/>
                  <a:pt x="87" y="73"/>
                  <a:pt x="90" y="73"/>
                </a:cubicBezTo>
                <a:cubicBezTo>
                  <a:pt x="92" y="73"/>
                  <a:pt x="92" y="72"/>
                  <a:pt x="92" y="70"/>
                </a:cubicBezTo>
                <a:cubicBezTo>
                  <a:pt x="92" y="69"/>
                  <a:pt x="90" y="68"/>
                  <a:pt x="92" y="66"/>
                </a:cubicBezTo>
                <a:cubicBezTo>
                  <a:pt x="94" y="65"/>
                  <a:pt x="95" y="68"/>
                  <a:pt x="96" y="67"/>
                </a:cubicBezTo>
                <a:cubicBezTo>
                  <a:pt x="98" y="66"/>
                  <a:pt x="98" y="64"/>
                  <a:pt x="100" y="64"/>
                </a:cubicBezTo>
                <a:cubicBezTo>
                  <a:pt x="102" y="64"/>
                  <a:pt x="104" y="66"/>
                  <a:pt x="106" y="65"/>
                </a:cubicBezTo>
                <a:cubicBezTo>
                  <a:pt x="108" y="63"/>
                  <a:pt x="113" y="65"/>
                  <a:pt x="117" y="61"/>
                </a:cubicBezTo>
                <a:cubicBezTo>
                  <a:pt x="119" y="60"/>
                  <a:pt x="127" y="61"/>
                  <a:pt x="129" y="59"/>
                </a:cubicBezTo>
                <a:cubicBezTo>
                  <a:pt x="131" y="58"/>
                  <a:pt x="135" y="56"/>
                  <a:pt x="136" y="56"/>
                </a:cubicBezTo>
                <a:cubicBezTo>
                  <a:pt x="137" y="58"/>
                  <a:pt x="137" y="58"/>
                  <a:pt x="137" y="58"/>
                </a:cubicBezTo>
                <a:cubicBezTo>
                  <a:pt x="137" y="59"/>
                  <a:pt x="138" y="59"/>
                  <a:pt x="139" y="59"/>
                </a:cubicBezTo>
                <a:cubicBezTo>
                  <a:pt x="140" y="59"/>
                  <a:pt x="141" y="59"/>
                  <a:pt x="141" y="58"/>
                </a:cubicBezTo>
                <a:cubicBezTo>
                  <a:pt x="143" y="57"/>
                  <a:pt x="146" y="61"/>
                  <a:pt x="147" y="59"/>
                </a:cubicBezTo>
                <a:cubicBezTo>
                  <a:pt x="148" y="58"/>
                  <a:pt x="149" y="57"/>
                  <a:pt x="149" y="57"/>
                </a:cubicBezTo>
                <a:cubicBezTo>
                  <a:pt x="151" y="58"/>
                  <a:pt x="151" y="58"/>
                  <a:pt x="151" y="58"/>
                </a:cubicBezTo>
                <a:cubicBezTo>
                  <a:pt x="152" y="60"/>
                  <a:pt x="152" y="60"/>
                  <a:pt x="152" y="60"/>
                </a:cubicBezTo>
                <a:cubicBezTo>
                  <a:pt x="155" y="58"/>
                  <a:pt x="155" y="58"/>
                  <a:pt x="155" y="58"/>
                </a:cubicBezTo>
                <a:cubicBezTo>
                  <a:pt x="158" y="59"/>
                  <a:pt x="158" y="59"/>
                  <a:pt x="158" y="59"/>
                </a:cubicBezTo>
                <a:cubicBezTo>
                  <a:pt x="158" y="59"/>
                  <a:pt x="160" y="57"/>
                  <a:pt x="159" y="56"/>
                </a:cubicBezTo>
                <a:cubicBezTo>
                  <a:pt x="158" y="54"/>
                  <a:pt x="158" y="52"/>
                  <a:pt x="157" y="50"/>
                </a:cubicBezTo>
                <a:cubicBezTo>
                  <a:pt x="155" y="49"/>
                  <a:pt x="153" y="46"/>
                  <a:pt x="154" y="44"/>
                </a:cubicBezTo>
                <a:cubicBezTo>
                  <a:pt x="155" y="42"/>
                  <a:pt x="157" y="42"/>
                  <a:pt x="156" y="40"/>
                </a:cubicBezTo>
                <a:cubicBezTo>
                  <a:pt x="156" y="38"/>
                  <a:pt x="157" y="39"/>
                  <a:pt x="156" y="38"/>
                </a:cubicBezTo>
                <a:cubicBezTo>
                  <a:pt x="155" y="36"/>
                  <a:pt x="154" y="35"/>
                  <a:pt x="156" y="33"/>
                </a:cubicBezTo>
                <a:cubicBezTo>
                  <a:pt x="158" y="32"/>
                  <a:pt x="157" y="30"/>
                  <a:pt x="159" y="31"/>
                </a:cubicBezTo>
                <a:cubicBezTo>
                  <a:pt x="160" y="33"/>
                  <a:pt x="162" y="33"/>
                  <a:pt x="162" y="33"/>
                </a:cubicBezTo>
                <a:cubicBezTo>
                  <a:pt x="163" y="30"/>
                  <a:pt x="163" y="30"/>
                  <a:pt x="163" y="30"/>
                </a:cubicBezTo>
                <a:cubicBezTo>
                  <a:pt x="163" y="30"/>
                  <a:pt x="164" y="27"/>
                  <a:pt x="161" y="25"/>
                </a:cubicBezTo>
                <a:cubicBezTo>
                  <a:pt x="158" y="24"/>
                  <a:pt x="150" y="23"/>
                  <a:pt x="151" y="20"/>
                </a:cubicBezTo>
                <a:cubicBezTo>
                  <a:pt x="153" y="17"/>
                  <a:pt x="151" y="17"/>
                  <a:pt x="153" y="15"/>
                </a:cubicBezTo>
                <a:cubicBezTo>
                  <a:pt x="156" y="14"/>
                  <a:pt x="153" y="9"/>
                  <a:pt x="153" y="9"/>
                </a:cubicBezTo>
                <a:cubicBezTo>
                  <a:pt x="151" y="9"/>
                  <a:pt x="151" y="9"/>
                  <a:pt x="151" y="9"/>
                </a:cubicBezTo>
                <a:cubicBezTo>
                  <a:pt x="151" y="9"/>
                  <a:pt x="152" y="6"/>
                  <a:pt x="150" y="7"/>
                </a:cubicBezTo>
                <a:cubicBezTo>
                  <a:pt x="147" y="8"/>
                  <a:pt x="145" y="8"/>
                  <a:pt x="145" y="8"/>
                </a:cubicBezTo>
                <a:cubicBezTo>
                  <a:pt x="145" y="8"/>
                  <a:pt x="143" y="6"/>
                  <a:pt x="141" y="6"/>
                </a:cubicBezTo>
                <a:cubicBezTo>
                  <a:pt x="139" y="6"/>
                  <a:pt x="138" y="5"/>
                  <a:pt x="136" y="6"/>
                </a:cubicBezTo>
                <a:cubicBezTo>
                  <a:pt x="134" y="7"/>
                  <a:pt x="133" y="5"/>
                  <a:pt x="133" y="5"/>
                </a:cubicBezTo>
                <a:cubicBezTo>
                  <a:pt x="133" y="5"/>
                  <a:pt x="133" y="5"/>
                  <a:pt x="132" y="6"/>
                </a:cubicBezTo>
                <a:cubicBezTo>
                  <a:pt x="132" y="6"/>
                  <a:pt x="131" y="6"/>
                  <a:pt x="130" y="7"/>
                </a:cubicBezTo>
                <a:cubicBezTo>
                  <a:pt x="129" y="7"/>
                  <a:pt x="130" y="9"/>
                  <a:pt x="129" y="9"/>
                </a:cubicBezTo>
                <a:cubicBezTo>
                  <a:pt x="127" y="10"/>
                  <a:pt x="126" y="10"/>
                  <a:pt x="124" y="10"/>
                </a:cubicBezTo>
                <a:cubicBezTo>
                  <a:pt x="122" y="12"/>
                  <a:pt x="122" y="13"/>
                  <a:pt x="119" y="12"/>
                </a:cubicBezTo>
                <a:cubicBezTo>
                  <a:pt x="117" y="12"/>
                  <a:pt x="117" y="10"/>
                  <a:pt x="114" y="10"/>
                </a:cubicBezTo>
                <a:cubicBezTo>
                  <a:pt x="114" y="11"/>
                  <a:pt x="112" y="12"/>
                  <a:pt x="112" y="12"/>
                </a:cubicBezTo>
                <a:cubicBezTo>
                  <a:pt x="110" y="13"/>
                  <a:pt x="106" y="14"/>
                  <a:pt x="104" y="13"/>
                </a:cubicBezTo>
                <a:cubicBezTo>
                  <a:pt x="103" y="13"/>
                  <a:pt x="102" y="11"/>
                  <a:pt x="102" y="11"/>
                </a:cubicBezTo>
                <a:cubicBezTo>
                  <a:pt x="101" y="11"/>
                  <a:pt x="99" y="11"/>
                  <a:pt x="98" y="11"/>
                </a:cubicBezTo>
                <a:cubicBezTo>
                  <a:pt x="98" y="11"/>
                  <a:pt x="97" y="10"/>
                  <a:pt x="97" y="9"/>
                </a:cubicBezTo>
                <a:cubicBezTo>
                  <a:pt x="95" y="8"/>
                  <a:pt x="94" y="8"/>
                  <a:pt x="91" y="8"/>
                </a:cubicBezTo>
                <a:cubicBezTo>
                  <a:pt x="90" y="10"/>
                  <a:pt x="90" y="10"/>
                  <a:pt x="90" y="10"/>
                </a:cubicBezTo>
                <a:cubicBezTo>
                  <a:pt x="90" y="10"/>
                  <a:pt x="89" y="9"/>
                  <a:pt x="88" y="10"/>
                </a:cubicBezTo>
                <a:cubicBezTo>
                  <a:pt x="87" y="8"/>
                  <a:pt x="86" y="6"/>
                  <a:pt x="85" y="4"/>
                </a:cubicBezTo>
                <a:cubicBezTo>
                  <a:pt x="80" y="4"/>
                  <a:pt x="81" y="4"/>
                  <a:pt x="78" y="3"/>
                </a:cubicBezTo>
                <a:cubicBezTo>
                  <a:pt x="78" y="2"/>
                  <a:pt x="78" y="1"/>
                  <a:pt x="78" y="1"/>
                </a:cubicBezTo>
                <a:cubicBezTo>
                  <a:pt x="76" y="1"/>
                  <a:pt x="74" y="3"/>
                  <a:pt x="71" y="3"/>
                </a:cubicBezTo>
                <a:cubicBezTo>
                  <a:pt x="69" y="2"/>
                  <a:pt x="67" y="0"/>
                  <a:pt x="62" y="1"/>
                </a:cubicBezTo>
                <a:cubicBezTo>
                  <a:pt x="62" y="1"/>
                  <a:pt x="62" y="1"/>
                  <a:pt x="62" y="1"/>
                </a:cubicBezTo>
                <a:cubicBezTo>
                  <a:pt x="60" y="2"/>
                  <a:pt x="56" y="2"/>
                  <a:pt x="54" y="3"/>
                </a:cubicBezTo>
                <a:cubicBezTo>
                  <a:pt x="54" y="4"/>
                  <a:pt x="54" y="5"/>
                  <a:pt x="53" y="6"/>
                </a:cubicBezTo>
                <a:cubicBezTo>
                  <a:pt x="51" y="7"/>
                  <a:pt x="49" y="6"/>
                  <a:pt x="48" y="7"/>
                </a:cubicBezTo>
                <a:cubicBezTo>
                  <a:pt x="48" y="8"/>
                  <a:pt x="48" y="8"/>
                  <a:pt x="48" y="8"/>
                </a:cubicBezTo>
                <a:cubicBezTo>
                  <a:pt x="46" y="9"/>
                  <a:pt x="45" y="11"/>
                  <a:pt x="44" y="11"/>
                </a:cubicBezTo>
                <a:cubicBezTo>
                  <a:pt x="41" y="12"/>
                  <a:pt x="38" y="11"/>
                  <a:pt x="37" y="10"/>
                </a:cubicBezTo>
                <a:cubicBezTo>
                  <a:pt x="37" y="10"/>
                  <a:pt x="37" y="10"/>
                  <a:pt x="37" y="10"/>
                </a:cubicBezTo>
                <a:cubicBezTo>
                  <a:pt x="36" y="10"/>
                  <a:pt x="35" y="11"/>
                  <a:pt x="34" y="11"/>
                </a:cubicBezTo>
                <a:cubicBezTo>
                  <a:pt x="33" y="11"/>
                  <a:pt x="30" y="11"/>
                  <a:pt x="27" y="10"/>
                </a:cubicBezTo>
                <a:cubicBezTo>
                  <a:pt x="26" y="13"/>
                  <a:pt x="26" y="13"/>
                  <a:pt x="26" y="13"/>
                </a:cubicBezTo>
                <a:cubicBezTo>
                  <a:pt x="28" y="14"/>
                  <a:pt x="31" y="15"/>
                  <a:pt x="32" y="15"/>
                </a:cubicBezTo>
                <a:cubicBezTo>
                  <a:pt x="31" y="15"/>
                  <a:pt x="27" y="15"/>
                  <a:pt x="26" y="15"/>
                </a:cubicBezTo>
                <a:cubicBezTo>
                  <a:pt x="26" y="16"/>
                  <a:pt x="26" y="16"/>
                  <a:pt x="26" y="16"/>
                </a:cubicBezTo>
                <a:cubicBezTo>
                  <a:pt x="26" y="16"/>
                  <a:pt x="26" y="17"/>
                  <a:pt x="26" y="17"/>
                </a:cubicBezTo>
                <a:cubicBezTo>
                  <a:pt x="25" y="17"/>
                  <a:pt x="22" y="19"/>
                  <a:pt x="21" y="19"/>
                </a:cubicBezTo>
                <a:cubicBezTo>
                  <a:pt x="18" y="19"/>
                  <a:pt x="19" y="17"/>
                  <a:pt x="15" y="18"/>
                </a:cubicBezTo>
                <a:cubicBezTo>
                  <a:pt x="15" y="18"/>
                  <a:pt x="15" y="20"/>
                  <a:pt x="15" y="20"/>
                </a:cubicBezTo>
                <a:cubicBezTo>
                  <a:pt x="7" y="20"/>
                  <a:pt x="7" y="22"/>
                  <a:pt x="2" y="26"/>
                </a:cubicBezTo>
                <a:cubicBezTo>
                  <a:pt x="4" y="28"/>
                  <a:pt x="2" y="31"/>
                  <a:pt x="1" y="32"/>
                </a:cubicBezTo>
                <a:cubicBezTo>
                  <a:pt x="2" y="32"/>
                  <a:pt x="5" y="32"/>
                  <a:pt x="7" y="32"/>
                </a:cubicBezTo>
                <a:cubicBezTo>
                  <a:pt x="8" y="37"/>
                  <a:pt x="8" y="37"/>
                  <a:pt x="7" y="41"/>
                </a:cubicBezTo>
                <a:cubicBezTo>
                  <a:pt x="7" y="42"/>
                  <a:pt x="8" y="42"/>
                  <a:pt x="9" y="42"/>
                </a:cubicBezTo>
                <a:cubicBezTo>
                  <a:pt x="9" y="44"/>
                  <a:pt x="9" y="44"/>
                  <a:pt x="9" y="44"/>
                </a:cubicBezTo>
                <a:cubicBezTo>
                  <a:pt x="8" y="44"/>
                  <a:pt x="8" y="45"/>
                  <a:pt x="7" y="46"/>
                </a:cubicBezTo>
                <a:cubicBezTo>
                  <a:pt x="7" y="46"/>
                  <a:pt x="4" y="45"/>
                  <a:pt x="5" y="44"/>
                </a:cubicBezTo>
                <a:cubicBezTo>
                  <a:pt x="5" y="44"/>
                  <a:pt x="4" y="44"/>
                  <a:pt x="3" y="44"/>
                </a:cubicBezTo>
                <a:cubicBezTo>
                  <a:pt x="3" y="45"/>
                  <a:pt x="3" y="45"/>
                  <a:pt x="3" y="45"/>
                </a:cubicBezTo>
                <a:cubicBezTo>
                  <a:pt x="5" y="45"/>
                  <a:pt x="4" y="48"/>
                  <a:pt x="4" y="49"/>
                </a:cubicBezTo>
                <a:cubicBezTo>
                  <a:pt x="6" y="49"/>
                  <a:pt x="6" y="49"/>
                  <a:pt x="8" y="48"/>
                </a:cubicBezTo>
                <a:cubicBezTo>
                  <a:pt x="8" y="49"/>
                  <a:pt x="10" y="50"/>
                  <a:pt x="10" y="50"/>
                </a:cubicBezTo>
                <a:cubicBezTo>
                  <a:pt x="11" y="55"/>
                  <a:pt x="11" y="57"/>
                  <a:pt x="10" y="60"/>
                </a:cubicBezTo>
                <a:cubicBezTo>
                  <a:pt x="13" y="61"/>
                  <a:pt x="15" y="61"/>
                  <a:pt x="17" y="61"/>
                </a:cubicBezTo>
                <a:cubicBezTo>
                  <a:pt x="16" y="61"/>
                  <a:pt x="16" y="64"/>
                  <a:pt x="17" y="64"/>
                </a:cubicBezTo>
                <a:cubicBezTo>
                  <a:pt x="18" y="65"/>
                  <a:pt x="20" y="63"/>
                  <a:pt x="21" y="63"/>
                </a:cubicBezTo>
                <a:cubicBezTo>
                  <a:pt x="21" y="63"/>
                  <a:pt x="21" y="65"/>
                  <a:pt x="22" y="66"/>
                </a:cubicBezTo>
                <a:cubicBezTo>
                  <a:pt x="23" y="67"/>
                  <a:pt x="24" y="66"/>
                  <a:pt x="26" y="66"/>
                </a:cubicBezTo>
                <a:cubicBezTo>
                  <a:pt x="26" y="67"/>
                  <a:pt x="27" y="68"/>
                  <a:pt x="26" y="69"/>
                </a:cubicBezTo>
                <a:cubicBezTo>
                  <a:pt x="28" y="71"/>
                  <a:pt x="30" y="72"/>
                  <a:pt x="32" y="74"/>
                </a:cubicBezTo>
                <a:cubicBezTo>
                  <a:pt x="37" y="71"/>
                  <a:pt x="37" y="72"/>
                  <a:pt x="40" y="65"/>
                </a:cubicBezTo>
                <a:cubicBezTo>
                  <a:pt x="44" y="65"/>
                  <a:pt x="48" y="66"/>
                  <a:pt x="52" y="68"/>
                </a:cubicBezTo>
                <a:cubicBezTo>
                  <a:pt x="53" y="69"/>
                  <a:pt x="56" y="73"/>
                  <a:pt x="57" y="73"/>
                </a:cubicBezTo>
                <a:cubicBezTo>
                  <a:pt x="61" y="74"/>
                  <a:pt x="68" y="72"/>
                  <a:pt x="70" y="70"/>
                </a:cubicBezTo>
                <a:cubicBezTo>
                  <a:pt x="71" y="70"/>
                  <a:pt x="72" y="67"/>
                  <a:pt x="74" y="66"/>
                </a:cubicBezTo>
                <a:cubicBezTo>
                  <a:pt x="76" y="66"/>
                  <a:pt x="77" y="67"/>
                  <a:pt x="79" y="67"/>
                </a:cubicBezTo>
                <a:cubicBezTo>
                  <a:pt x="82" y="62"/>
                  <a:pt x="82" y="62"/>
                  <a:pt x="82" y="62"/>
                </a:cubicBezTo>
                <a:cubicBezTo>
                  <a:pt x="83" y="62"/>
                  <a:pt x="84" y="63"/>
                  <a:pt x="84" y="62"/>
                </a:cubicBezTo>
                <a:cubicBezTo>
                  <a:pt x="84" y="64"/>
                  <a:pt x="86" y="67"/>
                  <a:pt x="84" y="69"/>
                </a:cubicBezTo>
                <a:cubicBezTo>
                  <a:pt x="84" y="69"/>
                  <a:pt x="82" y="70"/>
                  <a:pt x="82" y="70"/>
                </a:cubicBezTo>
                <a:cubicBezTo>
                  <a:pt x="82" y="71"/>
                  <a:pt x="83" y="73"/>
                  <a:pt x="83" y="72"/>
                </a:cubicBezTo>
                <a:cubicBezTo>
                  <a:pt x="83" y="72"/>
                  <a:pt x="83" y="74"/>
                  <a:pt x="83" y="74"/>
                </a:cubicBezTo>
                <a:cubicBezTo>
                  <a:pt x="83" y="74"/>
                  <a:pt x="83" y="75"/>
                  <a:pt x="83" y="77"/>
                </a:cubicBezTo>
                <a:close/>
                <a:moveTo>
                  <a:pt x="146" y="38"/>
                </a:moveTo>
                <a:cubicBezTo>
                  <a:pt x="149" y="37"/>
                  <a:pt x="145" y="42"/>
                  <a:pt x="145" y="42"/>
                </a:cubicBezTo>
                <a:cubicBezTo>
                  <a:pt x="145" y="43"/>
                  <a:pt x="147" y="43"/>
                  <a:pt x="147" y="44"/>
                </a:cubicBezTo>
                <a:cubicBezTo>
                  <a:pt x="147" y="45"/>
                  <a:pt x="146" y="45"/>
                  <a:pt x="146" y="46"/>
                </a:cubicBezTo>
                <a:cubicBezTo>
                  <a:pt x="142" y="44"/>
                  <a:pt x="141" y="45"/>
                  <a:pt x="135" y="46"/>
                </a:cubicBezTo>
                <a:cubicBezTo>
                  <a:pt x="135" y="46"/>
                  <a:pt x="136" y="44"/>
                  <a:pt x="135" y="44"/>
                </a:cubicBezTo>
                <a:cubicBezTo>
                  <a:pt x="135" y="44"/>
                  <a:pt x="137" y="42"/>
                  <a:pt x="137" y="42"/>
                </a:cubicBezTo>
                <a:cubicBezTo>
                  <a:pt x="139" y="41"/>
                  <a:pt x="142" y="41"/>
                  <a:pt x="145" y="41"/>
                </a:cubicBezTo>
                <a:cubicBezTo>
                  <a:pt x="145" y="40"/>
                  <a:pt x="145" y="39"/>
                  <a:pt x="146" y="38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2" name="Google Shape;442;p102"/>
          <p:cNvSpPr/>
          <p:nvPr/>
        </p:nvSpPr>
        <p:spPr>
          <a:xfrm>
            <a:off x="6422437" y="3571418"/>
            <a:ext cx="111499" cy="213328"/>
          </a:xfrm>
          <a:custGeom>
            <a:avLst/>
            <a:gdLst/>
            <a:ahLst/>
            <a:cxnLst/>
            <a:rect l="l" t="t" r="r" b="b"/>
            <a:pathLst>
              <a:path w="39" h="77" extrusionOk="0">
                <a:moveTo>
                  <a:pt x="34" y="46"/>
                </a:moveTo>
                <a:cubicBezTo>
                  <a:pt x="33" y="44"/>
                  <a:pt x="31" y="44"/>
                  <a:pt x="31" y="44"/>
                </a:cubicBezTo>
                <a:cubicBezTo>
                  <a:pt x="30" y="43"/>
                  <a:pt x="28" y="43"/>
                  <a:pt x="27" y="42"/>
                </a:cubicBezTo>
                <a:cubicBezTo>
                  <a:pt x="26" y="40"/>
                  <a:pt x="27" y="37"/>
                  <a:pt x="27" y="37"/>
                </a:cubicBezTo>
                <a:cubicBezTo>
                  <a:pt x="28" y="36"/>
                  <a:pt x="31" y="32"/>
                  <a:pt x="31" y="32"/>
                </a:cubicBezTo>
                <a:cubicBezTo>
                  <a:pt x="31" y="31"/>
                  <a:pt x="31" y="30"/>
                  <a:pt x="31" y="29"/>
                </a:cubicBezTo>
                <a:cubicBezTo>
                  <a:pt x="31" y="29"/>
                  <a:pt x="33" y="29"/>
                  <a:pt x="33" y="29"/>
                </a:cubicBezTo>
                <a:cubicBezTo>
                  <a:pt x="33" y="28"/>
                  <a:pt x="32" y="24"/>
                  <a:pt x="32" y="24"/>
                </a:cubicBezTo>
                <a:cubicBezTo>
                  <a:pt x="32" y="24"/>
                  <a:pt x="33" y="20"/>
                  <a:pt x="33" y="20"/>
                </a:cubicBezTo>
                <a:cubicBezTo>
                  <a:pt x="32" y="19"/>
                  <a:pt x="30" y="20"/>
                  <a:pt x="30" y="20"/>
                </a:cubicBezTo>
                <a:cubicBezTo>
                  <a:pt x="30" y="18"/>
                  <a:pt x="29" y="15"/>
                  <a:pt x="30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31" y="13"/>
                  <a:pt x="39" y="4"/>
                  <a:pt x="34" y="4"/>
                </a:cubicBezTo>
                <a:cubicBezTo>
                  <a:pt x="31" y="5"/>
                  <a:pt x="31" y="5"/>
                  <a:pt x="31" y="5"/>
                </a:cubicBezTo>
                <a:cubicBezTo>
                  <a:pt x="30" y="5"/>
                  <a:pt x="29" y="4"/>
                  <a:pt x="28" y="4"/>
                </a:cubicBezTo>
                <a:cubicBezTo>
                  <a:pt x="28" y="3"/>
                  <a:pt x="28" y="3"/>
                  <a:pt x="28" y="1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0"/>
                  <a:pt x="26" y="1"/>
                  <a:pt x="25" y="1"/>
                </a:cubicBezTo>
                <a:cubicBezTo>
                  <a:pt x="24" y="0"/>
                  <a:pt x="24" y="0"/>
                  <a:pt x="24" y="0"/>
                </a:cubicBezTo>
                <a:cubicBezTo>
                  <a:pt x="21" y="0"/>
                  <a:pt x="20" y="2"/>
                  <a:pt x="18" y="2"/>
                </a:cubicBezTo>
                <a:cubicBezTo>
                  <a:pt x="13" y="4"/>
                  <a:pt x="9" y="3"/>
                  <a:pt x="5" y="3"/>
                </a:cubicBezTo>
                <a:cubicBezTo>
                  <a:pt x="5" y="3"/>
                  <a:pt x="4" y="10"/>
                  <a:pt x="6" y="11"/>
                </a:cubicBezTo>
                <a:cubicBezTo>
                  <a:pt x="8" y="12"/>
                  <a:pt x="7" y="14"/>
                  <a:pt x="7" y="16"/>
                </a:cubicBezTo>
                <a:cubicBezTo>
                  <a:pt x="7" y="18"/>
                  <a:pt x="9" y="21"/>
                  <a:pt x="9" y="25"/>
                </a:cubicBezTo>
                <a:cubicBezTo>
                  <a:pt x="10" y="28"/>
                  <a:pt x="7" y="27"/>
                  <a:pt x="7" y="29"/>
                </a:cubicBezTo>
                <a:cubicBezTo>
                  <a:pt x="7" y="31"/>
                  <a:pt x="5" y="34"/>
                  <a:pt x="3" y="35"/>
                </a:cubicBezTo>
                <a:cubicBezTo>
                  <a:pt x="1" y="35"/>
                  <a:pt x="0" y="34"/>
                  <a:pt x="0" y="37"/>
                </a:cubicBezTo>
                <a:cubicBezTo>
                  <a:pt x="0" y="40"/>
                  <a:pt x="1" y="47"/>
                  <a:pt x="1" y="47"/>
                </a:cubicBezTo>
                <a:cubicBezTo>
                  <a:pt x="1" y="47"/>
                  <a:pt x="4" y="46"/>
                  <a:pt x="5" y="48"/>
                </a:cubicBezTo>
                <a:cubicBezTo>
                  <a:pt x="6" y="50"/>
                  <a:pt x="7" y="56"/>
                  <a:pt x="7" y="56"/>
                </a:cubicBezTo>
                <a:cubicBezTo>
                  <a:pt x="12" y="57"/>
                  <a:pt x="12" y="57"/>
                  <a:pt x="12" y="57"/>
                </a:cubicBezTo>
                <a:cubicBezTo>
                  <a:pt x="15" y="77"/>
                  <a:pt x="15" y="77"/>
                  <a:pt x="15" y="77"/>
                </a:cubicBezTo>
                <a:cubicBezTo>
                  <a:pt x="16" y="77"/>
                  <a:pt x="16" y="77"/>
                  <a:pt x="16" y="77"/>
                </a:cubicBezTo>
                <a:cubicBezTo>
                  <a:pt x="16" y="77"/>
                  <a:pt x="20" y="75"/>
                  <a:pt x="20" y="73"/>
                </a:cubicBezTo>
                <a:cubicBezTo>
                  <a:pt x="20" y="71"/>
                  <a:pt x="22" y="71"/>
                  <a:pt x="22" y="69"/>
                </a:cubicBezTo>
                <a:cubicBezTo>
                  <a:pt x="21" y="66"/>
                  <a:pt x="21" y="61"/>
                  <a:pt x="21" y="61"/>
                </a:cubicBezTo>
                <a:cubicBezTo>
                  <a:pt x="21" y="61"/>
                  <a:pt x="23" y="59"/>
                  <a:pt x="25" y="59"/>
                </a:cubicBezTo>
                <a:cubicBezTo>
                  <a:pt x="27" y="59"/>
                  <a:pt x="28" y="56"/>
                  <a:pt x="31" y="55"/>
                </a:cubicBezTo>
                <a:cubicBezTo>
                  <a:pt x="34" y="54"/>
                  <a:pt x="32" y="50"/>
                  <a:pt x="32" y="50"/>
                </a:cubicBezTo>
                <a:lnTo>
                  <a:pt x="34" y="46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3" name="Google Shape;443;p102"/>
          <p:cNvSpPr/>
          <p:nvPr/>
        </p:nvSpPr>
        <p:spPr>
          <a:xfrm>
            <a:off x="4716209" y="4386586"/>
            <a:ext cx="14671" cy="19779"/>
          </a:xfrm>
          <a:custGeom>
            <a:avLst/>
            <a:gdLst/>
            <a:ahLst/>
            <a:cxnLst/>
            <a:rect l="l" t="t" r="r" b="b"/>
            <a:pathLst>
              <a:path w="5" h="7" extrusionOk="0">
                <a:moveTo>
                  <a:pt x="1" y="1"/>
                </a:moveTo>
                <a:cubicBezTo>
                  <a:pt x="1" y="1"/>
                  <a:pt x="0" y="2"/>
                  <a:pt x="0" y="2"/>
                </a:cubicBezTo>
                <a:cubicBezTo>
                  <a:pt x="0" y="3"/>
                  <a:pt x="1" y="5"/>
                  <a:pt x="1" y="7"/>
                </a:cubicBezTo>
                <a:cubicBezTo>
                  <a:pt x="2" y="7"/>
                  <a:pt x="3" y="7"/>
                  <a:pt x="4" y="7"/>
                </a:cubicBezTo>
                <a:cubicBezTo>
                  <a:pt x="5" y="1"/>
                  <a:pt x="5" y="1"/>
                  <a:pt x="5" y="1"/>
                </a:cubicBezTo>
                <a:cubicBezTo>
                  <a:pt x="4" y="0"/>
                  <a:pt x="2" y="1"/>
                  <a:pt x="1" y="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4" name="Google Shape;444;p102"/>
          <p:cNvSpPr/>
          <p:nvPr/>
        </p:nvSpPr>
        <p:spPr>
          <a:xfrm>
            <a:off x="4716209" y="4386586"/>
            <a:ext cx="14671" cy="19779"/>
          </a:xfrm>
          <a:custGeom>
            <a:avLst/>
            <a:gdLst/>
            <a:ahLst/>
            <a:cxnLst/>
            <a:rect l="l" t="t" r="r" b="b"/>
            <a:pathLst>
              <a:path w="5" h="7" extrusionOk="0">
                <a:moveTo>
                  <a:pt x="1" y="1"/>
                </a:moveTo>
                <a:cubicBezTo>
                  <a:pt x="1" y="1"/>
                  <a:pt x="0" y="2"/>
                  <a:pt x="0" y="2"/>
                </a:cubicBezTo>
                <a:cubicBezTo>
                  <a:pt x="0" y="3"/>
                  <a:pt x="1" y="5"/>
                  <a:pt x="1" y="7"/>
                </a:cubicBezTo>
                <a:cubicBezTo>
                  <a:pt x="2" y="7"/>
                  <a:pt x="3" y="7"/>
                  <a:pt x="4" y="7"/>
                </a:cubicBezTo>
                <a:cubicBezTo>
                  <a:pt x="5" y="1"/>
                  <a:pt x="5" y="1"/>
                  <a:pt x="5" y="1"/>
                </a:cubicBezTo>
                <a:cubicBezTo>
                  <a:pt x="4" y="0"/>
                  <a:pt x="2" y="1"/>
                  <a:pt x="1" y="1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5" name="Google Shape;445;p102"/>
          <p:cNvSpPr/>
          <p:nvPr/>
        </p:nvSpPr>
        <p:spPr>
          <a:xfrm>
            <a:off x="6231714" y="4361157"/>
            <a:ext cx="55749" cy="183660"/>
          </a:xfrm>
          <a:custGeom>
            <a:avLst/>
            <a:gdLst/>
            <a:ahLst/>
            <a:cxnLst/>
            <a:rect l="l" t="t" r="r" b="b"/>
            <a:pathLst>
              <a:path w="19" h="66" extrusionOk="0">
                <a:moveTo>
                  <a:pt x="12" y="63"/>
                </a:moveTo>
                <a:cubicBezTo>
                  <a:pt x="13" y="62"/>
                  <a:pt x="13" y="61"/>
                  <a:pt x="14" y="60"/>
                </a:cubicBezTo>
                <a:cubicBezTo>
                  <a:pt x="13" y="61"/>
                  <a:pt x="14" y="63"/>
                  <a:pt x="15" y="63"/>
                </a:cubicBezTo>
                <a:cubicBezTo>
                  <a:pt x="13" y="63"/>
                  <a:pt x="12" y="66"/>
                  <a:pt x="15" y="65"/>
                </a:cubicBezTo>
                <a:cubicBezTo>
                  <a:pt x="15" y="65"/>
                  <a:pt x="15" y="63"/>
                  <a:pt x="16" y="62"/>
                </a:cubicBezTo>
                <a:cubicBezTo>
                  <a:pt x="16" y="62"/>
                  <a:pt x="18" y="63"/>
                  <a:pt x="19" y="62"/>
                </a:cubicBezTo>
                <a:cubicBezTo>
                  <a:pt x="19" y="62"/>
                  <a:pt x="19" y="59"/>
                  <a:pt x="17" y="57"/>
                </a:cubicBezTo>
                <a:cubicBezTo>
                  <a:pt x="16" y="55"/>
                  <a:pt x="16" y="55"/>
                  <a:pt x="16" y="55"/>
                </a:cubicBezTo>
                <a:cubicBezTo>
                  <a:pt x="16" y="55"/>
                  <a:pt x="17" y="52"/>
                  <a:pt x="16" y="49"/>
                </a:cubicBezTo>
                <a:cubicBezTo>
                  <a:pt x="15" y="47"/>
                  <a:pt x="15" y="46"/>
                  <a:pt x="16" y="43"/>
                </a:cubicBezTo>
                <a:cubicBezTo>
                  <a:pt x="17" y="40"/>
                  <a:pt x="17" y="40"/>
                  <a:pt x="17" y="36"/>
                </a:cubicBezTo>
                <a:cubicBezTo>
                  <a:pt x="17" y="33"/>
                  <a:pt x="15" y="33"/>
                  <a:pt x="17" y="28"/>
                </a:cubicBezTo>
                <a:cubicBezTo>
                  <a:pt x="18" y="24"/>
                  <a:pt x="17" y="22"/>
                  <a:pt x="17" y="22"/>
                </a:cubicBezTo>
                <a:cubicBezTo>
                  <a:pt x="17" y="22"/>
                  <a:pt x="15" y="19"/>
                  <a:pt x="16" y="17"/>
                </a:cubicBezTo>
                <a:cubicBezTo>
                  <a:pt x="17" y="15"/>
                  <a:pt x="16" y="11"/>
                  <a:pt x="16" y="11"/>
                </a:cubicBezTo>
                <a:cubicBezTo>
                  <a:pt x="9" y="10"/>
                  <a:pt x="9" y="10"/>
                  <a:pt x="9" y="10"/>
                </a:cubicBezTo>
                <a:cubicBezTo>
                  <a:pt x="10" y="1"/>
                  <a:pt x="10" y="1"/>
                  <a:pt x="10" y="1"/>
                </a:cubicBezTo>
                <a:cubicBezTo>
                  <a:pt x="10" y="1"/>
                  <a:pt x="7" y="1"/>
                  <a:pt x="6" y="0"/>
                </a:cubicBezTo>
                <a:cubicBezTo>
                  <a:pt x="4" y="0"/>
                  <a:pt x="2" y="0"/>
                  <a:pt x="2" y="0"/>
                </a:cubicBezTo>
                <a:cubicBezTo>
                  <a:pt x="2" y="0"/>
                  <a:pt x="0" y="7"/>
                  <a:pt x="2" y="8"/>
                </a:cubicBezTo>
                <a:cubicBezTo>
                  <a:pt x="3" y="8"/>
                  <a:pt x="5" y="10"/>
                  <a:pt x="5" y="13"/>
                </a:cubicBezTo>
                <a:cubicBezTo>
                  <a:pt x="5" y="16"/>
                  <a:pt x="6" y="19"/>
                  <a:pt x="4" y="21"/>
                </a:cubicBezTo>
                <a:cubicBezTo>
                  <a:pt x="3" y="23"/>
                  <a:pt x="6" y="24"/>
                  <a:pt x="6" y="25"/>
                </a:cubicBezTo>
                <a:cubicBezTo>
                  <a:pt x="5" y="27"/>
                  <a:pt x="3" y="29"/>
                  <a:pt x="5" y="33"/>
                </a:cubicBezTo>
                <a:cubicBezTo>
                  <a:pt x="7" y="36"/>
                  <a:pt x="7" y="36"/>
                  <a:pt x="7" y="38"/>
                </a:cubicBezTo>
                <a:cubicBezTo>
                  <a:pt x="7" y="41"/>
                  <a:pt x="6" y="46"/>
                  <a:pt x="6" y="47"/>
                </a:cubicBezTo>
                <a:cubicBezTo>
                  <a:pt x="6" y="48"/>
                  <a:pt x="5" y="50"/>
                  <a:pt x="7" y="51"/>
                </a:cubicBezTo>
                <a:cubicBezTo>
                  <a:pt x="8" y="52"/>
                  <a:pt x="5" y="52"/>
                  <a:pt x="7" y="54"/>
                </a:cubicBezTo>
                <a:cubicBezTo>
                  <a:pt x="8" y="55"/>
                  <a:pt x="12" y="63"/>
                  <a:pt x="12" y="6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6" name="Google Shape;446;p102"/>
          <p:cNvSpPr/>
          <p:nvPr/>
        </p:nvSpPr>
        <p:spPr>
          <a:xfrm>
            <a:off x="8664768" y="4115403"/>
            <a:ext cx="189193" cy="450241"/>
          </a:xfrm>
          <a:custGeom>
            <a:avLst/>
            <a:gdLst/>
            <a:ahLst/>
            <a:cxnLst/>
            <a:rect l="l" t="t" r="r" b="b"/>
            <a:pathLst>
              <a:path w="63" h="159" extrusionOk="0">
                <a:moveTo>
                  <a:pt x="22" y="2"/>
                </a:moveTo>
                <a:cubicBezTo>
                  <a:pt x="22" y="4"/>
                  <a:pt x="22" y="4"/>
                  <a:pt x="22" y="4"/>
                </a:cubicBezTo>
                <a:cubicBezTo>
                  <a:pt x="24" y="5"/>
                  <a:pt x="24" y="5"/>
                  <a:pt x="24" y="5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7"/>
                  <a:pt x="28" y="7"/>
                  <a:pt x="28" y="7"/>
                </a:cubicBezTo>
                <a:cubicBezTo>
                  <a:pt x="26" y="11"/>
                  <a:pt x="26" y="11"/>
                  <a:pt x="26" y="11"/>
                </a:cubicBezTo>
                <a:cubicBezTo>
                  <a:pt x="27" y="14"/>
                  <a:pt x="27" y="14"/>
                  <a:pt x="27" y="14"/>
                </a:cubicBezTo>
                <a:cubicBezTo>
                  <a:pt x="27" y="16"/>
                  <a:pt x="27" y="16"/>
                  <a:pt x="27" y="16"/>
                </a:cubicBezTo>
                <a:cubicBezTo>
                  <a:pt x="29" y="18"/>
                  <a:pt x="29" y="18"/>
                  <a:pt x="29" y="18"/>
                </a:cubicBezTo>
                <a:cubicBezTo>
                  <a:pt x="30" y="21"/>
                  <a:pt x="30" y="21"/>
                  <a:pt x="30" y="21"/>
                </a:cubicBezTo>
                <a:cubicBezTo>
                  <a:pt x="29" y="23"/>
                  <a:pt x="29" y="23"/>
                  <a:pt x="29" y="23"/>
                </a:cubicBezTo>
                <a:cubicBezTo>
                  <a:pt x="31" y="25"/>
                  <a:pt x="31" y="25"/>
                  <a:pt x="31" y="25"/>
                </a:cubicBezTo>
                <a:cubicBezTo>
                  <a:pt x="33" y="23"/>
                  <a:pt x="33" y="23"/>
                  <a:pt x="33" y="23"/>
                </a:cubicBezTo>
                <a:cubicBezTo>
                  <a:pt x="35" y="21"/>
                  <a:pt x="35" y="21"/>
                  <a:pt x="35" y="21"/>
                </a:cubicBezTo>
                <a:cubicBezTo>
                  <a:pt x="41" y="17"/>
                  <a:pt x="41" y="17"/>
                  <a:pt x="41" y="17"/>
                </a:cubicBezTo>
                <a:cubicBezTo>
                  <a:pt x="43" y="18"/>
                  <a:pt x="43" y="18"/>
                  <a:pt x="43" y="18"/>
                </a:cubicBezTo>
                <a:cubicBezTo>
                  <a:pt x="43" y="19"/>
                  <a:pt x="43" y="19"/>
                  <a:pt x="43" y="19"/>
                </a:cubicBezTo>
                <a:cubicBezTo>
                  <a:pt x="45" y="21"/>
                  <a:pt x="45" y="21"/>
                  <a:pt x="45" y="21"/>
                </a:cubicBezTo>
                <a:cubicBezTo>
                  <a:pt x="48" y="23"/>
                  <a:pt x="48" y="23"/>
                  <a:pt x="48" y="23"/>
                </a:cubicBezTo>
                <a:cubicBezTo>
                  <a:pt x="51" y="23"/>
                  <a:pt x="51" y="23"/>
                  <a:pt x="51" y="23"/>
                </a:cubicBezTo>
                <a:cubicBezTo>
                  <a:pt x="56" y="29"/>
                  <a:pt x="56" y="29"/>
                  <a:pt x="56" y="29"/>
                </a:cubicBezTo>
                <a:cubicBezTo>
                  <a:pt x="56" y="33"/>
                  <a:pt x="56" y="33"/>
                  <a:pt x="56" y="33"/>
                </a:cubicBezTo>
                <a:cubicBezTo>
                  <a:pt x="56" y="38"/>
                  <a:pt x="56" y="38"/>
                  <a:pt x="56" y="38"/>
                </a:cubicBezTo>
                <a:cubicBezTo>
                  <a:pt x="58" y="41"/>
                  <a:pt x="58" y="41"/>
                  <a:pt x="58" y="41"/>
                </a:cubicBezTo>
                <a:cubicBezTo>
                  <a:pt x="61" y="43"/>
                  <a:pt x="61" y="43"/>
                  <a:pt x="61" y="43"/>
                </a:cubicBezTo>
                <a:cubicBezTo>
                  <a:pt x="62" y="45"/>
                  <a:pt x="62" y="45"/>
                  <a:pt x="62" y="45"/>
                </a:cubicBezTo>
                <a:cubicBezTo>
                  <a:pt x="62" y="49"/>
                  <a:pt x="62" y="49"/>
                  <a:pt x="62" y="49"/>
                </a:cubicBezTo>
                <a:cubicBezTo>
                  <a:pt x="63" y="51"/>
                  <a:pt x="63" y="51"/>
                  <a:pt x="63" y="51"/>
                </a:cubicBezTo>
                <a:cubicBezTo>
                  <a:pt x="62" y="54"/>
                  <a:pt x="62" y="54"/>
                  <a:pt x="62" y="54"/>
                </a:cubicBezTo>
                <a:cubicBezTo>
                  <a:pt x="61" y="57"/>
                  <a:pt x="61" y="57"/>
                  <a:pt x="61" y="57"/>
                </a:cubicBezTo>
                <a:cubicBezTo>
                  <a:pt x="58" y="60"/>
                  <a:pt x="58" y="60"/>
                  <a:pt x="58" y="60"/>
                </a:cubicBezTo>
                <a:cubicBezTo>
                  <a:pt x="56" y="62"/>
                  <a:pt x="56" y="62"/>
                  <a:pt x="56" y="62"/>
                </a:cubicBezTo>
                <a:cubicBezTo>
                  <a:pt x="52" y="65"/>
                  <a:pt x="52" y="65"/>
                  <a:pt x="52" y="65"/>
                </a:cubicBezTo>
                <a:cubicBezTo>
                  <a:pt x="49" y="65"/>
                  <a:pt x="49" y="65"/>
                  <a:pt x="49" y="65"/>
                </a:cubicBezTo>
                <a:cubicBezTo>
                  <a:pt x="46" y="65"/>
                  <a:pt x="46" y="65"/>
                  <a:pt x="46" y="65"/>
                </a:cubicBezTo>
                <a:cubicBezTo>
                  <a:pt x="42" y="67"/>
                  <a:pt x="42" y="67"/>
                  <a:pt x="42" y="67"/>
                </a:cubicBezTo>
                <a:cubicBezTo>
                  <a:pt x="39" y="68"/>
                  <a:pt x="39" y="68"/>
                  <a:pt x="39" y="68"/>
                </a:cubicBezTo>
                <a:cubicBezTo>
                  <a:pt x="38" y="73"/>
                  <a:pt x="38" y="73"/>
                  <a:pt x="38" y="73"/>
                </a:cubicBezTo>
                <a:cubicBezTo>
                  <a:pt x="39" y="80"/>
                  <a:pt x="39" y="80"/>
                  <a:pt x="39" y="80"/>
                </a:cubicBezTo>
                <a:cubicBezTo>
                  <a:pt x="42" y="85"/>
                  <a:pt x="42" y="85"/>
                  <a:pt x="42" y="85"/>
                </a:cubicBezTo>
                <a:cubicBezTo>
                  <a:pt x="42" y="89"/>
                  <a:pt x="42" y="89"/>
                  <a:pt x="42" y="89"/>
                </a:cubicBezTo>
                <a:cubicBezTo>
                  <a:pt x="43" y="95"/>
                  <a:pt x="43" y="95"/>
                  <a:pt x="43" y="95"/>
                </a:cubicBezTo>
                <a:cubicBezTo>
                  <a:pt x="42" y="94"/>
                  <a:pt x="42" y="94"/>
                  <a:pt x="41" y="94"/>
                </a:cubicBezTo>
                <a:cubicBezTo>
                  <a:pt x="41" y="93"/>
                  <a:pt x="41" y="91"/>
                  <a:pt x="41" y="90"/>
                </a:cubicBezTo>
                <a:cubicBezTo>
                  <a:pt x="40" y="90"/>
                  <a:pt x="39" y="90"/>
                  <a:pt x="38" y="90"/>
                </a:cubicBezTo>
                <a:cubicBezTo>
                  <a:pt x="36" y="87"/>
                  <a:pt x="36" y="84"/>
                  <a:pt x="34" y="82"/>
                </a:cubicBezTo>
                <a:cubicBezTo>
                  <a:pt x="33" y="82"/>
                  <a:pt x="31" y="82"/>
                  <a:pt x="29" y="82"/>
                </a:cubicBezTo>
                <a:cubicBezTo>
                  <a:pt x="27" y="75"/>
                  <a:pt x="29" y="75"/>
                  <a:pt x="21" y="74"/>
                </a:cubicBezTo>
                <a:cubicBezTo>
                  <a:pt x="20" y="76"/>
                  <a:pt x="21" y="75"/>
                  <a:pt x="19" y="76"/>
                </a:cubicBezTo>
                <a:cubicBezTo>
                  <a:pt x="21" y="81"/>
                  <a:pt x="18" y="82"/>
                  <a:pt x="19" y="88"/>
                </a:cubicBezTo>
                <a:cubicBezTo>
                  <a:pt x="19" y="88"/>
                  <a:pt x="20" y="89"/>
                  <a:pt x="20" y="90"/>
                </a:cubicBezTo>
                <a:cubicBezTo>
                  <a:pt x="20" y="91"/>
                  <a:pt x="18" y="92"/>
                  <a:pt x="18" y="93"/>
                </a:cubicBezTo>
                <a:cubicBezTo>
                  <a:pt x="17" y="96"/>
                  <a:pt x="18" y="100"/>
                  <a:pt x="17" y="103"/>
                </a:cubicBezTo>
                <a:cubicBezTo>
                  <a:pt x="16" y="105"/>
                  <a:pt x="16" y="105"/>
                  <a:pt x="16" y="105"/>
                </a:cubicBezTo>
                <a:cubicBezTo>
                  <a:pt x="15" y="107"/>
                  <a:pt x="13" y="116"/>
                  <a:pt x="14" y="119"/>
                </a:cubicBezTo>
                <a:cubicBezTo>
                  <a:pt x="14" y="121"/>
                  <a:pt x="17" y="120"/>
                  <a:pt x="17" y="121"/>
                </a:cubicBezTo>
                <a:cubicBezTo>
                  <a:pt x="18" y="123"/>
                  <a:pt x="18" y="127"/>
                  <a:pt x="19" y="128"/>
                </a:cubicBezTo>
                <a:cubicBezTo>
                  <a:pt x="20" y="128"/>
                  <a:pt x="20" y="127"/>
                  <a:pt x="21" y="127"/>
                </a:cubicBezTo>
                <a:cubicBezTo>
                  <a:pt x="22" y="132"/>
                  <a:pt x="22" y="138"/>
                  <a:pt x="26" y="140"/>
                </a:cubicBezTo>
                <a:cubicBezTo>
                  <a:pt x="27" y="141"/>
                  <a:pt x="29" y="140"/>
                  <a:pt x="31" y="141"/>
                </a:cubicBezTo>
                <a:cubicBezTo>
                  <a:pt x="31" y="141"/>
                  <a:pt x="31" y="143"/>
                  <a:pt x="31" y="144"/>
                </a:cubicBezTo>
                <a:cubicBezTo>
                  <a:pt x="32" y="145"/>
                  <a:pt x="34" y="146"/>
                  <a:pt x="35" y="147"/>
                </a:cubicBezTo>
                <a:cubicBezTo>
                  <a:pt x="36" y="149"/>
                  <a:pt x="36" y="150"/>
                  <a:pt x="37" y="151"/>
                </a:cubicBezTo>
                <a:cubicBezTo>
                  <a:pt x="35" y="153"/>
                  <a:pt x="35" y="153"/>
                  <a:pt x="35" y="153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32" y="157"/>
                  <a:pt x="32" y="157"/>
                  <a:pt x="32" y="157"/>
                </a:cubicBezTo>
                <a:cubicBezTo>
                  <a:pt x="31" y="159"/>
                  <a:pt x="31" y="159"/>
                  <a:pt x="31" y="159"/>
                </a:cubicBezTo>
                <a:cubicBezTo>
                  <a:pt x="29" y="159"/>
                  <a:pt x="29" y="159"/>
                  <a:pt x="29" y="159"/>
                </a:cubicBezTo>
                <a:cubicBezTo>
                  <a:pt x="29" y="155"/>
                  <a:pt x="29" y="155"/>
                  <a:pt x="29" y="155"/>
                </a:cubicBezTo>
                <a:cubicBezTo>
                  <a:pt x="24" y="152"/>
                  <a:pt x="24" y="152"/>
                  <a:pt x="24" y="152"/>
                </a:cubicBezTo>
                <a:cubicBezTo>
                  <a:pt x="21" y="154"/>
                  <a:pt x="21" y="154"/>
                  <a:pt x="21" y="154"/>
                </a:cubicBezTo>
                <a:cubicBezTo>
                  <a:pt x="20" y="150"/>
                  <a:pt x="21" y="147"/>
                  <a:pt x="20" y="144"/>
                </a:cubicBezTo>
                <a:cubicBezTo>
                  <a:pt x="20" y="144"/>
                  <a:pt x="18" y="143"/>
                  <a:pt x="18" y="143"/>
                </a:cubicBezTo>
                <a:cubicBezTo>
                  <a:pt x="17" y="141"/>
                  <a:pt x="18" y="140"/>
                  <a:pt x="17" y="139"/>
                </a:cubicBezTo>
                <a:cubicBezTo>
                  <a:pt x="17" y="138"/>
                  <a:pt x="15" y="137"/>
                  <a:pt x="15" y="137"/>
                </a:cubicBezTo>
                <a:cubicBezTo>
                  <a:pt x="12" y="133"/>
                  <a:pt x="7" y="129"/>
                  <a:pt x="6" y="123"/>
                </a:cubicBezTo>
                <a:cubicBezTo>
                  <a:pt x="6" y="120"/>
                  <a:pt x="7" y="116"/>
                  <a:pt x="8" y="114"/>
                </a:cubicBezTo>
                <a:cubicBezTo>
                  <a:pt x="8" y="114"/>
                  <a:pt x="10" y="113"/>
                  <a:pt x="10" y="113"/>
                </a:cubicBezTo>
                <a:cubicBezTo>
                  <a:pt x="11" y="109"/>
                  <a:pt x="7" y="109"/>
                  <a:pt x="8" y="105"/>
                </a:cubicBezTo>
                <a:cubicBezTo>
                  <a:pt x="8" y="105"/>
                  <a:pt x="10" y="102"/>
                  <a:pt x="11" y="102"/>
                </a:cubicBezTo>
                <a:cubicBezTo>
                  <a:pt x="11" y="101"/>
                  <a:pt x="11" y="99"/>
                  <a:pt x="10" y="98"/>
                </a:cubicBezTo>
                <a:cubicBezTo>
                  <a:pt x="11" y="98"/>
                  <a:pt x="11" y="98"/>
                  <a:pt x="11" y="98"/>
                </a:cubicBezTo>
                <a:cubicBezTo>
                  <a:pt x="12" y="95"/>
                  <a:pt x="12" y="95"/>
                  <a:pt x="12" y="95"/>
                </a:cubicBezTo>
                <a:cubicBezTo>
                  <a:pt x="13" y="89"/>
                  <a:pt x="13" y="89"/>
                  <a:pt x="13" y="89"/>
                </a:cubicBezTo>
                <a:cubicBezTo>
                  <a:pt x="17" y="85"/>
                  <a:pt x="17" y="85"/>
                  <a:pt x="17" y="85"/>
                </a:cubicBezTo>
                <a:cubicBezTo>
                  <a:pt x="17" y="79"/>
                  <a:pt x="17" y="79"/>
                  <a:pt x="17" y="79"/>
                </a:cubicBezTo>
                <a:cubicBezTo>
                  <a:pt x="14" y="73"/>
                  <a:pt x="14" y="73"/>
                  <a:pt x="14" y="73"/>
                </a:cubicBezTo>
                <a:cubicBezTo>
                  <a:pt x="9" y="68"/>
                  <a:pt x="9" y="68"/>
                  <a:pt x="9" y="68"/>
                </a:cubicBezTo>
                <a:cubicBezTo>
                  <a:pt x="6" y="60"/>
                  <a:pt x="6" y="60"/>
                  <a:pt x="6" y="60"/>
                </a:cubicBezTo>
                <a:cubicBezTo>
                  <a:pt x="5" y="52"/>
                  <a:pt x="5" y="52"/>
                  <a:pt x="5" y="52"/>
                </a:cubicBezTo>
                <a:cubicBezTo>
                  <a:pt x="9" y="50"/>
                  <a:pt x="9" y="50"/>
                  <a:pt x="9" y="50"/>
                </a:cubicBezTo>
                <a:cubicBezTo>
                  <a:pt x="9" y="45"/>
                  <a:pt x="9" y="45"/>
                  <a:pt x="9" y="45"/>
                </a:cubicBezTo>
                <a:cubicBezTo>
                  <a:pt x="5" y="42"/>
                  <a:pt x="5" y="42"/>
                  <a:pt x="5" y="42"/>
                </a:cubicBezTo>
                <a:cubicBezTo>
                  <a:pt x="1" y="37"/>
                  <a:pt x="1" y="37"/>
                  <a:pt x="1" y="37"/>
                </a:cubicBezTo>
                <a:cubicBezTo>
                  <a:pt x="0" y="29"/>
                  <a:pt x="0" y="29"/>
                  <a:pt x="0" y="29"/>
                </a:cubicBezTo>
                <a:cubicBezTo>
                  <a:pt x="1" y="23"/>
                  <a:pt x="1" y="23"/>
                  <a:pt x="1" y="23"/>
                </a:cubicBezTo>
                <a:cubicBezTo>
                  <a:pt x="2" y="19"/>
                  <a:pt x="2" y="19"/>
                  <a:pt x="2" y="19"/>
                </a:cubicBezTo>
                <a:cubicBezTo>
                  <a:pt x="0" y="14"/>
                  <a:pt x="0" y="14"/>
                  <a:pt x="0" y="14"/>
                </a:cubicBezTo>
                <a:cubicBezTo>
                  <a:pt x="1" y="11"/>
                  <a:pt x="1" y="11"/>
                  <a:pt x="1" y="11"/>
                </a:cubicBezTo>
                <a:cubicBezTo>
                  <a:pt x="4" y="10"/>
                  <a:pt x="4" y="10"/>
                  <a:pt x="4" y="10"/>
                </a:cubicBezTo>
                <a:cubicBezTo>
                  <a:pt x="7" y="7"/>
                  <a:pt x="7" y="7"/>
                  <a:pt x="7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9" y="4"/>
                  <a:pt x="9" y="4"/>
                  <a:pt x="9" y="4"/>
                </a:cubicBezTo>
                <a:cubicBezTo>
                  <a:pt x="11" y="0"/>
                  <a:pt x="11" y="0"/>
                  <a:pt x="11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6" y="2"/>
                  <a:pt x="16" y="2"/>
                  <a:pt x="16" y="2"/>
                </a:cubicBezTo>
                <a:lnTo>
                  <a:pt x="22" y="2"/>
                </a:lnTo>
                <a:close/>
                <a:moveTo>
                  <a:pt x="15" y="15"/>
                </a:moveTo>
                <a:cubicBezTo>
                  <a:pt x="17" y="15"/>
                  <a:pt x="15" y="18"/>
                  <a:pt x="15" y="18"/>
                </a:cubicBezTo>
                <a:cubicBezTo>
                  <a:pt x="13" y="18"/>
                  <a:pt x="13" y="15"/>
                  <a:pt x="15" y="15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7" name="Google Shape;447;p102"/>
          <p:cNvSpPr/>
          <p:nvPr/>
        </p:nvSpPr>
        <p:spPr>
          <a:xfrm>
            <a:off x="6971912" y="4766621"/>
            <a:ext cx="271412" cy="310810"/>
          </a:xfrm>
          <a:custGeom>
            <a:avLst/>
            <a:gdLst/>
            <a:ahLst/>
            <a:cxnLst/>
            <a:rect l="l" t="t" r="r" b="b"/>
            <a:pathLst>
              <a:path w="94" h="112" extrusionOk="0">
                <a:moveTo>
                  <a:pt x="85" y="30"/>
                </a:moveTo>
                <a:cubicBezTo>
                  <a:pt x="84" y="32"/>
                  <a:pt x="84" y="33"/>
                  <a:pt x="83" y="35"/>
                </a:cubicBezTo>
                <a:cubicBezTo>
                  <a:pt x="82" y="35"/>
                  <a:pt x="82" y="35"/>
                  <a:pt x="82" y="35"/>
                </a:cubicBezTo>
                <a:cubicBezTo>
                  <a:pt x="82" y="36"/>
                  <a:pt x="83" y="37"/>
                  <a:pt x="83" y="37"/>
                </a:cubicBezTo>
                <a:cubicBezTo>
                  <a:pt x="81" y="38"/>
                  <a:pt x="81" y="42"/>
                  <a:pt x="81" y="44"/>
                </a:cubicBezTo>
                <a:cubicBezTo>
                  <a:pt x="80" y="44"/>
                  <a:pt x="79" y="46"/>
                  <a:pt x="79" y="46"/>
                </a:cubicBezTo>
                <a:cubicBezTo>
                  <a:pt x="79" y="47"/>
                  <a:pt x="79" y="47"/>
                  <a:pt x="79" y="47"/>
                </a:cubicBezTo>
                <a:cubicBezTo>
                  <a:pt x="80" y="47"/>
                  <a:pt x="79" y="50"/>
                  <a:pt x="80" y="52"/>
                </a:cubicBezTo>
                <a:cubicBezTo>
                  <a:pt x="81" y="53"/>
                  <a:pt x="86" y="57"/>
                  <a:pt x="87" y="59"/>
                </a:cubicBezTo>
                <a:cubicBezTo>
                  <a:pt x="87" y="61"/>
                  <a:pt x="85" y="64"/>
                  <a:pt x="85" y="65"/>
                </a:cubicBezTo>
                <a:cubicBezTo>
                  <a:pt x="83" y="70"/>
                  <a:pt x="84" y="74"/>
                  <a:pt x="85" y="79"/>
                </a:cubicBezTo>
                <a:cubicBezTo>
                  <a:pt x="85" y="81"/>
                  <a:pt x="85" y="86"/>
                  <a:pt x="87" y="88"/>
                </a:cubicBezTo>
                <a:cubicBezTo>
                  <a:pt x="87" y="89"/>
                  <a:pt x="91" y="90"/>
                  <a:pt x="92" y="92"/>
                </a:cubicBezTo>
                <a:cubicBezTo>
                  <a:pt x="92" y="92"/>
                  <a:pt x="92" y="94"/>
                  <a:pt x="92" y="94"/>
                </a:cubicBezTo>
                <a:cubicBezTo>
                  <a:pt x="93" y="94"/>
                  <a:pt x="93" y="94"/>
                  <a:pt x="93" y="94"/>
                </a:cubicBezTo>
                <a:cubicBezTo>
                  <a:pt x="94" y="95"/>
                  <a:pt x="93" y="96"/>
                  <a:pt x="93" y="98"/>
                </a:cubicBezTo>
                <a:cubicBezTo>
                  <a:pt x="93" y="98"/>
                  <a:pt x="87" y="101"/>
                  <a:pt x="85" y="102"/>
                </a:cubicBezTo>
                <a:cubicBezTo>
                  <a:pt x="83" y="103"/>
                  <a:pt x="81" y="103"/>
                  <a:pt x="78" y="104"/>
                </a:cubicBezTo>
                <a:cubicBezTo>
                  <a:pt x="76" y="104"/>
                  <a:pt x="76" y="106"/>
                  <a:pt x="74" y="107"/>
                </a:cubicBezTo>
                <a:cubicBezTo>
                  <a:pt x="72" y="107"/>
                  <a:pt x="72" y="108"/>
                  <a:pt x="71" y="107"/>
                </a:cubicBezTo>
                <a:cubicBezTo>
                  <a:pt x="69" y="106"/>
                  <a:pt x="69" y="108"/>
                  <a:pt x="67" y="109"/>
                </a:cubicBezTo>
                <a:cubicBezTo>
                  <a:pt x="65" y="110"/>
                  <a:pt x="63" y="110"/>
                  <a:pt x="61" y="110"/>
                </a:cubicBezTo>
                <a:cubicBezTo>
                  <a:pt x="58" y="110"/>
                  <a:pt x="57" y="111"/>
                  <a:pt x="54" y="111"/>
                </a:cubicBezTo>
                <a:cubicBezTo>
                  <a:pt x="52" y="112"/>
                  <a:pt x="52" y="108"/>
                  <a:pt x="50" y="108"/>
                </a:cubicBezTo>
                <a:cubicBezTo>
                  <a:pt x="48" y="107"/>
                  <a:pt x="49" y="107"/>
                  <a:pt x="47" y="109"/>
                </a:cubicBezTo>
                <a:cubicBezTo>
                  <a:pt x="44" y="110"/>
                  <a:pt x="43" y="110"/>
                  <a:pt x="43" y="110"/>
                </a:cubicBezTo>
                <a:cubicBezTo>
                  <a:pt x="43" y="108"/>
                  <a:pt x="43" y="108"/>
                  <a:pt x="43" y="107"/>
                </a:cubicBezTo>
                <a:cubicBezTo>
                  <a:pt x="44" y="100"/>
                  <a:pt x="43" y="95"/>
                  <a:pt x="43" y="89"/>
                </a:cubicBezTo>
                <a:cubicBezTo>
                  <a:pt x="43" y="88"/>
                  <a:pt x="41" y="87"/>
                  <a:pt x="40" y="87"/>
                </a:cubicBezTo>
                <a:cubicBezTo>
                  <a:pt x="39" y="86"/>
                  <a:pt x="40" y="84"/>
                  <a:pt x="38" y="84"/>
                </a:cubicBezTo>
                <a:cubicBezTo>
                  <a:pt x="37" y="84"/>
                  <a:pt x="37" y="84"/>
                  <a:pt x="37" y="84"/>
                </a:cubicBezTo>
                <a:cubicBezTo>
                  <a:pt x="29" y="83"/>
                  <a:pt x="29" y="83"/>
                  <a:pt x="29" y="83"/>
                </a:cubicBezTo>
                <a:cubicBezTo>
                  <a:pt x="29" y="83"/>
                  <a:pt x="25" y="82"/>
                  <a:pt x="24" y="81"/>
                </a:cubicBezTo>
                <a:cubicBezTo>
                  <a:pt x="22" y="80"/>
                  <a:pt x="21" y="78"/>
                  <a:pt x="20" y="78"/>
                </a:cubicBezTo>
                <a:cubicBezTo>
                  <a:pt x="19" y="78"/>
                  <a:pt x="19" y="74"/>
                  <a:pt x="19" y="74"/>
                </a:cubicBezTo>
                <a:cubicBezTo>
                  <a:pt x="19" y="73"/>
                  <a:pt x="18" y="72"/>
                  <a:pt x="18" y="71"/>
                </a:cubicBezTo>
                <a:cubicBezTo>
                  <a:pt x="17" y="71"/>
                  <a:pt x="16" y="71"/>
                  <a:pt x="15" y="71"/>
                </a:cubicBezTo>
                <a:cubicBezTo>
                  <a:pt x="15" y="70"/>
                  <a:pt x="16" y="69"/>
                  <a:pt x="15" y="68"/>
                </a:cubicBezTo>
                <a:cubicBezTo>
                  <a:pt x="15" y="68"/>
                  <a:pt x="14" y="67"/>
                  <a:pt x="13" y="67"/>
                </a:cubicBezTo>
                <a:cubicBezTo>
                  <a:pt x="13" y="66"/>
                  <a:pt x="13" y="64"/>
                  <a:pt x="12" y="63"/>
                </a:cubicBezTo>
                <a:cubicBezTo>
                  <a:pt x="12" y="63"/>
                  <a:pt x="9" y="62"/>
                  <a:pt x="9" y="62"/>
                </a:cubicBezTo>
                <a:cubicBezTo>
                  <a:pt x="9" y="59"/>
                  <a:pt x="10" y="56"/>
                  <a:pt x="11" y="55"/>
                </a:cubicBezTo>
                <a:cubicBezTo>
                  <a:pt x="6" y="52"/>
                  <a:pt x="6" y="50"/>
                  <a:pt x="1" y="47"/>
                </a:cubicBezTo>
                <a:cubicBezTo>
                  <a:pt x="1" y="43"/>
                  <a:pt x="2" y="37"/>
                  <a:pt x="1" y="39"/>
                </a:cubicBezTo>
                <a:cubicBezTo>
                  <a:pt x="0" y="39"/>
                  <a:pt x="3" y="38"/>
                  <a:pt x="1" y="39"/>
                </a:cubicBezTo>
                <a:cubicBezTo>
                  <a:pt x="1" y="39"/>
                  <a:pt x="1" y="36"/>
                  <a:pt x="1" y="37"/>
                </a:cubicBezTo>
                <a:cubicBezTo>
                  <a:pt x="1" y="37"/>
                  <a:pt x="2" y="35"/>
                  <a:pt x="2" y="35"/>
                </a:cubicBezTo>
                <a:cubicBezTo>
                  <a:pt x="1" y="36"/>
                  <a:pt x="1" y="34"/>
                  <a:pt x="1" y="33"/>
                </a:cubicBezTo>
                <a:cubicBezTo>
                  <a:pt x="2" y="33"/>
                  <a:pt x="4" y="33"/>
                  <a:pt x="4" y="33"/>
                </a:cubicBezTo>
                <a:cubicBezTo>
                  <a:pt x="6" y="33"/>
                  <a:pt x="9" y="32"/>
                  <a:pt x="9" y="32"/>
                </a:cubicBezTo>
                <a:cubicBezTo>
                  <a:pt x="10" y="27"/>
                  <a:pt x="10" y="27"/>
                  <a:pt x="10" y="27"/>
                </a:cubicBezTo>
                <a:cubicBezTo>
                  <a:pt x="10" y="27"/>
                  <a:pt x="12" y="25"/>
                  <a:pt x="13" y="24"/>
                </a:cubicBezTo>
                <a:cubicBezTo>
                  <a:pt x="15" y="22"/>
                  <a:pt x="15" y="20"/>
                  <a:pt x="15" y="20"/>
                </a:cubicBezTo>
                <a:cubicBezTo>
                  <a:pt x="15" y="20"/>
                  <a:pt x="15" y="21"/>
                  <a:pt x="12" y="19"/>
                </a:cubicBezTo>
                <a:cubicBezTo>
                  <a:pt x="10" y="18"/>
                  <a:pt x="12" y="13"/>
                  <a:pt x="12" y="13"/>
                </a:cubicBezTo>
                <a:cubicBezTo>
                  <a:pt x="12" y="13"/>
                  <a:pt x="12" y="13"/>
                  <a:pt x="12" y="10"/>
                </a:cubicBezTo>
                <a:cubicBezTo>
                  <a:pt x="12" y="8"/>
                  <a:pt x="12" y="5"/>
                  <a:pt x="12" y="5"/>
                </a:cubicBezTo>
                <a:cubicBezTo>
                  <a:pt x="10" y="0"/>
                  <a:pt x="10" y="0"/>
                  <a:pt x="10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0" y="2"/>
                  <a:pt x="19" y="6"/>
                  <a:pt x="19" y="7"/>
                </a:cubicBezTo>
                <a:cubicBezTo>
                  <a:pt x="19" y="9"/>
                  <a:pt x="21" y="13"/>
                  <a:pt x="21" y="13"/>
                </a:cubicBezTo>
                <a:cubicBezTo>
                  <a:pt x="22" y="15"/>
                  <a:pt x="23" y="17"/>
                  <a:pt x="26" y="16"/>
                </a:cubicBezTo>
                <a:cubicBezTo>
                  <a:pt x="26" y="16"/>
                  <a:pt x="25" y="14"/>
                  <a:pt x="25" y="13"/>
                </a:cubicBezTo>
                <a:cubicBezTo>
                  <a:pt x="26" y="13"/>
                  <a:pt x="27" y="13"/>
                  <a:pt x="28" y="13"/>
                </a:cubicBezTo>
                <a:cubicBezTo>
                  <a:pt x="28" y="13"/>
                  <a:pt x="28" y="12"/>
                  <a:pt x="29" y="11"/>
                </a:cubicBezTo>
                <a:cubicBezTo>
                  <a:pt x="29" y="11"/>
                  <a:pt x="27" y="10"/>
                  <a:pt x="28" y="10"/>
                </a:cubicBezTo>
                <a:cubicBezTo>
                  <a:pt x="30" y="10"/>
                  <a:pt x="34" y="12"/>
                  <a:pt x="36" y="13"/>
                </a:cubicBezTo>
                <a:cubicBezTo>
                  <a:pt x="36" y="14"/>
                  <a:pt x="36" y="16"/>
                  <a:pt x="36" y="17"/>
                </a:cubicBezTo>
                <a:cubicBezTo>
                  <a:pt x="36" y="17"/>
                  <a:pt x="38" y="18"/>
                  <a:pt x="38" y="18"/>
                </a:cubicBezTo>
                <a:cubicBezTo>
                  <a:pt x="37" y="12"/>
                  <a:pt x="36" y="11"/>
                  <a:pt x="43" y="11"/>
                </a:cubicBezTo>
                <a:cubicBezTo>
                  <a:pt x="44" y="10"/>
                  <a:pt x="43" y="9"/>
                  <a:pt x="44" y="9"/>
                </a:cubicBezTo>
                <a:cubicBezTo>
                  <a:pt x="44" y="8"/>
                  <a:pt x="44" y="8"/>
                  <a:pt x="44" y="8"/>
                </a:cubicBezTo>
                <a:cubicBezTo>
                  <a:pt x="43" y="8"/>
                  <a:pt x="42" y="8"/>
                  <a:pt x="41" y="8"/>
                </a:cubicBezTo>
                <a:cubicBezTo>
                  <a:pt x="41" y="8"/>
                  <a:pt x="40" y="7"/>
                  <a:pt x="40" y="7"/>
                </a:cubicBezTo>
                <a:cubicBezTo>
                  <a:pt x="41" y="7"/>
                  <a:pt x="41" y="6"/>
                  <a:pt x="41" y="5"/>
                </a:cubicBezTo>
                <a:cubicBezTo>
                  <a:pt x="40" y="5"/>
                  <a:pt x="39" y="5"/>
                  <a:pt x="38" y="5"/>
                </a:cubicBezTo>
                <a:cubicBezTo>
                  <a:pt x="41" y="3"/>
                  <a:pt x="41" y="2"/>
                  <a:pt x="41" y="1"/>
                </a:cubicBezTo>
                <a:cubicBezTo>
                  <a:pt x="68" y="13"/>
                  <a:pt x="68" y="13"/>
                  <a:pt x="68" y="13"/>
                </a:cubicBezTo>
                <a:cubicBezTo>
                  <a:pt x="68" y="13"/>
                  <a:pt x="70" y="15"/>
                  <a:pt x="70" y="17"/>
                </a:cubicBezTo>
                <a:cubicBezTo>
                  <a:pt x="69" y="20"/>
                  <a:pt x="69" y="22"/>
                  <a:pt x="72" y="22"/>
                </a:cubicBezTo>
                <a:cubicBezTo>
                  <a:pt x="74" y="22"/>
                  <a:pt x="74" y="24"/>
                  <a:pt x="74" y="24"/>
                </a:cubicBezTo>
                <a:lnTo>
                  <a:pt x="85" y="30"/>
                </a:lnTo>
                <a:close/>
                <a:moveTo>
                  <a:pt x="29" y="63"/>
                </a:moveTo>
                <a:cubicBezTo>
                  <a:pt x="31" y="64"/>
                  <a:pt x="32" y="66"/>
                  <a:pt x="33" y="67"/>
                </a:cubicBezTo>
                <a:cubicBezTo>
                  <a:pt x="32" y="67"/>
                  <a:pt x="31" y="67"/>
                  <a:pt x="30" y="67"/>
                </a:cubicBezTo>
                <a:cubicBezTo>
                  <a:pt x="30" y="67"/>
                  <a:pt x="26" y="63"/>
                  <a:pt x="29" y="63"/>
                </a:cubicBezTo>
                <a:close/>
                <a:moveTo>
                  <a:pt x="84" y="47"/>
                </a:moveTo>
                <a:cubicBezTo>
                  <a:pt x="84" y="49"/>
                  <a:pt x="83" y="48"/>
                  <a:pt x="84" y="50"/>
                </a:cubicBezTo>
                <a:cubicBezTo>
                  <a:pt x="85" y="55"/>
                  <a:pt x="87" y="50"/>
                  <a:pt x="87" y="50"/>
                </a:cubicBezTo>
                <a:cubicBezTo>
                  <a:pt x="86" y="49"/>
                  <a:pt x="84" y="48"/>
                  <a:pt x="84" y="47"/>
                </a:cubicBezTo>
                <a:close/>
                <a:moveTo>
                  <a:pt x="47" y="24"/>
                </a:moveTo>
                <a:cubicBezTo>
                  <a:pt x="50" y="23"/>
                  <a:pt x="47" y="27"/>
                  <a:pt x="47" y="27"/>
                </a:cubicBezTo>
                <a:cubicBezTo>
                  <a:pt x="43" y="29"/>
                  <a:pt x="46" y="25"/>
                  <a:pt x="47" y="24"/>
                </a:cubicBezTo>
                <a:close/>
                <a:moveTo>
                  <a:pt x="33" y="4"/>
                </a:moveTo>
                <a:cubicBezTo>
                  <a:pt x="33" y="4"/>
                  <a:pt x="33" y="6"/>
                  <a:pt x="35" y="7"/>
                </a:cubicBezTo>
                <a:cubicBezTo>
                  <a:pt x="38" y="8"/>
                  <a:pt x="37" y="5"/>
                  <a:pt x="37" y="5"/>
                </a:cubicBezTo>
                <a:cubicBezTo>
                  <a:pt x="35" y="4"/>
                  <a:pt x="34" y="5"/>
                  <a:pt x="33" y="4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8" name="Google Shape;448;p102"/>
          <p:cNvSpPr/>
          <p:nvPr/>
        </p:nvSpPr>
        <p:spPr>
          <a:xfrm>
            <a:off x="7904199" y="3449920"/>
            <a:ext cx="186321" cy="162468"/>
          </a:xfrm>
          <a:custGeom>
            <a:avLst/>
            <a:gdLst/>
            <a:ahLst/>
            <a:cxnLst/>
            <a:rect l="l" t="t" r="r" b="b"/>
            <a:pathLst>
              <a:path w="65" h="59" extrusionOk="0">
                <a:moveTo>
                  <a:pt x="29" y="10"/>
                </a:moveTo>
                <a:cubicBezTo>
                  <a:pt x="29" y="6"/>
                  <a:pt x="29" y="6"/>
                  <a:pt x="29" y="6"/>
                </a:cubicBezTo>
                <a:cubicBezTo>
                  <a:pt x="33" y="5"/>
                  <a:pt x="33" y="5"/>
                  <a:pt x="33" y="5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28" y="0"/>
                  <a:pt x="26" y="2"/>
                </a:cubicBezTo>
                <a:cubicBezTo>
                  <a:pt x="26" y="2"/>
                  <a:pt x="25" y="4"/>
                  <a:pt x="23" y="4"/>
                </a:cubicBezTo>
                <a:cubicBezTo>
                  <a:pt x="21" y="3"/>
                  <a:pt x="20" y="0"/>
                  <a:pt x="20" y="0"/>
                </a:cubicBezTo>
                <a:cubicBezTo>
                  <a:pt x="20" y="0"/>
                  <a:pt x="16" y="0"/>
                  <a:pt x="16" y="2"/>
                </a:cubicBezTo>
                <a:cubicBezTo>
                  <a:pt x="16" y="4"/>
                  <a:pt x="18" y="6"/>
                  <a:pt x="18" y="6"/>
                </a:cubicBezTo>
                <a:cubicBezTo>
                  <a:pt x="18" y="6"/>
                  <a:pt x="18" y="9"/>
                  <a:pt x="16" y="9"/>
                </a:cubicBezTo>
                <a:cubicBezTo>
                  <a:pt x="14" y="9"/>
                  <a:pt x="14" y="16"/>
                  <a:pt x="15" y="14"/>
                </a:cubicBezTo>
                <a:cubicBezTo>
                  <a:pt x="16" y="12"/>
                  <a:pt x="15" y="16"/>
                  <a:pt x="14" y="16"/>
                </a:cubicBezTo>
                <a:cubicBezTo>
                  <a:pt x="12" y="17"/>
                  <a:pt x="8" y="22"/>
                  <a:pt x="8" y="19"/>
                </a:cubicBezTo>
                <a:cubicBezTo>
                  <a:pt x="8" y="18"/>
                  <a:pt x="5" y="18"/>
                  <a:pt x="4" y="19"/>
                </a:cubicBezTo>
                <a:cubicBezTo>
                  <a:pt x="2" y="20"/>
                  <a:pt x="0" y="21"/>
                  <a:pt x="3" y="24"/>
                </a:cubicBezTo>
                <a:cubicBezTo>
                  <a:pt x="5" y="26"/>
                  <a:pt x="4" y="27"/>
                  <a:pt x="7" y="27"/>
                </a:cubicBezTo>
                <a:cubicBezTo>
                  <a:pt x="9" y="27"/>
                  <a:pt x="12" y="25"/>
                  <a:pt x="11" y="27"/>
                </a:cubicBezTo>
                <a:cubicBezTo>
                  <a:pt x="10" y="29"/>
                  <a:pt x="8" y="32"/>
                  <a:pt x="10" y="33"/>
                </a:cubicBezTo>
                <a:cubicBezTo>
                  <a:pt x="12" y="34"/>
                  <a:pt x="12" y="36"/>
                  <a:pt x="11" y="37"/>
                </a:cubicBezTo>
                <a:cubicBezTo>
                  <a:pt x="10" y="39"/>
                  <a:pt x="7" y="39"/>
                  <a:pt x="7" y="41"/>
                </a:cubicBezTo>
                <a:cubicBezTo>
                  <a:pt x="7" y="42"/>
                  <a:pt x="6" y="45"/>
                  <a:pt x="6" y="45"/>
                </a:cubicBezTo>
                <a:cubicBezTo>
                  <a:pt x="9" y="45"/>
                  <a:pt x="9" y="45"/>
                  <a:pt x="9" y="45"/>
                </a:cubicBezTo>
                <a:cubicBezTo>
                  <a:pt x="12" y="45"/>
                  <a:pt x="12" y="45"/>
                  <a:pt x="12" y="45"/>
                </a:cubicBezTo>
                <a:cubicBezTo>
                  <a:pt x="15" y="43"/>
                  <a:pt x="15" y="43"/>
                  <a:pt x="15" y="43"/>
                </a:cubicBezTo>
                <a:cubicBezTo>
                  <a:pt x="17" y="41"/>
                  <a:pt x="17" y="41"/>
                  <a:pt x="17" y="41"/>
                </a:cubicBezTo>
                <a:cubicBezTo>
                  <a:pt x="19" y="39"/>
                  <a:pt x="19" y="39"/>
                  <a:pt x="19" y="39"/>
                </a:cubicBezTo>
                <a:cubicBezTo>
                  <a:pt x="22" y="40"/>
                  <a:pt x="22" y="40"/>
                  <a:pt x="22" y="40"/>
                </a:cubicBezTo>
                <a:cubicBezTo>
                  <a:pt x="24" y="43"/>
                  <a:pt x="24" y="43"/>
                  <a:pt x="24" y="43"/>
                </a:cubicBezTo>
                <a:cubicBezTo>
                  <a:pt x="26" y="46"/>
                  <a:pt x="26" y="46"/>
                  <a:pt x="26" y="46"/>
                </a:cubicBezTo>
                <a:cubicBezTo>
                  <a:pt x="24" y="50"/>
                  <a:pt x="24" y="50"/>
                  <a:pt x="24" y="50"/>
                </a:cubicBezTo>
                <a:cubicBezTo>
                  <a:pt x="23" y="55"/>
                  <a:pt x="23" y="55"/>
                  <a:pt x="23" y="55"/>
                </a:cubicBezTo>
                <a:cubicBezTo>
                  <a:pt x="27" y="59"/>
                  <a:pt x="27" y="59"/>
                  <a:pt x="27" y="59"/>
                </a:cubicBezTo>
                <a:cubicBezTo>
                  <a:pt x="31" y="58"/>
                  <a:pt x="31" y="58"/>
                  <a:pt x="31" y="58"/>
                </a:cubicBezTo>
                <a:cubicBezTo>
                  <a:pt x="35" y="55"/>
                  <a:pt x="35" y="55"/>
                  <a:pt x="35" y="55"/>
                </a:cubicBezTo>
                <a:cubicBezTo>
                  <a:pt x="37" y="51"/>
                  <a:pt x="37" y="51"/>
                  <a:pt x="37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6" y="47"/>
                  <a:pt x="46" y="47"/>
                  <a:pt x="46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56" y="49"/>
                  <a:pt x="56" y="49"/>
                  <a:pt x="56" y="49"/>
                </a:cubicBezTo>
                <a:cubicBezTo>
                  <a:pt x="62" y="47"/>
                  <a:pt x="62" y="47"/>
                  <a:pt x="62" y="47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4"/>
                  <a:pt x="65" y="44"/>
                  <a:pt x="65" y="44"/>
                </a:cubicBezTo>
                <a:cubicBezTo>
                  <a:pt x="63" y="42"/>
                  <a:pt x="63" y="42"/>
                  <a:pt x="63" y="42"/>
                </a:cubicBezTo>
                <a:cubicBezTo>
                  <a:pt x="63" y="37"/>
                  <a:pt x="63" y="37"/>
                  <a:pt x="63" y="37"/>
                </a:cubicBezTo>
                <a:cubicBezTo>
                  <a:pt x="60" y="33"/>
                  <a:pt x="60" y="33"/>
                  <a:pt x="60" y="33"/>
                </a:cubicBezTo>
                <a:cubicBezTo>
                  <a:pt x="62" y="29"/>
                  <a:pt x="62" y="29"/>
                  <a:pt x="62" y="29"/>
                </a:cubicBezTo>
                <a:cubicBezTo>
                  <a:pt x="62" y="26"/>
                  <a:pt x="62" y="26"/>
                  <a:pt x="62" y="26"/>
                </a:cubicBezTo>
                <a:cubicBezTo>
                  <a:pt x="61" y="25"/>
                  <a:pt x="61" y="25"/>
                  <a:pt x="61" y="25"/>
                </a:cubicBezTo>
                <a:cubicBezTo>
                  <a:pt x="55" y="27"/>
                  <a:pt x="55" y="27"/>
                  <a:pt x="55" y="27"/>
                </a:cubicBezTo>
                <a:cubicBezTo>
                  <a:pt x="53" y="25"/>
                  <a:pt x="53" y="25"/>
                  <a:pt x="53" y="25"/>
                </a:cubicBezTo>
                <a:cubicBezTo>
                  <a:pt x="53" y="22"/>
                  <a:pt x="53" y="22"/>
                  <a:pt x="53" y="22"/>
                </a:cubicBezTo>
                <a:cubicBezTo>
                  <a:pt x="53" y="22"/>
                  <a:pt x="53" y="20"/>
                  <a:pt x="52" y="18"/>
                </a:cubicBezTo>
                <a:cubicBezTo>
                  <a:pt x="50" y="17"/>
                  <a:pt x="48" y="17"/>
                  <a:pt x="45" y="18"/>
                </a:cubicBezTo>
                <a:cubicBezTo>
                  <a:pt x="43" y="19"/>
                  <a:pt x="40" y="18"/>
                  <a:pt x="40" y="18"/>
                </a:cubicBezTo>
                <a:cubicBezTo>
                  <a:pt x="40" y="18"/>
                  <a:pt x="38" y="19"/>
                  <a:pt x="36" y="17"/>
                </a:cubicBezTo>
                <a:cubicBezTo>
                  <a:pt x="35" y="15"/>
                  <a:pt x="33" y="17"/>
                  <a:pt x="31" y="17"/>
                </a:cubicBezTo>
                <a:cubicBezTo>
                  <a:pt x="29" y="18"/>
                  <a:pt x="28" y="15"/>
                  <a:pt x="28" y="15"/>
                </a:cubicBezTo>
                <a:cubicBezTo>
                  <a:pt x="22" y="15"/>
                  <a:pt x="22" y="15"/>
                  <a:pt x="22" y="15"/>
                </a:cubicBezTo>
                <a:cubicBezTo>
                  <a:pt x="20" y="11"/>
                  <a:pt x="20" y="11"/>
                  <a:pt x="20" y="11"/>
                </a:cubicBezTo>
                <a:cubicBezTo>
                  <a:pt x="25" y="10"/>
                  <a:pt x="25" y="10"/>
                  <a:pt x="25" y="10"/>
                </a:cubicBezTo>
                <a:cubicBezTo>
                  <a:pt x="28" y="11"/>
                  <a:pt x="28" y="11"/>
                  <a:pt x="28" y="11"/>
                </a:cubicBezTo>
                <a:lnTo>
                  <a:pt x="29" y="1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49" name="Google Shape;449;p102"/>
          <p:cNvSpPr/>
          <p:nvPr/>
        </p:nvSpPr>
        <p:spPr>
          <a:xfrm>
            <a:off x="9218714" y="3951453"/>
            <a:ext cx="51349" cy="97482"/>
          </a:xfrm>
          <a:custGeom>
            <a:avLst/>
            <a:gdLst/>
            <a:ahLst/>
            <a:cxnLst/>
            <a:rect l="l" t="t" r="r" b="b"/>
            <a:pathLst>
              <a:path w="18" h="35" extrusionOk="0">
                <a:moveTo>
                  <a:pt x="13" y="0"/>
                </a:moveTo>
                <a:cubicBezTo>
                  <a:pt x="12" y="1"/>
                  <a:pt x="11" y="1"/>
                  <a:pt x="10" y="2"/>
                </a:cubicBezTo>
                <a:cubicBezTo>
                  <a:pt x="9" y="4"/>
                  <a:pt x="10" y="5"/>
                  <a:pt x="9" y="7"/>
                </a:cubicBezTo>
                <a:cubicBezTo>
                  <a:pt x="8" y="9"/>
                  <a:pt x="6" y="9"/>
                  <a:pt x="5" y="12"/>
                </a:cubicBezTo>
                <a:cubicBezTo>
                  <a:pt x="4" y="13"/>
                  <a:pt x="5" y="15"/>
                  <a:pt x="5" y="16"/>
                </a:cubicBezTo>
                <a:cubicBezTo>
                  <a:pt x="4" y="17"/>
                  <a:pt x="3" y="17"/>
                  <a:pt x="2" y="18"/>
                </a:cubicBezTo>
                <a:cubicBezTo>
                  <a:pt x="1" y="20"/>
                  <a:pt x="0" y="25"/>
                  <a:pt x="1" y="28"/>
                </a:cubicBezTo>
                <a:cubicBezTo>
                  <a:pt x="1" y="29"/>
                  <a:pt x="3" y="31"/>
                  <a:pt x="4" y="32"/>
                </a:cubicBezTo>
                <a:cubicBezTo>
                  <a:pt x="5" y="33"/>
                  <a:pt x="6" y="34"/>
                  <a:pt x="7" y="35"/>
                </a:cubicBezTo>
                <a:cubicBezTo>
                  <a:pt x="7" y="34"/>
                  <a:pt x="7" y="32"/>
                  <a:pt x="8" y="31"/>
                </a:cubicBezTo>
                <a:cubicBezTo>
                  <a:pt x="9" y="30"/>
                  <a:pt x="11" y="30"/>
                  <a:pt x="11" y="29"/>
                </a:cubicBezTo>
                <a:cubicBezTo>
                  <a:pt x="12" y="28"/>
                  <a:pt x="11" y="26"/>
                  <a:pt x="11" y="26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0"/>
                  <a:pt x="13" y="19"/>
                  <a:pt x="13" y="16"/>
                </a:cubicBezTo>
                <a:cubicBezTo>
                  <a:pt x="14" y="14"/>
                  <a:pt x="18" y="4"/>
                  <a:pt x="17" y="3"/>
                </a:cubicBezTo>
                <a:cubicBezTo>
                  <a:pt x="17" y="0"/>
                  <a:pt x="14" y="1"/>
                  <a:pt x="13" y="0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0" name="Google Shape;450;p102"/>
          <p:cNvSpPr/>
          <p:nvPr/>
        </p:nvSpPr>
        <p:spPr>
          <a:xfrm>
            <a:off x="7132509" y="3565766"/>
            <a:ext cx="161381" cy="166707"/>
          </a:xfrm>
          <a:custGeom>
            <a:avLst/>
            <a:gdLst/>
            <a:ahLst/>
            <a:cxnLst/>
            <a:rect l="l" t="t" r="r" b="b"/>
            <a:pathLst>
              <a:path w="56" h="60" extrusionOk="0">
                <a:moveTo>
                  <a:pt x="0" y="21"/>
                </a:moveTo>
                <a:cubicBezTo>
                  <a:pt x="0" y="22"/>
                  <a:pt x="0" y="23"/>
                  <a:pt x="0" y="23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6"/>
                  <a:pt x="1" y="25"/>
                  <a:pt x="2" y="26"/>
                </a:cubicBezTo>
                <a:cubicBezTo>
                  <a:pt x="2" y="27"/>
                  <a:pt x="2" y="29"/>
                  <a:pt x="2" y="30"/>
                </a:cubicBezTo>
                <a:cubicBezTo>
                  <a:pt x="1" y="29"/>
                  <a:pt x="2" y="31"/>
                  <a:pt x="1" y="31"/>
                </a:cubicBezTo>
                <a:cubicBezTo>
                  <a:pt x="0" y="30"/>
                  <a:pt x="1" y="32"/>
                  <a:pt x="1" y="32"/>
                </a:cubicBezTo>
                <a:cubicBezTo>
                  <a:pt x="1" y="32"/>
                  <a:pt x="2" y="33"/>
                  <a:pt x="2" y="33"/>
                </a:cubicBezTo>
                <a:cubicBezTo>
                  <a:pt x="2" y="33"/>
                  <a:pt x="3" y="34"/>
                  <a:pt x="3" y="35"/>
                </a:cubicBezTo>
                <a:cubicBezTo>
                  <a:pt x="3" y="35"/>
                  <a:pt x="6" y="32"/>
                  <a:pt x="7" y="33"/>
                </a:cubicBezTo>
                <a:cubicBezTo>
                  <a:pt x="9" y="34"/>
                  <a:pt x="11" y="34"/>
                  <a:pt x="11" y="36"/>
                </a:cubicBezTo>
                <a:cubicBezTo>
                  <a:pt x="11" y="39"/>
                  <a:pt x="9" y="42"/>
                  <a:pt x="7" y="45"/>
                </a:cubicBezTo>
                <a:cubicBezTo>
                  <a:pt x="6" y="45"/>
                  <a:pt x="7" y="49"/>
                  <a:pt x="6" y="51"/>
                </a:cubicBezTo>
                <a:cubicBezTo>
                  <a:pt x="5" y="52"/>
                  <a:pt x="4" y="51"/>
                  <a:pt x="3" y="53"/>
                </a:cubicBezTo>
                <a:cubicBezTo>
                  <a:pt x="2" y="54"/>
                  <a:pt x="1" y="57"/>
                  <a:pt x="1" y="57"/>
                </a:cubicBezTo>
                <a:cubicBezTo>
                  <a:pt x="2" y="60"/>
                  <a:pt x="2" y="60"/>
                  <a:pt x="2" y="60"/>
                </a:cubicBezTo>
                <a:cubicBezTo>
                  <a:pt x="2" y="60"/>
                  <a:pt x="6" y="57"/>
                  <a:pt x="7" y="58"/>
                </a:cubicBezTo>
                <a:cubicBezTo>
                  <a:pt x="8" y="60"/>
                  <a:pt x="14" y="60"/>
                  <a:pt x="14" y="60"/>
                </a:cubicBezTo>
                <a:cubicBezTo>
                  <a:pt x="27" y="50"/>
                  <a:pt x="27" y="50"/>
                  <a:pt x="27" y="50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6" y="35"/>
                  <a:pt x="47" y="33"/>
                </a:cubicBezTo>
                <a:cubicBezTo>
                  <a:pt x="48" y="31"/>
                  <a:pt x="48" y="31"/>
                  <a:pt x="49" y="28"/>
                </a:cubicBezTo>
                <a:cubicBezTo>
                  <a:pt x="50" y="26"/>
                  <a:pt x="50" y="27"/>
                  <a:pt x="49" y="24"/>
                </a:cubicBezTo>
                <a:cubicBezTo>
                  <a:pt x="48" y="21"/>
                  <a:pt x="50" y="21"/>
                  <a:pt x="51" y="18"/>
                </a:cubicBezTo>
                <a:cubicBezTo>
                  <a:pt x="51" y="16"/>
                  <a:pt x="50" y="17"/>
                  <a:pt x="50" y="14"/>
                </a:cubicBezTo>
                <a:cubicBezTo>
                  <a:pt x="50" y="11"/>
                  <a:pt x="52" y="10"/>
                  <a:pt x="54" y="9"/>
                </a:cubicBezTo>
                <a:cubicBezTo>
                  <a:pt x="56" y="7"/>
                  <a:pt x="56" y="3"/>
                  <a:pt x="56" y="3"/>
                </a:cubicBezTo>
                <a:cubicBezTo>
                  <a:pt x="55" y="3"/>
                  <a:pt x="54" y="3"/>
                  <a:pt x="54" y="3"/>
                </a:cubicBezTo>
                <a:cubicBezTo>
                  <a:pt x="54" y="2"/>
                  <a:pt x="54" y="2"/>
                  <a:pt x="54" y="2"/>
                </a:cubicBezTo>
                <a:cubicBezTo>
                  <a:pt x="53" y="0"/>
                  <a:pt x="53" y="0"/>
                  <a:pt x="53" y="0"/>
                </a:cubicBezTo>
                <a:cubicBezTo>
                  <a:pt x="52" y="0"/>
                  <a:pt x="48" y="2"/>
                  <a:pt x="46" y="3"/>
                </a:cubicBezTo>
                <a:cubicBezTo>
                  <a:pt x="44" y="5"/>
                  <a:pt x="36" y="4"/>
                  <a:pt x="34" y="5"/>
                </a:cubicBezTo>
                <a:cubicBezTo>
                  <a:pt x="30" y="9"/>
                  <a:pt x="25" y="7"/>
                  <a:pt x="23" y="9"/>
                </a:cubicBezTo>
                <a:cubicBezTo>
                  <a:pt x="21" y="10"/>
                  <a:pt x="19" y="8"/>
                  <a:pt x="17" y="8"/>
                </a:cubicBezTo>
                <a:cubicBezTo>
                  <a:pt x="15" y="8"/>
                  <a:pt x="15" y="10"/>
                  <a:pt x="13" y="11"/>
                </a:cubicBezTo>
                <a:cubicBezTo>
                  <a:pt x="12" y="12"/>
                  <a:pt x="11" y="9"/>
                  <a:pt x="9" y="10"/>
                </a:cubicBezTo>
                <a:cubicBezTo>
                  <a:pt x="7" y="12"/>
                  <a:pt x="9" y="13"/>
                  <a:pt x="9" y="14"/>
                </a:cubicBezTo>
                <a:cubicBezTo>
                  <a:pt x="9" y="16"/>
                  <a:pt x="9" y="17"/>
                  <a:pt x="7" y="17"/>
                </a:cubicBezTo>
                <a:cubicBezTo>
                  <a:pt x="4" y="17"/>
                  <a:pt x="6" y="20"/>
                  <a:pt x="3" y="21"/>
                </a:cubicBezTo>
                <a:cubicBezTo>
                  <a:pt x="2" y="21"/>
                  <a:pt x="1" y="21"/>
                  <a:pt x="0" y="2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1" name="Google Shape;451;p102"/>
          <p:cNvSpPr/>
          <p:nvPr/>
        </p:nvSpPr>
        <p:spPr>
          <a:xfrm>
            <a:off x="6384292" y="3205510"/>
            <a:ext cx="121769" cy="86179"/>
          </a:xfrm>
          <a:custGeom>
            <a:avLst/>
            <a:gdLst/>
            <a:ahLst/>
            <a:cxnLst/>
            <a:rect l="l" t="t" r="r" b="b"/>
            <a:pathLst>
              <a:path w="42" h="31" extrusionOk="0">
                <a:moveTo>
                  <a:pt x="41" y="15"/>
                </a:moveTo>
                <a:cubicBezTo>
                  <a:pt x="41" y="15"/>
                  <a:pt x="41" y="14"/>
                  <a:pt x="41" y="13"/>
                </a:cubicBezTo>
                <a:cubicBezTo>
                  <a:pt x="41" y="13"/>
                  <a:pt x="40" y="13"/>
                  <a:pt x="40" y="13"/>
                </a:cubicBezTo>
                <a:cubicBezTo>
                  <a:pt x="40" y="13"/>
                  <a:pt x="40" y="13"/>
                  <a:pt x="40" y="13"/>
                </a:cubicBezTo>
                <a:cubicBezTo>
                  <a:pt x="37" y="11"/>
                  <a:pt x="38" y="8"/>
                  <a:pt x="38" y="8"/>
                </a:cubicBezTo>
                <a:cubicBezTo>
                  <a:pt x="32" y="4"/>
                  <a:pt x="32" y="4"/>
                  <a:pt x="32" y="4"/>
                </a:cubicBezTo>
                <a:cubicBezTo>
                  <a:pt x="32" y="4"/>
                  <a:pt x="31" y="3"/>
                  <a:pt x="28" y="2"/>
                </a:cubicBezTo>
                <a:cubicBezTo>
                  <a:pt x="25" y="0"/>
                  <a:pt x="25" y="3"/>
                  <a:pt x="24" y="3"/>
                </a:cubicBezTo>
                <a:cubicBezTo>
                  <a:pt x="23" y="4"/>
                  <a:pt x="20" y="5"/>
                  <a:pt x="20" y="5"/>
                </a:cubicBezTo>
                <a:cubicBezTo>
                  <a:pt x="20" y="5"/>
                  <a:pt x="19" y="7"/>
                  <a:pt x="18" y="6"/>
                </a:cubicBezTo>
                <a:cubicBezTo>
                  <a:pt x="16" y="4"/>
                  <a:pt x="16" y="8"/>
                  <a:pt x="16" y="8"/>
                </a:cubicBezTo>
                <a:cubicBezTo>
                  <a:pt x="16" y="8"/>
                  <a:pt x="17" y="9"/>
                  <a:pt x="14" y="9"/>
                </a:cubicBezTo>
                <a:cubicBezTo>
                  <a:pt x="11" y="10"/>
                  <a:pt x="9" y="14"/>
                  <a:pt x="7" y="16"/>
                </a:cubicBezTo>
                <a:cubicBezTo>
                  <a:pt x="6" y="18"/>
                  <a:pt x="4" y="20"/>
                  <a:pt x="3" y="22"/>
                </a:cubicBezTo>
                <a:cubicBezTo>
                  <a:pt x="2" y="24"/>
                  <a:pt x="0" y="29"/>
                  <a:pt x="4" y="26"/>
                </a:cubicBezTo>
                <a:cubicBezTo>
                  <a:pt x="7" y="23"/>
                  <a:pt x="7" y="26"/>
                  <a:pt x="7" y="26"/>
                </a:cubicBezTo>
                <a:cubicBezTo>
                  <a:pt x="7" y="28"/>
                  <a:pt x="12" y="27"/>
                  <a:pt x="12" y="29"/>
                </a:cubicBezTo>
                <a:cubicBezTo>
                  <a:pt x="13" y="31"/>
                  <a:pt x="15" y="30"/>
                  <a:pt x="15" y="30"/>
                </a:cubicBezTo>
                <a:cubicBezTo>
                  <a:pt x="16" y="28"/>
                  <a:pt x="21" y="29"/>
                  <a:pt x="21" y="26"/>
                </a:cubicBezTo>
                <a:cubicBezTo>
                  <a:pt x="21" y="24"/>
                  <a:pt x="21" y="22"/>
                  <a:pt x="22" y="24"/>
                </a:cubicBezTo>
                <a:cubicBezTo>
                  <a:pt x="24" y="26"/>
                  <a:pt x="23" y="26"/>
                  <a:pt x="26" y="27"/>
                </a:cubicBezTo>
                <a:cubicBezTo>
                  <a:pt x="29" y="27"/>
                  <a:pt x="29" y="29"/>
                  <a:pt x="30" y="28"/>
                </a:cubicBezTo>
                <a:cubicBezTo>
                  <a:pt x="31" y="27"/>
                  <a:pt x="30" y="28"/>
                  <a:pt x="30" y="25"/>
                </a:cubicBezTo>
                <a:cubicBezTo>
                  <a:pt x="30" y="22"/>
                  <a:pt x="33" y="24"/>
                  <a:pt x="34" y="22"/>
                </a:cubicBezTo>
                <a:cubicBezTo>
                  <a:pt x="34" y="20"/>
                  <a:pt x="36" y="18"/>
                  <a:pt x="38" y="20"/>
                </a:cubicBezTo>
                <a:cubicBezTo>
                  <a:pt x="40" y="21"/>
                  <a:pt x="39" y="21"/>
                  <a:pt x="41" y="19"/>
                </a:cubicBezTo>
                <a:cubicBezTo>
                  <a:pt x="42" y="17"/>
                  <a:pt x="38" y="18"/>
                  <a:pt x="40" y="16"/>
                </a:cubicBezTo>
                <a:lnTo>
                  <a:pt x="41" y="15"/>
                </a:lnTo>
                <a:close/>
              </a:path>
            </a:pathLst>
          </a:custGeom>
          <a:solidFill>
            <a:srgbClr val="658BB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2" name="Google Shape;452;p102"/>
          <p:cNvSpPr/>
          <p:nvPr/>
        </p:nvSpPr>
        <p:spPr>
          <a:xfrm>
            <a:off x="6526600" y="2362085"/>
            <a:ext cx="324227" cy="593364"/>
          </a:xfrm>
          <a:custGeom>
            <a:avLst/>
            <a:gdLst/>
            <a:ahLst/>
            <a:cxnLst/>
            <a:rect l="l" t="t" r="r" b="b"/>
            <a:pathLst>
              <a:path w="113" h="214" extrusionOk="0">
                <a:moveTo>
                  <a:pt x="108" y="50"/>
                </a:moveTo>
                <a:cubicBezTo>
                  <a:pt x="113" y="50"/>
                  <a:pt x="113" y="50"/>
                  <a:pt x="113" y="50"/>
                </a:cubicBezTo>
                <a:cubicBezTo>
                  <a:pt x="113" y="50"/>
                  <a:pt x="110" y="46"/>
                  <a:pt x="110" y="45"/>
                </a:cubicBezTo>
                <a:cubicBezTo>
                  <a:pt x="110" y="43"/>
                  <a:pt x="111" y="44"/>
                  <a:pt x="111" y="41"/>
                </a:cubicBezTo>
                <a:cubicBezTo>
                  <a:pt x="111" y="38"/>
                  <a:pt x="108" y="35"/>
                  <a:pt x="108" y="33"/>
                </a:cubicBezTo>
                <a:cubicBezTo>
                  <a:pt x="109" y="31"/>
                  <a:pt x="111" y="29"/>
                  <a:pt x="110" y="26"/>
                </a:cubicBezTo>
                <a:cubicBezTo>
                  <a:pt x="110" y="25"/>
                  <a:pt x="108" y="27"/>
                  <a:pt x="107" y="26"/>
                </a:cubicBezTo>
                <a:cubicBezTo>
                  <a:pt x="106" y="24"/>
                  <a:pt x="109" y="19"/>
                  <a:pt x="108" y="18"/>
                </a:cubicBezTo>
                <a:cubicBezTo>
                  <a:pt x="106" y="17"/>
                  <a:pt x="104" y="17"/>
                  <a:pt x="103" y="15"/>
                </a:cubicBezTo>
                <a:cubicBezTo>
                  <a:pt x="102" y="13"/>
                  <a:pt x="99" y="12"/>
                  <a:pt x="97" y="12"/>
                </a:cubicBezTo>
                <a:cubicBezTo>
                  <a:pt x="94" y="12"/>
                  <a:pt x="90" y="9"/>
                  <a:pt x="89" y="7"/>
                </a:cubicBezTo>
                <a:cubicBezTo>
                  <a:pt x="88" y="6"/>
                  <a:pt x="84" y="4"/>
                  <a:pt x="83" y="3"/>
                </a:cubicBezTo>
                <a:cubicBezTo>
                  <a:pt x="81" y="2"/>
                  <a:pt x="80" y="0"/>
                  <a:pt x="80" y="0"/>
                </a:cubicBezTo>
                <a:cubicBezTo>
                  <a:pt x="77" y="5"/>
                  <a:pt x="77" y="5"/>
                  <a:pt x="77" y="5"/>
                </a:cubicBezTo>
                <a:cubicBezTo>
                  <a:pt x="79" y="8"/>
                  <a:pt x="79" y="8"/>
                  <a:pt x="79" y="8"/>
                </a:cubicBezTo>
                <a:cubicBezTo>
                  <a:pt x="78" y="13"/>
                  <a:pt x="78" y="13"/>
                  <a:pt x="78" y="13"/>
                </a:cubicBezTo>
                <a:cubicBezTo>
                  <a:pt x="78" y="13"/>
                  <a:pt x="76" y="18"/>
                  <a:pt x="75" y="17"/>
                </a:cubicBezTo>
                <a:cubicBezTo>
                  <a:pt x="73" y="17"/>
                  <a:pt x="69" y="15"/>
                  <a:pt x="69" y="16"/>
                </a:cubicBezTo>
                <a:cubicBezTo>
                  <a:pt x="68" y="17"/>
                  <a:pt x="65" y="16"/>
                  <a:pt x="66" y="18"/>
                </a:cubicBezTo>
                <a:cubicBezTo>
                  <a:pt x="67" y="20"/>
                  <a:pt x="64" y="22"/>
                  <a:pt x="66" y="23"/>
                </a:cubicBezTo>
                <a:cubicBezTo>
                  <a:pt x="68" y="26"/>
                  <a:pt x="59" y="18"/>
                  <a:pt x="59" y="18"/>
                </a:cubicBezTo>
                <a:cubicBezTo>
                  <a:pt x="59" y="18"/>
                  <a:pt x="57" y="20"/>
                  <a:pt x="56" y="22"/>
                </a:cubicBezTo>
                <a:cubicBezTo>
                  <a:pt x="55" y="24"/>
                  <a:pt x="54" y="26"/>
                  <a:pt x="54" y="29"/>
                </a:cubicBezTo>
                <a:cubicBezTo>
                  <a:pt x="54" y="31"/>
                  <a:pt x="53" y="31"/>
                  <a:pt x="51" y="33"/>
                </a:cubicBezTo>
                <a:cubicBezTo>
                  <a:pt x="50" y="34"/>
                  <a:pt x="47" y="35"/>
                  <a:pt x="47" y="37"/>
                </a:cubicBezTo>
                <a:cubicBezTo>
                  <a:pt x="47" y="39"/>
                  <a:pt x="46" y="39"/>
                  <a:pt x="44" y="39"/>
                </a:cubicBezTo>
                <a:cubicBezTo>
                  <a:pt x="42" y="39"/>
                  <a:pt x="41" y="43"/>
                  <a:pt x="41" y="45"/>
                </a:cubicBezTo>
                <a:cubicBezTo>
                  <a:pt x="41" y="47"/>
                  <a:pt x="39" y="55"/>
                  <a:pt x="37" y="56"/>
                </a:cubicBezTo>
                <a:cubicBezTo>
                  <a:pt x="35" y="58"/>
                  <a:pt x="31" y="59"/>
                  <a:pt x="31" y="60"/>
                </a:cubicBezTo>
                <a:cubicBezTo>
                  <a:pt x="31" y="62"/>
                  <a:pt x="33" y="66"/>
                  <a:pt x="32" y="69"/>
                </a:cubicBezTo>
                <a:cubicBezTo>
                  <a:pt x="31" y="72"/>
                  <a:pt x="31" y="76"/>
                  <a:pt x="29" y="75"/>
                </a:cubicBezTo>
                <a:cubicBezTo>
                  <a:pt x="27" y="74"/>
                  <a:pt x="25" y="69"/>
                  <a:pt x="23" y="70"/>
                </a:cubicBezTo>
                <a:cubicBezTo>
                  <a:pt x="21" y="71"/>
                  <a:pt x="16" y="74"/>
                  <a:pt x="16" y="76"/>
                </a:cubicBezTo>
                <a:cubicBezTo>
                  <a:pt x="16" y="78"/>
                  <a:pt x="12" y="81"/>
                  <a:pt x="12" y="84"/>
                </a:cubicBezTo>
                <a:cubicBezTo>
                  <a:pt x="12" y="86"/>
                  <a:pt x="6" y="88"/>
                  <a:pt x="7" y="90"/>
                </a:cubicBezTo>
                <a:cubicBezTo>
                  <a:pt x="8" y="92"/>
                  <a:pt x="9" y="94"/>
                  <a:pt x="8" y="96"/>
                </a:cubicBezTo>
                <a:cubicBezTo>
                  <a:pt x="8" y="97"/>
                  <a:pt x="8" y="101"/>
                  <a:pt x="8" y="103"/>
                </a:cubicBezTo>
                <a:cubicBezTo>
                  <a:pt x="8" y="105"/>
                  <a:pt x="9" y="108"/>
                  <a:pt x="8" y="111"/>
                </a:cubicBezTo>
                <a:cubicBezTo>
                  <a:pt x="6" y="113"/>
                  <a:pt x="7" y="115"/>
                  <a:pt x="8" y="115"/>
                </a:cubicBezTo>
                <a:cubicBezTo>
                  <a:pt x="9" y="115"/>
                  <a:pt x="10" y="116"/>
                  <a:pt x="10" y="120"/>
                </a:cubicBezTo>
                <a:cubicBezTo>
                  <a:pt x="10" y="123"/>
                  <a:pt x="11" y="124"/>
                  <a:pt x="9" y="125"/>
                </a:cubicBezTo>
                <a:cubicBezTo>
                  <a:pt x="7" y="127"/>
                  <a:pt x="7" y="126"/>
                  <a:pt x="7" y="126"/>
                </a:cubicBezTo>
                <a:cubicBezTo>
                  <a:pt x="7" y="126"/>
                  <a:pt x="6" y="130"/>
                  <a:pt x="6" y="132"/>
                </a:cubicBezTo>
                <a:cubicBezTo>
                  <a:pt x="6" y="134"/>
                  <a:pt x="4" y="135"/>
                  <a:pt x="6" y="137"/>
                </a:cubicBezTo>
                <a:cubicBezTo>
                  <a:pt x="8" y="139"/>
                  <a:pt x="8" y="140"/>
                  <a:pt x="6" y="141"/>
                </a:cubicBezTo>
                <a:cubicBezTo>
                  <a:pt x="4" y="142"/>
                  <a:pt x="6" y="144"/>
                  <a:pt x="4" y="145"/>
                </a:cubicBezTo>
                <a:cubicBezTo>
                  <a:pt x="1" y="146"/>
                  <a:pt x="3" y="145"/>
                  <a:pt x="3" y="148"/>
                </a:cubicBezTo>
                <a:cubicBezTo>
                  <a:pt x="3" y="150"/>
                  <a:pt x="5" y="151"/>
                  <a:pt x="5" y="153"/>
                </a:cubicBezTo>
                <a:cubicBezTo>
                  <a:pt x="5" y="155"/>
                  <a:pt x="5" y="159"/>
                  <a:pt x="3" y="158"/>
                </a:cubicBezTo>
                <a:cubicBezTo>
                  <a:pt x="1" y="157"/>
                  <a:pt x="1" y="158"/>
                  <a:pt x="1" y="158"/>
                </a:cubicBezTo>
                <a:cubicBezTo>
                  <a:pt x="1" y="159"/>
                  <a:pt x="0" y="160"/>
                  <a:pt x="0" y="162"/>
                </a:cubicBezTo>
                <a:cubicBezTo>
                  <a:pt x="1" y="163"/>
                  <a:pt x="2" y="163"/>
                  <a:pt x="3" y="163"/>
                </a:cubicBezTo>
                <a:cubicBezTo>
                  <a:pt x="3" y="163"/>
                  <a:pt x="5" y="167"/>
                  <a:pt x="5" y="167"/>
                </a:cubicBezTo>
                <a:cubicBezTo>
                  <a:pt x="6" y="167"/>
                  <a:pt x="6" y="167"/>
                  <a:pt x="6" y="167"/>
                </a:cubicBezTo>
                <a:cubicBezTo>
                  <a:pt x="6" y="168"/>
                  <a:pt x="3" y="171"/>
                  <a:pt x="3" y="172"/>
                </a:cubicBezTo>
                <a:cubicBezTo>
                  <a:pt x="3" y="173"/>
                  <a:pt x="5" y="173"/>
                  <a:pt x="5" y="174"/>
                </a:cubicBezTo>
                <a:cubicBezTo>
                  <a:pt x="5" y="175"/>
                  <a:pt x="5" y="176"/>
                  <a:pt x="5" y="176"/>
                </a:cubicBezTo>
                <a:cubicBezTo>
                  <a:pt x="5" y="176"/>
                  <a:pt x="7" y="176"/>
                  <a:pt x="8" y="176"/>
                </a:cubicBezTo>
                <a:cubicBezTo>
                  <a:pt x="8" y="178"/>
                  <a:pt x="8" y="179"/>
                  <a:pt x="8" y="180"/>
                </a:cubicBezTo>
                <a:cubicBezTo>
                  <a:pt x="9" y="181"/>
                  <a:pt x="12" y="183"/>
                  <a:pt x="13" y="184"/>
                </a:cubicBezTo>
                <a:cubicBezTo>
                  <a:pt x="13" y="185"/>
                  <a:pt x="13" y="187"/>
                  <a:pt x="14" y="187"/>
                </a:cubicBezTo>
                <a:cubicBezTo>
                  <a:pt x="14" y="188"/>
                  <a:pt x="16" y="187"/>
                  <a:pt x="16" y="188"/>
                </a:cubicBezTo>
                <a:cubicBezTo>
                  <a:pt x="16" y="190"/>
                  <a:pt x="16" y="190"/>
                  <a:pt x="16" y="190"/>
                </a:cubicBezTo>
                <a:cubicBezTo>
                  <a:pt x="15" y="190"/>
                  <a:pt x="14" y="190"/>
                  <a:pt x="14" y="190"/>
                </a:cubicBezTo>
                <a:cubicBezTo>
                  <a:pt x="13" y="191"/>
                  <a:pt x="14" y="192"/>
                  <a:pt x="14" y="193"/>
                </a:cubicBezTo>
                <a:cubicBezTo>
                  <a:pt x="14" y="193"/>
                  <a:pt x="12" y="194"/>
                  <a:pt x="12" y="194"/>
                </a:cubicBezTo>
                <a:cubicBezTo>
                  <a:pt x="12" y="196"/>
                  <a:pt x="13" y="199"/>
                  <a:pt x="13" y="199"/>
                </a:cubicBezTo>
                <a:cubicBezTo>
                  <a:pt x="13" y="202"/>
                  <a:pt x="13" y="205"/>
                  <a:pt x="16" y="206"/>
                </a:cubicBezTo>
                <a:cubicBezTo>
                  <a:pt x="19" y="206"/>
                  <a:pt x="24" y="204"/>
                  <a:pt x="26" y="203"/>
                </a:cubicBezTo>
                <a:cubicBezTo>
                  <a:pt x="26" y="199"/>
                  <a:pt x="26" y="199"/>
                  <a:pt x="27" y="196"/>
                </a:cubicBezTo>
                <a:cubicBezTo>
                  <a:pt x="27" y="196"/>
                  <a:pt x="29" y="196"/>
                  <a:pt x="30" y="196"/>
                </a:cubicBezTo>
                <a:cubicBezTo>
                  <a:pt x="30" y="196"/>
                  <a:pt x="29" y="193"/>
                  <a:pt x="30" y="193"/>
                </a:cubicBezTo>
                <a:cubicBezTo>
                  <a:pt x="32" y="192"/>
                  <a:pt x="37" y="193"/>
                  <a:pt x="41" y="193"/>
                </a:cubicBezTo>
                <a:cubicBezTo>
                  <a:pt x="42" y="193"/>
                  <a:pt x="43" y="190"/>
                  <a:pt x="43" y="190"/>
                </a:cubicBezTo>
                <a:cubicBezTo>
                  <a:pt x="43" y="190"/>
                  <a:pt x="44" y="191"/>
                  <a:pt x="43" y="192"/>
                </a:cubicBezTo>
                <a:cubicBezTo>
                  <a:pt x="44" y="192"/>
                  <a:pt x="45" y="192"/>
                  <a:pt x="45" y="192"/>
                </a:cubicBezTo>
                <a:cubicBezTo>
                  <a:pt x="46" y="190"/>
                  <a:pt x="47" y="188"/>
                  <a:pt x="48" y="185"/>
                </a:cubicBezTo>
                <a:cubicBezTo>
                  <a:pt x="48" y="185"/>
                  <a:pt x="49" y="184"/>
                  <a:pt x="47" y="184"/>
                </a:cubicBezTo>
                <a:cubicBezTo>
                  <a:pt x="46" y="185"/>
                  <a:pt x="46" y="188"/>
                  <a:pt x="45" y="188"/>
                </a:cubicBezTo>
                <a:cubicBezTo>
                  <a:pt x="44" y="189"/>
                  <a:pt x="44" y="187"/>
                  <a:pt x="44" y="186"/>
                </a:cubicBezTo>
                <a:cubicBezTo>
                  <a:pt x="44" y="185"/>
                  <a:pt x="45" y="181"/>
                  <a:pt x="45" y="179"/>
                </a:cubicBezTo>
                <a:cubicBezTo>
                  <a:pt x="46" y="179"/>
                  <a:pt x="47" y="177"/>
                  <a:pt x="47" y="176"/>
                </a:cubicBezTo>
                <a:cubicBezTo>
                  <a:pt x="48" y="174"/>
                  <a:pt x="46" y="175"/>
                  <a:pt x="47" y="173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50" y="169"/>
                  <a:pt x="48" y="164"/>
                  <a:pt x="47" y="162"/>
                </a:cubicBezTo>
                <a:cubicBezTo>
                  <a:pt x="48" y="162"/>
                  <a:pt x="50" y="161"/>
                  <a:pt x="50" y="160"/>
                </a:cubicBezTo>
                <a:cubicBezTo>
                  <a:pt x="49" y="160"/>
                  <a:pt x="46" y="158"/>
                  <a:pt x="45" y="158"/>
                </a:cubicBezTo>
                <a:cubicBezTo>
                  <a:pt x="50" y="158"/>
                  <a:pt x="52" y="157"/>
                  <a:pt x="57" y="156"/>
                </a:cubicBezTo>
                <a:cubicBezTo>
                  <a:pt x="57" y="158"/>
                  <a:pt x="57" y="158"/>
                  <a:pt x="57" y="158"/>
                </a:cubicBezTo>
                <a:cubicBezTo>
                  <a:pt x="58" y="158"/>
                  <a:pt x="58" y="158"/>
                  <a:pt x="58" y="158"/>
                </a:cubicBezTo>
                <a:cubicBezTo>
                  <a:pt x="59" y="158"/>
                  <a:pt x="59" y="156"/>
                  <a:pt x="59" y="155"/>
                </a:cubicBezTo>
                <a:cubicBezTo>
                  <a:pt x="61" y="154"/>
                  <a:pt x="62" y="155"/>
                  <a:pt x="63" y="154"/>
                </a:cubicBezTo>
                <a:cubicBezTo>
                  <a:pt x="64" y="154"/>
                  <a:pt x="63" y="153"/>
                  <a:pt x="64" y="152"/>
                </a:cubicBezTo>
                <a:cubicBezTo>
                  <a:pt x="65" y="151"/>
                  <a:pt x="65" y="152"/>
                  <a:pt x="67" y="151"/>
                </a:cubicBezTo>
                <a:cubicBezTo>
                  <a:pt x="66" y="149"/>
                  <a:pt x="66" y="149"/>
                  <a:pt x="66" y="149"/>
                </a:cubicBezTo>
                <a:cubicBezTo>
                  <a:pt x="64" y="149"/>
                  <a:pt x="63" y="149"/>
                  <a:pt x="62" y="149"/>
                </a:cubicBezTo>
                <a:cubicBezTo>
                  <a:pt x="64" y="148"/>
                  <a:pt x="66" y="147"/>
                  <a:pt x="68" y="146"/>
                </a:cubicBezTo>
                <a:cubicBezTo>
                  <a:pt x="68" y="144"/>
                  <a:pt x="69" y="141"/>
                  <a:pt x="67" y="139"/>
                </a:cubicBezTo>
                <a:cubicBezTo>
                  <a:pt x="67" y="138"/>
                  <a:pt x="66" y="139"/>
                  <a:pt x="65" y="138"/>
                </a:cubicBezTo>
                <a:cubicBezTo>
                  <a:pt x="63" y="137"/>
                  <a:pt x="64" y="135"/>
                  <a:pt x="64" y="135"/>
                </a:cubicBezTo>
                <a:cubicBezTo>
                  <a:pt x="61" y="134"/>
                  <a:pt x="61" y="134"/>
                  <a:pt x="59" y="131"/>
                </a:cubicBezTo>
                <a:cubicBezTo>
                  <a:pt x="59" y="131"/>
                  <a:pt x="58" y="132"/>
                  <a:pt x="57" y="133"/>
                </a:cubicBezTo>
                <a:cubicBezTo>
                  <a:pt x="56" y="133"/>
                  <a:pt x="56" y="132"/>
                  <a:pt x="54" y="132"/>
                </a:cubicBezTo>
                <a:cubicBezTo>
                  <a:pt x="54" y="131"/>
                  <a:pt x="54" y="130"/>
                  <a:pt x="53" y="130"/>
                </a:cubicBezTo>
                <a:cubicBezTo>
                  <a:pt x="54" y="125"/>
                  <a:pt x="52" y="122"/>
                  <a:pt x="52" y="118"/>
                </a:cubicBezTo>
                <a:cubicBezTo>
                  <a:pt x="52" y="118"/>
                  <a:pt x="52" y="115"/>
                  <a:pt x="52" y="115"/>
                </a:cubicBezTo>
                <a:cubicBezTo>
                  <a:pt x="53" y="115"/>
                  <a:pt x="54" y="115"/>
                  <a:pt x="54" y="115"/>
                </a:cubicBezTo>
                <a:cubicBezTo>
                  <a:pt x="51" y="112"/>
                  <a:pt x="56" y="107"/>
                  <a:pt x="55" y="103"/>
                </a:cubicBezTo>
                <a:cubicBezTo>
                  <a:pt x="55" y="103"/>
                  <a:pt x="54" y="103"/>
                  <a:pt x="53" y="103"/>
                </a:cubicBezTo>
                <a:cubicBezTo>
                  <a:pt x="53" y="102"/>
                  <a:pt x="54" y="101"/>
                  <a:pt x="53" y="101"/>
                </a:cubicBezTo>
                <a:cubicBezTo>
                  <a:pt x="54" y="100"/>
                  <a:pt x="55" y="102"/>
                  <a:pt x="56" y="101"/>
                </a:cubicBezTo>
                <a:cubicBezTo>
                  <a:pt x="56" y="101"/>
                  <a:pt x="57" y="100"/>
                  <a:pt x="57" y="100"/>
                </a:cubicBezTo>
                <a:cubicBezTo>
                  <a:pt x="58" y="99"/>
                  <a:pt x="59" y="100"/>
                  <a:pt x="59" y="99"/>
                </a:cubicBezTo>
                <a:cubicBezTo>
                  <a:pt x="60" y="99"/>
                  <a:pt x="60" y="97"/>
                  <a:pt x="61" y="96"/>
                </a:cubicBezTo>
                <a:cubicBezTo>
                  <a:pt x="59" y="96"/>
                  <a:pt x="59" y="96"/>
                  <a:pt x="59" y="96"/>
                </a:cubicBezTo>
                <a:cubicBezTo>
                  <a:pt x="59" y="95"/>
                  <a:pt x="59" y="95"/>
                  <a:pt x="59" y="95"/>
                </a:cubicBezTo>
                <a:cubicBezTo>
                  <a:pt x="62" y="94"/>
                  <a:pt x="64" y="94"/>
                  <a:pt x="65" y="92"/>
                </a:cubicBezTo>
                <a:cubicBezTo>
                  <a:pt x="66" y="91"/>
                  <a:pt x="64" y="91"/>
                  <a:pt x="64" y="91"/>
                </a:cubicBezTo>
                <a:cubicBezTo>
                  <a:pt x="67" y="87"/>
                  <a:pt x="67" y="87"/>
                  <a:pt x="67" y="87"/>
                </a:cubicBezTo>
                <a:cubicBezTo>
                  <a:pt x="68" y="86"/>
                  <a:pt x="69" y="87"/>
                  <a:pt x="69" y="87"/>
                </a:cubicBezTo>
                <a:cubicBezTo>
                  <a:pt x="72" y="87"/>
                  <a:pt x="73" y="84"/>
                  <a:pt x="75" y="83"/>
                </a:cubicBezTo>
                <a:cubicBezTo>
                  <a:pt x="77" y="83"/>
                  <a:pt x="79" y="84"/>
                  <a:pt x="79" y="83"/>
                </a:cubicBezTo>
                <a:cubicBezTo>
                  <a:pt x="82" y="82"/>
                  <a:pt x="82" y="79"/>
                  <a:pt x="84" y="77"/>
                </a:cubicBezTo>
                <a:cubicBezTo>
                  <a:pt x="85" y="76"/>
                  <a:pt x="86" y="76"/>
                  <a:pt x="87" y="75"/>
                </a:cubicBezTo>
                <a:cubicBezTo>
                  <a:pt x="87" y="74"/>
                  <a:pt x="88" y="74"/>
                  <a:pt x="88" y="73"/>
                </a:cubicBezTo>
                <a:cubicBezTo>
                  <a:pt x="88" y="73"/>
                  <a:pt x="86" y="72"/>
                  <a:pt x="86" y="72"/>
                </a:cubicBezTo>
                <a:cubicBezTo>
                  <a:pt x="86" y="71"/>
                  <a:pt x="86" y="71"/>
                  <a:pt x="87" y="69"/>
                </a:cubicBezTo>
                <a:cubicBezTo>
                  <a:pt x="86" y="69"/>
                  <a:pt x="85" y="66"/>
                  <a:pt x="85" y="64"/>
                </a:cubicBezTo>
                <a:cubicBezTo>
                  <a:pt x="89" y="61"/>
                  <a:pt x="89" y="61"/>
                  <a:pt x="89" y="61"/>
                </a:cubicBezTo>
                <a:cubicBezTo>
                  <a:pt x="90" y="59"/>
                  <a:pt x="86" y="60"/>
                  <a:pt x="89" y="59"/>
                </a:cubicBezTo>
                <a:cubicBezTo>
                  <a:pt x="90" y="58"/>
                  <a:pt x="90" y="58"/>
                  <a:pt x="90" y="58"/>
                </a:cubicBezTo>
                <a:cubicBezTo>
                  <a:pt x="91" y="58"/>
                  <a:pt x="88" y="57"/>
                  <a:pt x="89" y="56"/>
                </a:cubicBezTo>
                <a:cubicBezTo>
                  <a:pt x="91" y="55"/>
                  <a:pt x="91" y="57"/>
                  <a:pt x="93" y="56"/>
                </a:cubicBezTo>
                <a:cubicBezTo>
                  <a:pt x="95" y="55"/>
                  <a:pt x="96" y="51"/>
                  <a:pt x="97" y="48"/>
                </a:cubicBezTo>
                <a:cubicBezTo>
                  <a:pt x="97" y="48"/>
                  <a:pt x="98" y="49"/>
                  <a:pt x="98" y="50"/>
                </a:cubicBezTo>
                <a:cubicBezTo>
                  <a:pt x="98" y="50"/>
                  <a:pt x="100" y="49"/>
                  <a:pt x="101" y="49"/>
                </a:cubicBezTo>
                <a:cubicBezTo>
                  <a:pt x="101" y="49"/>
                  <a:pt x="102" y="51"/>
                  <a:pt x="102" y="51"/>
                </a:cubicBezTo>
                <a:cubicBezTo>
                  <a:pt x="103" y="52"/>
                  <a:pt x="103" y="50"/>
                  <a:pt x="103" y="49"/>
                </a:cubicBezTo>
                <a:cubicBezTo>
                  <a:pt x="105" y="50"/>
                  <a:pt x="106" y="50"/>
                  <a:pt x="108" y="50"/>
                </a:cubicBezTo>
                <a:close/>
                <a:moveTo>
                  <a:pt x="30" y="206"/>
                </a:moveTo>
                <a:cubicBezTo>
                  <a:pt x="30" y="207"/>
                  <a:pt x="30" y="209"/>
                  <a:pt x="30" y="210"/>
                </a:cubicBezTo>
                <a:cubicBezTo>
                  <a:pt x="38" y="214"/>
                  <a:pt x="36" y="209"/>
                  <a:pt x="30" y="206"/>
                </a:cubicBezTo>
                <a:close/>
                <a:moveTo>
                  <a:pt x="67" y="171"/>
                </a:moveTo>
                <a:cubicBezTo>
                  <a:pt x="67" y="171"/>
                  <a:pt x="67" y="173"/>
                  <a:pt x="67" y="174"/>
                </a:cubicBezTo>
                <a:cubicBezTo>
                  <a:pt x="67" y="174"/>
                  <a:pt x="65" y="173"/>
                  <a:pt x="64" y="173"/>
                </a:cubicBezTo>
                <a:cubicBezTo>
                  <a:pt x="59" y="180"/>
                  <a:pt x="57" y="179"/>
                  <a:pt x="62" y="187"/>
                </a:cubicBezTo>
                <a:cubicBezTo>
                  <a:pt x="63" y="186"/>
                  <a:pt x="66" y="182"/>
                  <a:pt x="66" y="182"/>
                </a:cubicBezTo>
                <a:cubicBezTo>
                  <a:pt x="67" y="180"/>
                  <a:pt x="65" y="180"/>
                  <a:pt x="65" y="178"/>
                </a:cubicBezTo>
                <a:cubicBezTo>
                  <a:pt x="66" y="176"/>
                  <a:pt x="68" y="173"/>
                  <a:pt x="69" y="171"/>
                </a:cubicBezTo>
                <a:cubicBezTo>
                  <a:pt x="69" y="171"/>
                  <a:pt x="68" y="171"/>
                  <a:pt x="67" y="171"/>
                </a:cubicBezTo>
                <a:close/>
                <a:moveTo>
                  <a:pt x="31" y="156"/>
                </a:moveTo>
                <a:cubicBezTo>
                  <a:pt x="31" y="157"/>
                  <a:pt x="32" y="156"/>
                  <a:pt x="32" y="158"/>
                </a:cubicBezTo>
                <a:cubicBezTo>
                  <a:pt x="32" y="159"/>
                  <a:pt x="30" y="161"/>
                  <a:pt x="30" y="161"/>
                </a:cubicBezTo>
                <a:cubicBezTo>
                  <a:pt x="30" y="161"/>
                  <a:pt x="27" y="171"/>
                  <a:pt x="28" y="164"/>
                </a:cubicBezTo>
                <a:cubicBezTo>
                  <a:pt x="28" y="163"/>
                  <a:pt x="29" y="159"/>
                  <a:pt x="30" y="157"/>
                </a:cubicBezTo>
                <a:cubicBezTo>
                  <a:pt x="30" y="157"/>
                  <a:pt x="31" y="156"/>
                  <a:pt x="31" y="156"/>
                </a:cubicBezTo>
                <a:close/>
                <a:moveTo>
                  <a:pt x="19" y="146"/>
                </a:moveTo>
                <a:cubicBezTo>
                  <a:pt x="20" y="146"/>
                  <a:pt x="20" y="146"/>
                  <a:pt x="20" y="146"/>
                </a:cubicBezTo>
                <a:cubicBezTo>
                  <a:pt x="20" y="146"/>
                  <a:pt x="20" y="148"/>
                  <a:pt x="20" y="148"/>
                </a:cubicBezTo>
                <a:cubicBezTo>
                  <a:pt x="21" y="148"/>
                  <a:pt x="23" y="148"/>
                  <a:pt x="24" y="149"/>
                </a:cubicBezTo>
                <a:cubicBezTo>
                  <a:pt x="27" y="153"/>
                  <a:pt x="23" y="156"/>
                  <a:pt x="20" y="158"/>
                </a:cubicBezTo>
                <a:cubicBezTo>
                  <a:pt x="20" y="158"/>
                  <a:pt x="19" y="160"/>
                  <a:pt x="19" y="160"/>
                </a:cubicBezTo>
                <a:cubicBezTo>
                  <a:pt x="17" y="160"/>
                  <a:pt x="17" y="159"/>
                  <a:pt x="16" y="160"/>
                </a:cubicBezTo>
                <a:cubicBezTo>
                  <a:pt x="15" y="160"/>
                  <a:pt x="15" y="161"/>
                  <a:pt x="15" y="161"/>
                </a:cubicBezTo>
                <a:cubicBezTo>
                  <a:pt x="14" y="161"/>
                  <a:pt x="12" y="161"/>
                  <a:pt x="11" y="161"/>
                </a:cubicBezTo>
                <a:cubicBezTo>
                  <a:pt x="11" y="159"/>
                  <a:pt x="11" y="157"/>
                  <a:pt x="12" y="155"/>
                </a:cubicBezTo>
                <a:cubicBezTo>
                  <a:pt x="12" y="155"/>
                  <a:pt x="13" y="155"/>
                  <a:pt x="13" y="154"/>
                </a:cubicBezTo>
                <a:cubicBezTo>
                  <a:pt x="15" y="153"/>
                  <a:pt x="16" y="154"/>
                  <a:pt x="18" y="153"/>
                </a:cubicBezTo>
                <a:cubicBezTo>
                  <a:pt x="18" y="152"/>
                  <a:pt x="18" y="148"/>
                  <a:pt x="18" y="148"/>
                </a:cubicBezTo>
                <a:lnTo>
                  <a:pt x="19" y="146"/>
                </a:lnTo>
                <a:close/>
                <a:moveTo>
                  <a:pt x="53" y="145"/>
                </a:moveTo>
                <a:cubicBezTo>
                  <a:pt x="53" y="145"/>
                  <a:pt x="54" y="146"/>
                  <a:pt x="55" y="147"/>
                </a:cubicBezTo>
                <a:cubicBezTo>
                  <a:pt x="55" y="147"/>
                  <a:pt x="56" y="146"/>
                  <a:pt x="57" y="146"/>
                </a:cubicBezTo>
                <a:cubicBezTo>
                  <a:pt x="58" y="147"/>
                  <a:pt x="59" y="148"/>
                  <a:pt x="59" y="149"/>
                </a:cubicBezTo>
                <a:cubicBezTo>
                  <a:pt x="57" y="148"/>
                  <a:pt x="55" y="148"/>
                  <a:pt x="53" y="148"/>
                </a:cubicBezTo>
                <a:cubicBezTo>
                  <a:pt x="52" y="147"/>
                  <a:pt x="53" y="147"/>
                  <a:pt x="52" y="147"/>
                </a:cubicBezTo>
                <a:cubicBezTo>
                  <a:pt x="52" y="146"/>
                  <a:pt x="51" y="145"/>
                  <a:pt x="53" y="145"/>
                </a:cubicBezTo>
                <a:close/>
                <a:moveTo>
                  <a:pt x="49" y="145"/>
                </a:moveTo>
                <a:cubicBezTo>
                  <a:pt x="51" y="145"/>
                  <a:pt x="49" y="146"/>
                  <a:pt x="49" y="147"/>
                </a:cubicBezTo>
                <a:cubicBezTo>
                  <a:pt x="48" y="147"/>
                  <a:pt x="48" y="145"/>
                  <a:pt x="49" y="145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3" name="Google Shape;453;p102"/>
          <p:cNvSpPr/>
          <p:nvPr/>
        </p:nvSpPr>
        <p:spPr>
          <a:xfrm>
            <a:off x="7003405" y="5484309"/>
            <a:ext cx="32276" cy="43796"/>
          </a:xfrm>
          <a:custGeom>
            <a:avLst/>
            <a:gdLst/>
            <a:ahLst/>
            <a:cxnLst/>
            <a:rect l="l" t="t" r="r" b="b"/>
            <a:pathLst>
              <a:path w="11" h="16" extrusionOk="0">
                <a:moveTo>
                  <a:pt x="10" y="10"/>
                </a:moveTo>
                <a:cubicBezTo>
                  <a:pt x="10" y="10"/>
                  <a:pt x="11" y="6"/>
                  <a:pt x="11" y="4"/>
                </a:cubicBezTo>
                <a:cubicBezTo>
                  <a:pt x="11" y="2"/>
                  <a:pt x="7" y="0"/>
                  <a:pt x="7" y="0"/>
                </a:cubicBezTo>
                <a:cubicBezTo>
                  <a:pt x="7" y="0"/>
                  <a:pt x="5" y="2"/>
                  <a:pt x="3" y="1"/>
                </a:cubicBezTo>
                <a:cubicBezTo>
                  <a:pt x="2" y="0"/>
                  <a:pt x="1" y="2"/>
                  <a:pt x="1" y="5"/>
                </a:cubicBezTo>
                <a:cubicBezTo>
                  <a:pt x="1" y="9"/>
                  <a:pt x="0" y="8"/>
                  <a:pt x="1" y="11"/>
                </a:cubicBezTo>
                <a:cubicBezTo>
                  <a:pt x="3" y="14"/>
                  <a:pt x="2" y="12"/>
                  <a:pt x="4" y="14"/>
                </a:cubicBezTo>
                <a:cubicBezTo>
                  <a:pt x="7" y="15"/>
                  <a:pt x="11" y="16"/>
                  <a:pt x="11" y="16"/>
                </a:cubicBezTo>
                <a:lnTo>
                  <a:pt x="10" y="1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4" name="Google Shape;454;p102"/>
          <p:cNvSpPr/>
          <p:nvPr/>
        </p:nvSpPr>
        <p:spPr>
          <a:xfrm>
            <a:off x="4783158" y="4521609"/>
            <a:ext cx="104163" cy="158230"/>
          </a:xfrm>
          <a:custGeom>
            <a:avLst/>
            <a:gdLst/>
            <a:ahLst/>
            <a:cxnLst/>
            <a:rect l="l" t="t" r="r" b="b"/>
            <a:pathLst>
              <a:path w="36" h="57" extrusionOk="0">
                <a:moveTo>
                  <a:pt x="36" y="4"/>
                </a:moveTo>
                <a:cubicBezTo>
                  <a:pt x="35" y="4"/>
                  <a:pt x="33" y="4"/>
                  <a:pt x="32" y="4"/>
                </a:cubicBezTo>
                <a:cubicBezTo>
                  <a:pt x="32" y="4"/>
                  <a:pt x="32" y="3"/>
                  <a:pt x="32" y="3"/>
                </a:cubicBezTo>
                <a:cubicBezTo>
                  <a:pt x="30" y="3"/>
                  <a:pt x="28" y="2"/>
                  <a:pt x="27" y="3"/>
                </a:cubicBezTo>
                <a:cubicBezTo>
                  <a:pt x="27" y="4"/>
                  <a:pt x="27" y="4"/>
                  <a:pt x="27" y="4"/>
                </a:cubicBezTo>
                <a:cubicBezTo>
                  <a:pt x="26" y="4"/>
                  <a:pt x="24" y="5"/>
                  <a:pt x="24" y="5"/>
                </a:cubicBezTo>
                <a:cubicBezTo>
                  <a:pt x="17" y="5"/>
                  <a:pt x="15" y="0"/>
                  <a:pt x="12" y="7"/>
                </a:cubicBezTo>
                <a:cubicBezTo>
                  <a:pt x="12" y="6"/>
                  <a:pt x="12" y="6"/>
                  <a:pt x="12" y="6"/>
                </a:cubicBezTo>
                <a:cubicBezTo>
                  <a:pt x="12" y="6"/>
                  <a:pt x="7" y="12"/>
                  <a:pt x="7" y="14"/>
                </a:cubicBezTo>
                <a:cubicBezTo>
                  <a:pt x="7" y="15"/>
                  <a:pt x="7" y="17"/>
                  <a:pt x="7" y="19"/>
                </a:cubicBezTo>
                <a:cubicBezTo>
                  <a:pt x="6" y="21"/>
                  <a:pt x="4" y="21"/>
                  <a:pt x="2" y="23"/>
                </a:cubicBezTo>
                <a:cubicBezTo>
                  <a:pt x="0" y="24"/>
                  <a:pt x="4" y="27"/>
                  <a:pt x="3" y="29"/>
                </a:cubicBezTo>
                <a:cubicBezTo>
                  <a:pt x="3" y="31"/>
                  <a:pt x="2" y="36"/>
                  <a:pt x="2" y="36"/>
                </a:cubicBezTo>
                <a:cubicBezTo>
                  <a:pt x="2" y="36"/>
                  <a:pt x="4" y="37"/>
                  <a:pt x="5" y="38"/>
                </a:cubicBezTo>
                <a:cubicBezTo>
                  <a:pt x="6" y="39"/>
                  <a:pt x="5" y="43"/>
                  <a:pt x="5" y="43"/>
                </a:cubicBezTo>
                <a:cubicBezTo>
                  <a:pt x="6" y="51"/>
                  <a:pt x="6" y="51"/>
                  <a:pt x="6" y="51"/>
                </a:cubicBezTo>
                <a:cubicBezTo>
                  <a:pt x="7" y="56"/>
                  <a:pt x="7" y="56"/>
                  <a:pt x="7" y="56"/>
                </a:cubicBezTo>
                <a:cubicBezTo>
                  <a:pt x="11" y="55"/>
                  <a:pt x="11" y="55"/>
                  <a:pt x="11" y="55"/>
                </a:cubicBezTo>
                <a:cubicBezTo>
                  <a:pt x="17" y="57"/>
                  <a:pt x="17" y="57"/>
                  <a:pt x="17" y="57"/>
                </a:cubicBezTo>
                <a:cubicBezTo>
                  <a:pt x="19" y="53"/>
                  <a:pt x="19" y="53"/>
                  <a:pt x="19" y="53"/>
                </a:cubicBezTo>
                <a:cubicBezTo>
                  <a:pt x="16" y="51"/>
                  <a:pt x="16" y="51"/>
                  <a:pt x="16" y="51"/>
                </a:cubicBezTo>
                <a:cubicBezTo>
                  <a:pt x="17" y="46"/>
                  <a:pt x="17" y="46"/>
                  <a:pt x="17" y="46"/>
                </a:cubicBezTo>
                <a:cubicBezTo>
                  <a:pt x="23" y="48"/>
                  <a:pt x="23" y="48"/>
                  <a:pt x="23" y="48"/>
                </a:cubicBezTo>
                <a:cubicBezTo>
                  <a:pt x="26" y="47"/>
                  <a:pt x="26" y="47"/>
                  <a:pt x="26" y="47"/>
                </a:cubicBezTo>
                <a:cubicBezTo>
                  <a:pt x="27" y="49"/>
                  <a:pt x="27" y="49"/>
                  <a:pt x="27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49"/>
                  <a:pt x="33" y="46"/>
                  <a:pt x="35" y="43"/>
                </a:cubicBezTo>
                <a:cubicBezTo>
                  <a:pt x="36" y="39"/>
                  <a:pt x="36" y="35"/>
                  <a:pt x="36" y="35"/>
                </a:cubicBezTo>
                <a:cubicBezTo>
                  <a:pt x="36" y="35"/>
                  <a:pt x="32" y="31"/>
                  <a:pt x="32" y="28"/>
                </a:cubicBezTo>
                <a:cubicBezTo>
                  <a:pt x="32" y="25"/>
                  <a:pt x="31" y="17"/>
                  <a:pt x="31" y="17"/>
                </a:cubicBezTo>
                <a:cubicBezTo>
                  <a:pt x="35" y="10"/>
                  <a:pt x="35" y="10"/>
                  <a:pt x="35" y="10"/>
                </a:cubicBezTo>
                <a:cubicBezTo>
                  <a:pt x="35" y="10"/>
                  <a:pt x="35" y="8"/>
                  <a:pt x="36" y="7"/>
                </a:cubicBezTo>
                <a:cubicBezTo>
                  <a:pt x="35" y="7"/>
                  <a:pt x="35" y="7"/>
                  <a:pt x="35" y="7"/>
                </a:cubicBezTo>
                <a:cubicBezTo>
                  <a:pt x="35" y="7"/>
                  <a:pt x="34" y="5"/>
                  <a:pt x="36" y="5"/>
                </a:cubicBezTo>
                <a:lnTo>
                  <a:pt x="36" y="4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5" name="Google Shape;455;p102"/>
          <p:cNvSpPr/>
          <p:nvPr/>
        </p:nvSpPr>
        <p:spPr>
          <a:xfrm>
            <a:off x="6776007" y="4006834"/>
            <a:ext cx="422522" cy="590538"/>
          </a:xfrm>
          <a:custGeom>
            <a:avLst/>
            <a:gdLst/>
            <a:ahLst/>
            <a:cxnLst/>
            <a:rect l="l" t="t" r="r" b="b"/>
            <a:pathLst>
              <a:path w="147" h="213" extrusionOk="0">
                <a:moveTo>
                  <a:pt x="147" y="57"/>
                </a:moveTo>
                <a:cubicBezTo>
                  <a:pt x="146" y="55"/>
                  <a:pt x="146" y="53"/>
                  <a:pt x="145" y="52"/>
                </a:cubicBezTo>
                <a:cubicBezTo>
                  <a:pt x="144" y="51"/>
                  <a:pt x="140" y="50"/>
                  <a:pt x="139" y="50"/>
                </a:cubicBezTo>
                <a:cubicBezTo>
                  <a:pt x="138" y="49"/>
                  <a:pt x="139" y="46"/>
                  <a:pt x="138" y="44"/>
                </a:cubicBezTo>
                <a:cubicBezTo>
                  <a:pt x="137" y="44"/>
                  <a:pt x="137" y="44"/>
                  <a:pt x="137" y="44"/>
                </a:cubicBezTo>
                <a:cubicBezTo>
                  <a:pt x="136" y="42"/>
                  <a:pt x="137" y="36"/>
                  <a:pt x="137" y="36"/>
                </a:cubicBezTo>
                <a:cubicBezTo>
                  <a:pt x="137" y="34"/>
                  <a:pt x="137" y="34"/>
                  <a:pt x="137" y="34"/>
                </a:cubicBezTo>
                <a:cubicBezTo>
                  <a:pt x="137" y="34"/>
                  <a:pt x="138" y="34"/>
                  <a:pt x="138" y="34"/>
                </a:cubicBezTo>
                <a:cubicBezTo>
                  <a:pt x="138" y="33"/>
                  <a:pt x="138" y="27"/>
                  <a:pt x="138" y="27"/>
                </a:cubicBezTo>
                <a:cubicBezTo>
                  <a:pt x="137" y="26"/>
                  <a:pt x="137" y="26"/>
                  <a:pt x="137" y="26"/>
                </a:cubicBezTo>
                <a:cubicBezTo>
                  <a:pt x="136" y="24"/>
                  <a:pt x="137" y="21"/>
                  <a:pt x="137" y="21"/>
                </a:cubicBezTo>
                <a:cubicBezTo>
                  <a:pt x="137" y="21"/>
                  <a:pt x="135" y="20"/>
                  <a:pt x="135" y="20"/>
                </a:cubicBezTo>
                <a:cubicBezTo>
                  <a:pt x="134" y="18"/>
                  <a:pt x="134" y="14"/>
                  <a:pt x="133" y="12"/>
                </a:cubicBezTo>
                <a:cubicBezTo>
                  <a:pt x="133" y="11"/>
                  <a:pt x="131" y="11"/>
                  <a:pt x="130" y="10"/>
                </a:cubicBezTo>
                <a:cubicBezTo>
                  <a:pt x="128" y="8"/>
                  <a:pt x="127" y="6"/>
                  <a:pt x="125" y="4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2"/>
                  <a:pt x="124" y="1"/>
                  <a:pt x="124" y="0"/>
                </a:cubicBezTo>
                <a:cubicBezTo>
                  <a:pt x="123" y="0"/>
                  <a:pt x="123" y="0"/>
                  <a:pt x="123" y="0"/>
                </a:cubicBezTo>
                <a:cubicBezTo>
                  <a:pt x="118" y="2"/>
                  <a:pt x="118" y="2"/>
                  <a:pt x="118" y="2"/>
                </a:cubicBezTo>
                <a:cubicBezTo>
                  <a:pt x="115" y="2"/>
                  <a:pt x="115" y="2"/>
                  <a:pt x="115" y="2"/>
                </a:cubicBezTo>
                <a:cubicBezTo>
                  <a:pt x="113" y="8"/>
                  <a:pt x="113" y="8"/>
                  <a:pt x="113" y="8"/>
                </a:cubicBezTo>
                <a:cubicBezTo>
                  <a:pt x="110" y="9"/>
                  <a:pt x="110" y="9"/>
                  <a:pt x="110" y="9"/>
                </a:cubicBezTo>
                <a:cubicBezTo>
                  <a:pt x="109" y="14"/>
                  <a:pt x="109" y="14"/>
                  <a:pt x="109" y="14"/>
                </a:cubicBezTo>
                <a:cubicBezTo>
                  <a:pt x="106" y="15"/>
                  <a:pt x="106" y="15"/>
                  <a:pt x="106" y="15"/>
                </a:cubicBezTo>
                <a:cubicBezTo>
                  <a:pt x="105" y="13"/>
                  <a:pt x="105" y="13"/>
                  <a:pt x="105" y="13"/>
                </a:cubicBezTo>
                <a:cubicBezTo>
                  <a:pt x="97" y="13"/>
                  <a:pt x="97" y="13"/>
                  <a:pt x="97" y="13"/>
                </a:cubicBezTo>
                <a:cubicBezTo>
                  <a:pt x="96" y="11"/>
                  <a:pt x="96" y="11"/>
                  <a:pt x="96" y="11"/>
                </a:cubicBezTo>
                <a:cubicBezTo>
                  <a:pt x="94" y="13"/>
                  <a:pt x="94" y="13"/>
                  <a:pt x="94" y="13"/>
                </a:cubicBezTo>
                <a:cubicBezTo>
                  <a:pt x="32" y="12"/>
                  <a:pt x="32" y="12"/>
                  <a:pt x="32" y="12"/>
                </a:cubicBezTo>
                <a:cubicBezTo>
                  <a:pt x="32" y="33"/>
                  <a:pt x="32" y="33"/>
                  <a:pt x="32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41"/>
                  <a:pt x="24" y="41"/>
                  <a:pt x="24" y="41"/>
                </a:cubicBezTo>
                <a:cubicBezTo>
                  <a:pt x="24" y="81"/>
                  <a:pt x="24" y="81"/>
                  <a:pt x="24" y="81"/>
                </a:cubicBezTo>
                <a:cubicBezTo>
                  <a:pt x="24" y="81"/>
                  <a:pt x="19" y="82"/>
                  <a:pt x="18" y="81"/>
                </a:cubicBezTo>
                <a:cubicBezTo>
                  <a:pt x="16" y="80"/>
                  <a:pt x="14" y="80"/>
                  <a:pt x="13" y="82"/>
                </a:cubicBezTo>
                <a:cubicBezTo>
                  <a:pt x="12" y="84"/>
                  <a:pt x="11" y="85"/>
                  <a:pt x="12" y="88"/>
                </a:cubicBezTo>
                <a:cubicBezTo>
                  <a:pt x="13" y="90"/>
                  <a:pt x="12" y="91"/>
                  <a:pt x="10" y="92"/>
                </a:cubicBezTo>
                <a:cubicBezTo>
                  <a:pt x="7" y="93"/>
                  <a:pt x="8" y="94"/>
                  <a:pt x="8" y="96"/>
                </a:cubicBezTo>
                <a:cubicBezTo>
                  <a:pt x="8" y="98"/>
                  <a:pt x="8" y="101"/>
                  <a:pt x="6" y="102"/>
                </a:cubicBezTo>
                <a:cubicBezTo>
                  <a:pt x="4" y="104"/>
                  <a:pt x="4" y="103"/>
                  <a:pt x="4" y="106"/>
                </a:cubicBezTo>
                <a:cubicBezTo>
                  <a:pt x="4" y="108"/>
                  <a:pt x="3" y="109"/>
                  <a:pt x="2" y="110"/>
                </a:cubicBezTo>
                <a:cubicBezTo>
                  <a:pt x="0" y="111"/>
                  <a:pt x="1" y="111"/>
                  <a:pt x="1" y="113"/>
                </a:cubicBezTo>
                <a:cubicBezTo>
                  <a:pt x="1" y="115"/>
                  <a:pt x="3" y="113"/>
                  <a:pt x="5" y="113"/>
                </a:cubicBezTo>
                <a:cubicBezTo>
                  <a:pt x="6" y="113"/>
                  <a:pt x="7" y="114"/>
                  <a:pt x="8" y="116"/>
                </a:cubicBezTo>
                <a:cubicBezTo>
                  <a:pt x="9" y="118"/>
                  <a:pt x="6" y="119"/>
                  <a:pt x="6" y="121"/>
                </a:cubicBezTo>
                <a:cubicBezTo>
                  <a:pt x="7" y="123"/>
                  <a:pt x="7" y="123"/>
                  <a:pt x="7" y="123"/>
                </a:cubicBezTo>
                <a:cubicBezTo>
                  <a:pt x="7" y="123"/>
                  <a:pt x="8" y="125"/>
                  <a:pt x="7" y="127"/>
                </a:cubicBezTo>
                <a:cubicBezTo>
                  <a:pt x="6" y="129"/>
                  <a:pt x="6" y="129"/>
                  <a:pt x="8" y="131"/>
                </a:cubicBezTo>
                <a:cubicBezTo>
                  <a:pt x="10" y="133"/>
                  <a:pt x="9" y="135"/>
                  <a:pt x="9" y="135"/>
                </a:cubicBezTo>
                <a:cubicBezTo>
                  <a:pt x="14" y="140"/>
                  <a:pt x="14" y="140"/>
                  <a:pt x="14" y="140"/>
                </a:cubicBezTo>
                <a:cubicBezTo>
                  <a:pt x="14" y="140"/>
                  <a:pt x="15" y="144"/>
                  <a:pt x="14" y="146"/>
                </a:cubicBezTo>
                <a:cubicBezTo>
                  <a:pt x="13" y="148"/>
                  <a:pt x="12" y="148"/>
                  <a:pt x="15" y="150"/>
                </a:cubicBezTo>
                <a:cubicBezTo>
                  <a:pt x="18" y="152"/>
                  <a:pt x="18" y="152"/>
                  <a:pt x="17" y="155"/>
                </a:cubicBezTo>
                <a:cubicBezTo>
                  <a:pt x="16" y="158"/>
                  <a:pt x="20" y="163"/>
                  <a:pt x="21" y="163"/>
                </a:cubicBezTo>
                <a:cubicBezTo>
                  <a:pt x="23" y="164"/>
                  <a:pt x="23" y="167"/>
                  <a:pt x="25" y="167"/>
                </a:cubicBezTo>
                <a:cubicBezTo>
                  <a:pt x="27" y="167"/>
                  <a:pt x="28" y="167"/>
                  <a:pt x="29" y="169"/>
                </a:cubicBezTo>
                <a:cubicBezTo>
                  <a:pt x="30" y="170"/>
                  <a:pt x="31" y="172"/>
                  <a:pt x="33" y="172"/>
                </a:cubicBezTo>
                <a:cubicBezTo>
                  <a:pt x="35" y="172"/>
                  <a:pt x="36" y="171"/>
                  <a:pt x="37" y="173"/>
                </a:cubicBezTo>
                <a:cubicBezTo>
                  <a:pt x="38" y="175"/>
                  <a:pt x="37" y="178"/>
                  <a:pt x="40" y="179"/>
                </a:cubicBezTo>
                <a:cubicBezTo>
                  <a:pt x="44" y="180"/>
                  <a:pt x="45" y="181"/>
                  <a:pt x="46" y="184"/>
                </a:cubicBezTo>
                <a:cubicBezTo>
                  <a:pt x="47" y="187"/>
                  <a:pt x="46" y="189"/>
                  <a:pt x="47" y="190"/>
                </a:cubicBezTo>
                <a:cubicBezTo>
                  <a:pt x="49" y="190"/>
                  <a:pt x="49" y="193"/>
                  <a:pt x="49" y="193"/>
                </a:cubicBezTo>
                <a:cubicBezTo>
                  <a:pt x="52" y="198"/>
                  <a:pt x="52" y="198"/>
                  <a:pt x="52" y="198"/>
                </a:cubicBezTo>
                <a:cubicBezTo>
                  <a:pt x="52" y="198"/>
                  <a:pt x="53" y="201"/>
                  <a:pt x="54" y="202"/>
                </a:cubicBezTo>
                <a:cubicBezTo>
                  <a:pt x="55" y="203"/>
                  <a:pt x="57" y="202"/>
                  <a:pt x="57" y="200"/>
                </a:cubicBezTo>
                <a:cubicBezTo>
                  <a:pt x="58" y="197"/>
                  <a:pt x="60" y="201"/>
                  <a:pt x="63" y="202"/>
                </a:cubicBezTo>
                <a:cubicBezTo>
                  <a:pt x="65" y="203"/>
                  <a:pt x="65" y="202"/>
                  <a:pt x="66" y="200"/>
                </a:cubicBezTo>
                <a:cubicBezTo>
                  <a:pt x="67" y="199"/>
                  <a:pt x="69" y="200"/>
                  <a:pt x="71" y="202"/>
                </a:cubicBezTo>
                <a:cubicBezTo>
                  <a:pt x="72" y="204"/>
                  <a:pt x="73" y="206"/>
                  <a:pt x="74" y="207"/>
                </a:cubicBezTo>
                <a:cubicBezTo>
                  <a:pt x="75" y="209"/>
                  <a:pt x="78" y="209"/>
                  <a:pt x="80" y="210"/>
                </a:cubicBezTo>
                <a:cubicBezTo>
                  <a:pt x="81" y="212"/>
                  <a:pt x="83" y="210"/>
                  <a:pt x="83" y="210"/>
                </a:cubicBezTo>
                <a:cubicBezTo>
                  <a:pt x="87" y="213"/>
                  <a:pt x="87" y="213"/>
                  <a:pt x="87" y="213"/>
                </a:cubicBezTo>
                <a:cubicBezTo>
                  <a:pt x="87" y="213"/>
                  <a:pt x="91" y="209"/>
                  <a:pt x="94" y="209"/>
                </a:cubicBezTo>
                <a:cubicBezTo>
                  <a:pt x="96" y="210"/>
                  <a:pt x="95" y="209"/>
                  <a:pt x="97" y="208"/>
                </a:cubicBezTo>
                <a:cubicBezTo>
                  <a:pt x="99" y="207"/>
                  <a:pt x="103" y="210"/>
                  <a:pt x="103" y="210"/>
                </a:cubicBezTo>
                <a:cubicBezTo>
                  <a:pt x="106" y="207"/>
                  <a:pt x="106" y="207"/>
                  <a:pt x="106" y="207"/>
                </a:cubicBezTo>
                <a:cubicBezTo>
                  <a:pt x="111" y="206"/>
                  <a:pt x="111" y="206"/>
                  <a:pt x="111" y="206"/>
                </a:cubicBezTo>
                <a:cubicBezTo>
                  <a:pt x="113" y="204"/>
                  <a:pt x="113" y="204"/>
                  <a:pt x="113" y="204"/>
                </a:cubicBezTo>
                <a:cubicBezTo>
                  <a:pt x="115" y="204"/>
                  <a:pt x="117" y="204"/>
                  <a:pt x="117" y="204"/>
                </a:cubicBezTo>
                <a:cubicBezTo>
                  <a:pt x="121" y="204"/>
                  <a:pt x="121" y="204"/>
                  <a:pt x="121" y="204"/>
                </a:cubicBezTo>
                <a:cubicBezTo>
                  <a:pt x="125" y="207"/>
                  <a:pt x="125" y="207"/>
                  <a:pt x="125" y="207"/>
                </a:cubicBezTo>
                <a:cubicBezTo>
                  <a:pt x="125" y="205"/>
                  <a:pt x="125" y="205"/>
                  <a:pt x="125" y="205"/>
                </a:cubicBezTo>
                <a:cubicBezTo>
                  <a:pt x="125" y="205"/>
                  <a:pt x="125" y="200"/>
                  <a:pt x="123" y="200"/>
                </a:cubicBezTo>
                <a:cubicBezTo>
                  <a:pt x="122" y="200"/>
                  <a:pt x="122" y="200"/>
                  <a:pt x="121" y="200"/>
                </a:cubicBezTo>
                <a:cubicBezTo>
                  <a:pt x="119" y="200"/>
                  <a:pt x="116" y="199"/>
                  <a:pt x="116" y="196"/>
                </a:cubicBezTo>
                <a:cubicBezTo>
                  <a:pt x="115" y="193"/>
                  <a:pt x="112" y="190"/>
                  <a:pt x="112" y="187"/>
                </a:cubicBezTo>
                <a:cubicBezTo>
                  <a:pt x="112" y="184"/>
                  <a:pt x="111" y="184"/>
                  <a:pt x="110" y="183"/>
                </a:cubicBezTo>
                <a:cubicBezTo>
                  <a:pt x="108" y="181"/>
                  <a:pt x="107" y="180"/>
                  <a:pt x="106" y="178"/>
                </a:cubicBezTo>
                <a:cubicBezTo>
                  <a:pt x="104" y="175"/>
                  <a:pt x="103" y="175"/>
                  <a:pt x="101" y="174"/>
                </a:cubicBezTo>
                <a:cubicBezTo>
                  <a:pt x="100" y="174"/>
                  <a:pt x="95" y="175"/>
                  <a:pt x="96" y="173"/>
                </a:cubicBezTo>
                <a:cubicBezTo>
                  <a:pt x="96" y="171"/>
                  <a:pt x="97" y="168"/>
                  <a:pt x="97" y="168"/>
                </a:cubicBezTo>
                <a:cubicBezTo>
                  <a:pt x="97" y="168"/>
                  <a:pt x="97" y="168"/>
                  <a:pt x="100" y="167"/>
                </a:cubicBezTo>
                <a:cubicBezTo>
                  <a:pt x="103" y="167"/>
                  <a:pt x="104" y="166"/>
                  <a:pt x="104" y="166"/>
                </a:cubicBezTo>
                <a:cubicBezTo>
                  <a:pt x="104" y="166"/>
                  <a:pt x="105" y="162"/>
                  <a:pt x="105" y="160"/>
                </a:cubicBezTo>
                <a:cubicBezTo>
                  <a:pt x="105" y="159"/>
                  <a:pt x="106" y="153"/>
                  <a:pt x="106" y="151"/>
                </a:cubicBezTo>
                <a:cubicBezTo>
                  <a:pt x="105" y="149"/>
                  <a:pt x="110" y="144"/>
                  <a:pt x="110" y="140"/>
                </a:cubicBezTo>
                <a:cubicBezTo>
                  <a:pt x="110" y="137"/>
                  <a:pt x="110" y="135"/>
                  <a:pt x="110" y="135"/>
                </a:cubicBezTo>
                <a:cubicBezTo>
                  <a:pt x="110" y="135"/>
                  <a:pt x="112" y="133"/>
                  <a:pt x="114" y="132"/>
                </a:cubicBezTo>
                <a:cubicBezTo>
                  <a:pt x="116" y="131"/>
                  <a:pt x="117" y="131"/>
                  <a:pt x="117" y="129"/>
                </a:cubicBezTo>
                <a:cubicBezTo>
                  <a:pt x="118" y="127"/>
                  <a:pt x="119" y="126"/>
                  <a:pt x="120" y="124"/>
                </a:cubicBezTo>
                <a:cubicBezTo>
                  <a:pt x="121" y="121"/>
                  <a:pt x="122" y="119"/>
                  <a:pt x="122" y="116"/>
                </a:cubicBezTo>
                <a:cubicBezTo>
                  <a:pt x="122" y="112"/>
                  <a:pt x="126" y="110"/>
                  <a:pt x="127" y="108"/>
                </a:cubicBezTo>
                <a:cubicBezTo>
                  <a:pt x="128" y="105"/>
                  <a:pt x="131" y="101"/>
                  <a:pt x="131" y="101"/>
                </a:cubicBezTo>
                <a:cubicBezTo>
                  <a:pt x="131" y="101"/>
                  <a:pt x="132" y="92"/>
                  <a:pt x="131" y="91"/>
                </a:cubicBezTo>
                <a:cubicBezTo>
                  <a:pt x="130" y="89"/>
                  <a:pt x="131" y="86"/>
                  <a:pt x="132" y="83"/>
                </a:cubicBezTo>
                <a:cubicBezTo>
                  <a:pt x="133" y="80"/>
                  <a:pt x="134" y="79"/>
                  <a:pt x="134" y="76"/>
                </a:cubicBezTo>
                <a:cubicBezTo>
                  <a:pt x="134" y="72"/>
                  <a:pt x="134" y="72"/>
                  <a:pt x="135" y="69"/>
                </a:cubicBezTo>
                <a:cubicBezTo>
                  <a:pt x="135" y="66"/>
                  <a:pt x="134" y="65"/>
                  <a:pt x="136" y="65"/>
                </a:cubicBezTo>
                <a:cubicBezTo>
                  <a:pt x="137" y="65"/>
                  <a:pt x="137" y="63"/>
                  <a:pt x="138" y="61"/>
                </a:cubicBezTo>
                <a:cubicBezTo>
                  <a:pt x="139" y="59"/>
                  <a:pt x="140" y="59"/>
                  <a:pt x="140" y="59"/>
                </a:cubicBezTo>
                <a:cubicBezTo>
                  <a:pt x="145" y="60"/>
                  <a:pt x="145" y="60"/>
                  <a:pt x="145" y="60"/>
                </a:cubicBezTo>
                <a:lnTo>
                  <a:pt x="147" y="57"/>
                </a:lnTo>
                <a:close/>
                <a:moveTo>
                  <a:pt x="95" y="131"/>
                </a:moveTo>
                <a:cubicBezTo>
                  <a:pt x="95" y="131"/>
                  <a:pt x="96" y="133"/>
                  <a:pt x="94" y="133"/>
                </a:cubicBezTo>
                <a:cubicBezTo>
                  <a:pt x="94" y="133"/>
                  <a:pt x="93" y="131"/>
                  <a:pt x="95" y="13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6" name="Google Shape;456;p102"/>
          <p:cNvSpPr/>
          <p:nvPr/>
        </p:nvSpPr>
        <p:spPr>
          <a:xfrm>
            <a:off x="8206421" y="4427556"/>
            <a:ext cx="57216" cy="114435"/>
          </a:xfrm>
          <a:custGeom>
            <a:avLst/>
            <a:gdLst/>
            <a:ahLst/>
            <a:cxnLst/>
            <a:rect l="l" t="t" r="r" b="b"/>
            <a:pathLst>
              <a:path w="20" h="41" extrusionOk="0">
                <a:moveTo>
                  <a:pt x="4" y="0"/>
                </a:moveTo>
                <a:cubicBezTo>
                  <a:pt x="4" y="0"/>
                  <a:pt x="4" y="0"/>
                  <a:pt x="4" y="0"/>
                </a:cubicBezTo>
                <a:cubicBezTo>
                  <a:pt x="4" y="3"/>
                  <a:pt x="4" y="3"/>
                  <a:pt x="4" y="5"/>
                </a:cubicBezTo>
                <a:cubicBezTo>
                  <a:pt x="4" y="6"/>
                  <a:pt x="4" y="6"/>
                  <a:pt x="4" y="6"/>
                </a:cubicBezTo>
                <a:cubicBezTo>
                  <a:pt x="4" y="7"/>
                  <a:pt x="4" y="7"/>
                  <a:pt x="3" y="7"/>
                </a:cubicBezTo>
                <a:cubicBezTo>
                  <a:pt x="3" y="8"/>
                  <a:pt x="4" y="12"/>
                  <a:pt x="4" y="12"/>
                </a:cubicBezTo>
                <a:cubicBezTo>
                  <a:pt x="3" y="13"/>
                  <a:pt x="2" y="16"/>
                  <a:pt x="1" y="18"/>
                </a:cubicBezTo>
                <a:cubicBezTo>
                  <a:pt x="1" y="18"/>
                  <a:pt x="1" y="18"/>
                  <a:pt x="1" y="18"/>
                </a:cubicBezTo>
                <a:cubicBezTo>
                  <a:pt x="0" y="21"/>
                  <a:pt x="2" y="24"/>
                  <a:pt x="2" y="28"/>
                </a:cubicBezTo>
                <a:cubicBezTo>
                  <a:pt x="3" y="31"/>
                  <a:pt x="2" y="34"/>
                  <a:pt x="3" y="36"/>
                </a:cubicBezTo>
                <a:cubicBezTo>
                  <a:pt x="5" y="37"/>
                  <a:pt x="5" y="37"/>
                  <a:pt x="5" y="37"/>
                </a:cubicBezTo>
                <a:cubicBezTo>
                  <a:pt x="6" y="38"/>
                  <a:pt x="6" y="39"/>
                  <a:pt x="6" y="40"/>
                </a:cubicBezTo>
                <a:cubicBezTo>
                  <a:pt x="8" y="40"/>
                  <a:pt x="8" y="41"/>
                  <a:pt x="10" y="40"/>
                </a:cubicBezTo>
                <a:cubicBezTo>
                  <a:pt x="11" y="40"/>
                  <a:pt x="17" y="37"/>
                  <a:pt x="18" y="36"/>
                </a:cubicBezTo>
                <a:cubicBezTo>
                  <a:pt x="20" y="33"/>
                  <a:pt x="20" y="29"/>
                  <a:pt x="20" y="24"/>
                </a:cubicBezTo>
                <a:cubicBezTo>
                  <a:pt x="20" y="24"/>
                  <a:pt x="19" y="24"/>
                  <a:pt x="19" y="24"/>
                </a:cubicBezTo>
                <a:cubicBezTo>
                  <a:pt x="19" y="22"/>
                  <a:pt x="19" y="21"/>
                  <a:pt x="18" y="19"/>
                </a:cubicBezTo>
                <a:cubicBezTo>
                  <a:pt x="18" y="19"/>
                  <a:pt x="16" y="17"/>
                  <a:pt x="16" y="16"/>
                </a:cubicBezTo>
                <a:cubicBezTo>
                  <a:pt x="15" y="15"/>
                  <a:pt x="16" y="14"/>
                  <a:pt x="15" y="13"/>
                </a:cubicBezTo>
                <a:cubicBezTo>
                  <a:pt x="15" y="13"/>
                  <a:pt x="12" y="11"/>
                  <a:pt x="12" y="10"/>
                </a:cubicBezTo>
                <a:cubicBezTo>
                  <a:pt x="12" y="10"/>
                  <a:pt x="12" y="9"/>
                  <a:pt x="12" y="8"/>
                </a:cubicBezTo>
                <a:cubicBezTo>
                  <a:pt x="11" y="8"/>
                  <a:pt x="10" y="8"/>
                  <a:pt x="9" y="7"/>
                </a:cubicBezTo>
                <a:cubicBezTo>
                  <a:pt x="8" y="6"/>
                  <a:pt x="7" y="1"/>
                  <a:pt x="6" y="0"/>
                </a:cubicBezTo>
                <a:cubicBezTo>
                  <a:pt x="6" y="0"/>
                  <a:pt x="4" y="0"/>
                  <a:pt x="4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7" name="Google Shape;457;p102"/>
          <p:cNvSpPr/>
          <p:nvPr/>
        </p:nvSpPr>
        <p:spPr>
          <a:xfrm>
            <a:off x="5812126" y="3349613"/>
            <a:ext cx="569232" cy="526964"/>
          </a:xfrm>
          <a:custGeom>
            <a:avLst/>
            <a:gdLst/>
            <a:ahLst/>
            <a:cxnLst/>
            <a:rect l="l" t="t" r="r" b="b"/>
            <a:pathLst>
              <a:path w="198" h="190" extrusionOk="0">
                <a:moveTo>
                  <a:pt x="177" y="16"/>
                </a:moveTo>
                <a:cubicBezTo>
                  <a:pt x="177" y="16"/>
                  <a:pt x="179" y="22"/>
                  <a:pt x="178" y="23"/>
                </a:cubicBezTo>
                <a:cubicBezTo>
                  <a:pt x="178" y="23"/>
                  <a:pt x="174" y="27"/>
                  <a:pt x="173" y="27"/>
                </a:cubicBezTo>
                <a:cubicBezTo>
                  <a:pt x="172" y="28"/>
                  <a:pt x="171" y="27"/>
                  <a:pt x="170" y="28"/>
                </a:cubicBezTo>
                <a:cubicBezTo>
                  <a:pt x="169" y="28"/>
                  <a:pt x="170" y="30"/>
                  <a:pt x="169" y="30"/>
                </a:cubicBezTo>
                <a:cubicBezTo>
                  <a:pt x="168" y="31"/>
                  <a:pt x="167" y="30"/>
                  <a:pt x="165" y="30"/>
                </a:cubicBezTo>
                <a:cubicBezTo>
                  <a:pt x="163" y="32"/>
                  <a:pt x="161" y="35"/>
                  <a:pt x="160" y="36"/>
                </a:cubicBezTo>
                <a:cubicBezTo>
                  <a:pt x="159" y="37"/>
                  <a:pt x="158" y="37"/>
                  <a:pt x="157" y="37"/>
                </a:cubicBezTo>
                <a:cubicBezTo>
                  <a:pt x="157" y="38"/>
                  <a:pt x="157" y="40"/>
                  <a:pt x="157" y="40"/>
                </a:cubicBezTo>
                <a:cubicBezTo>
                  <a:pt x="156" y="41"/>
                  <a:pt x="154" y="41"/>
                  <a:pt x="154" y="42"/>
                </a:cubicBezTo>
                <a:cubicBezTo>
                  <a:pt x="153" y="43"/>
                  <a:pt x="153" y="46"/>
                  <a:pt x="152" y="47"/>
                </a:cubicBezTo>
                <a:cubicBezTo>
                  <a:pt x="151" y="48"/>
                  <a:pt x="145" y="51"/>
                  <a:pt x="149" y="53"/>
                </a:cubicBezTo>
                <a:cubicBezTo>
                  <a:pt x="149" y="53"/>
                  <a:pt x="149" y="55"/>
                  <a:pt x="149" y="55"/>
                </a:cubicBezTo>
                <a:cubicBezTo>
                  <a:pt x="149" y="55"/>
                  <a:pt x="152" y="56"/>
                  <a:pt x="152" y="56"/>
                </a:cubicBezTo>
                <a:cubicBezTo>
                  <a:pt x="152" y="57"/>
                  <a:pt x="152" y="58"/>
                  <a:pt x="152" y="58"/>
                </a:cubicBezTo>
                <a:cubicBezTo>
                  <a:pt x="149" y="61"/>
                  <a:pt x="148" y="62"/>
                  <a:pt x="146" y="65"/>
                </a:cubicBezTo>
                <a:cubicBezTo>
                  <a:pt x="146" y="66"/>
                  <a:pt x="143" y="67"/>
                  <a:pt x="143" y="67"/>
                </a:cubicBezTo>
                <a:cubicBezTo>
                  <a:pt x="142" y="69"/>
                  <a:pt x="144" y="71"/>
                  <a:pt x="143" y="72"/>
                </a:cubicBezTo>
                <a:cubicBezTo>
                  <a:pt x="142" y="74"/>
                  <a:pt x="140" y="73"/>
                  <a:pt x="138" y="74"/>
                </a:cubicBezTo>
                <a:cubicBezTo>
                  <a:pt x="136" y="74"/>
                  <a:pt x="131" y="78"/>
                  <a:pt x="131" y="80"/>
                </a:cubicBezTo>
                <a:cubicBezTo>
                  <a:pt x="129" y="82"/>
                  <a:pt x="130" y="84"/>
                  <a:pt x="128" y="85"/>
                </a:cubicBezTo>
                <a:cubicBezTo>
                  <a:pt x="127" y="86"/>
                  <a:pt x="125" y="85"/>
                  <a:pt x="123" y="85"/>
                </a:cubicBezTo>
                <a:cubicBezTo>
                  <a:pt x="122" y="86"/>
                  <a:pt x="122" y="86"/>
                  <a:pt x="122" y="86"/>
                </a:cubicBezTo>
                <a:cubicBezTo>
                  <a:pt x="121" y="87"/>
                  <a:pt x="114" y="85"/>
                  <a:pt x="112" y="84"/>
                </a:cubicBezTo>
                <a:cubicBezTo>
                  <a:pt x="111" y="85"/>
                  <a:pt x="111" y="87"/>
                  <a:pt x="111" y="87"/>
                </a:cubicBezTo>
                <a:cubicBezTo>
                  <a:pt x="109" y="88"/>
                  <a:pt x="108" y="87"/>
                  <a:pt x="107" y="88"/>
                </a:cubicBezTo>
                <a:cubicBezTo>
                  <a:pt x="105" y="88"/>
                  <a:pt x="103" y="90"/>
                  <a:pt x="102" y="90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1" y="91"/>
                  <a:pt x="100" y="90"/>
                  <a:pt x="99" y="90"/>
                </a:cubicBezTo>
                <a:cubicBezTo>
                  <a:pt x="96" y="87"/>
                  <a:pt x="93" y="79"/>
                  <a:pt x="87" y="79"/>
                </a:cubicBezTo>
                <a:cubicBezTo>
                  <a:pt x="87" y="78"/>
                  <a:pt x="87" y="76"/>
                  <a:pt x="89" y="73"/>
                </a:cubicBezTo>
                <a:cubicBezTo>
                  <a:pt x="90" y="71"/>
                  <a:pt x="88" y="73"/>
                  <a:pt x="86" y="71"/>
                </a:cubicBezTo>
                <a:cubicBezTo>
                  <a:pt x="84" y="68"/>
                  <a:pt x="86" y="68"/>
                  <a:pt x="87" y="65"/>
                </a:cubicBezTo>
                <a:cubicBezTo>
                  <a:pt x="88" y="61"/>
                  <a:pt x="88" y="64"/>
                  <a:pt x="87" y="61"/>
                </a:cubicBezTo>
                <a:cubicBezTo>
                  <a:pt x="83" y="56"/>
                  <a:pt x="86" y="57"/>
                  <a:pt x="88" y="54"/>
                </a:cubicBezTo>
                <a:cubicBezTo>
                  <a:pt x="89" y="52"/>
                  <a:pt x="88" y="51"/>
                  <a:pt x="88" y="48"/>
                </a:cubicBezTo>
                <a:cubicBezTo>
                  <a:pt x="88" y="45"/>
                  <a:pt x="86" y="46"/>
                  <a:pt x="89" y="43"/>
                </a:cubicBezTo>
                <a:cubicBezTo>
                  <a:pt x="91" y="42"/>
                  <a:pt x="90" y="38"/>
                  <a:pt x="88" y="34"/>
                </a:cubicBezTo>
                <a:cubicBezTo>
                  <a:pt x="86" y="31"/>
                  <a:pt x="89" y="32"/>
                  <a:pt x="91" y="28"/>
                </a:cubicBezTo>
                <a:cubicBezTo>
                  <a:pt x="93" y="24"/>
                  <a:pt x="92" y="25"/>
                  <a:pt x="90" y="25"/>
                </a:cubicBezTo>
                <a:cubicBezTo>
                  <a:pt x="88" y="24"/>
                  <a:pt x="90" y="23"/>
                  <a:pt x="87" y="23"/>
                </a:cubicBezTo>
                <a:cubicBezTo>
                  <a:pt x="84" y="23"/>
                  <a:pt x="85" y="23"/>
                  <a:pt x="81" y="24"/>
                </a:cubicBezTo>
                <a:cubicBezTo>
                  <a:pt x="77" y="24"/>
                  <a:pt x="80" y="24"/>
                  <a:pt x="79" y="22"/>
                </a:cubicBezTo>
                <a:cubicBezTo>
                  <a:pt x="78" y="20"/>
                  <a:pt x="74" y="23"/>
                  <a:pt x="74" y="23"/>
                </a:cubicBezTo>
                <a:cubicBezTo>
                  <a:pt x="73" y="23"/>
                  <a:pt x="71" y="22"/>
                  <a:pt x="72" y="21"/>
                </a:cubicBezTo>
                <a:cubicBezTo>
                  <a:pt x="73" y="20"/>
                  <a:pt x="74" y="19"/>
                  <a:pt x="75" y="18"/>
                </a:cubicBezTo>
                <a:cubicBezTo>
                  <a:pt x="75" y="17"/>
                  <a:pt x="73" y="18"/>
                  <a:pt x="73" y="17"/>
                </a:cubicBezTo>
                <a:cubicBezTo>
                  <a:pt x="72" y="15"/>
                  <a:pt x="73" y="15"/>
                  <a:pt x="71" y="14"/>
                </a:cubicBezTo>
                <a:cubicBezTo>
                  <a:pt x="70" y="14"/>
                  <a:pt x="72" y="13"/>
                  <a:pt x="71" y="12"/>
                </a:cubicBezTo>
                <a:cubicBezTo>
                  <a:pt x="69" y="10"/>
                  <a:pt x="69" y="10"/>
                  <a:pt x="69" y="10"/>
                </a:cubicBezTo>
                <a:cubicBezTo>
                  <a:pt x="68" y="8"/>
                  <a:pt x="70" y="9"/>
                  <a:pt x="69" y="7"/>
                </a:cubicBezTo>
                <a:cubicBezTo>
                  <a:pt x="70" y="7"/>
                  <a:pt x="73" y="5"/>
                  <a:pt x="73" y="5"/>
                </a:cubicBezTo>
                <a:cubicBezTo>
                  <a:pt x="75" y="4"/>
                  <a:pt x="77" y="6"/>
                  <a:pt x="79" y="5"/>
                </a:cubicBezTo>
                <a:cubicBezTo>
                  <a:pt x="79" y="5"/>
                  <a:pt x="79" y="3"/>
                  <a:pt x="79" y="3"/>
                </a:cubicBezTo>
                <a:cubicBezTo>
                  <a:pt x="81" y="2"/>
                  <a:pt x="84" y="0"/>
                  <a:pt x="86" y="0"/>
                </a:cubicBezTo>
                <a:cubicBezTo>
                  <a:pt x="89" y="0"/>
                  <a:pt x="90" y="3"/>
                  <a:pt x="91" y="3"/>
                </a:cubicBezTo>
                <a:cubicBezTo>
                  <a:pt x="92" y="3"/>
                  <a:pt x="98" y="2"/>
                  <a:pt x="99" y="2"/>
                </a:cubicBezTo>
                <a:cubicBezTo>
                  <a:pt x="105" y="2"/>
                  <a:pt x="107" y="4"/>
                  <a:pt x="112" y="4"/>
                </a:cubicBezTo>
                <a:cubicBezTo>
                  <a:pt x="114" y="4"/>
                  <a:pt x="119" y="3"/>
                  <a:pt x="121" y="3"/>
                </a:cubicBezTo>
                <a:cubicBezTo>
                  <a:pt x="122" y="3"/>
                  <a:pt x="126" y="4"/>
                  <a:pt x="127" y="5"/>
                </a:cubicBezTo>
                <a:cubicBezTo>
                  <a:pt x="127" y="5"/>
                  <a:pt x="128" y="6"/>
                  <a:pt x="128" y="7"/>
                </a:cubicBezTo>
                <a:cubicBezTo>
                  <a:pt x="130" y="7"/>
                  <a:pt x="133" y="7"/>
                  <a:pt x="135" y="6"/>
                </a:cubicBezTo>
                <a:cubicBezTo>
                  <a:pt x="135" y="6"/>
                  <a:pt x="137" y="8"/>
                  <a:pt x="137" y="10"/>
                </a:cubicBezTo>
                <a:cubicBezTo>
                  <a:pt x="138" y="12"/>
                  <a:pt x="138" y="11"/>
                  <a:pt x="141" y="11"/>
                </a:cubicBezTo>
                <a:cubicBezTo>
                  <a:pt x="144" y="12"/>
                  <a:pt x="143" y="13"/>
                  <a:pt x="146" y="13"/>
                </a:cubicBezTo>
                <a:cubicBezTo>
                  <a:pt x="149" y="13"/>
                  <a:pt x="149" y="16"/>
                  <a:pt x="151" y="16"/>
                </a:cubicBezTo>
                <a:cubicBezTo>
                  <a:pt x="153" y="16"/>
                  <a:pt x="154" y="14"/>
                  <a:pt x="157" y="15"/>
                </a:cubicBezTo>
                <a:cubicBezTo>
                  <a:pt x="160" y="17"/>
                  <a:pt x="163" y="17"/>
                  <a:pt x="163" y="17"/>
                </a:cubicBezTo>
                <a:cubicBezTo>
                  <a:pt x="164" y="19"/>
                  <a:pt x="164" y="19"/>
                  <a:pt x="164" y="19"/>
                </a:cubicBezTo>
                <a:cubicBezTo>
                  <a:pt x="167" y="18"/>
                  <a:pt x="167" y="18"/>
                  <a:pt x="167" y="18"/>
                </a:cubicBezTo>
                <a:cubicBezTo>
                  <a:pt x="169" y="19"/>
                  <a:pt x="169" y="18"/>
                  <a:pt x="172" y="18"/>
                </a:cubicBezTo>
                <a:cubicBezTo>
                  <a:pt x="175" y="18"/>
                  <a:pt x="173" y="15"/>
                  <a:pt x="177" y="15"/>
                </a:cubicBezTo>
                <a:lnTo>
                  <a:pt x="177" y="16"/>
                </a:lnTo>
                <a:close/>
                <a:moveTo>
                  <a:pt x="14" y="186"/>
                </a:moveTo>
                <a:cubicBezTo>
                  <a:pt x="15" y="187"/>
                  <a:pt x="14" y="188"/>
                  <a:pt x="14" y="188"/>
                </a:cubicBezTo>
                <a:cubicBezTo>
                  <a:pt x="14" y="190"/>
                  <a:pt x="14" y="190"/>
                  <a:pt x="14" y="190"/>
                </a:cubicBezTo>
                <a:cubicBezTo>
                  <a:pt x="15" y="190"/>
                  <a:pt x="16" y="190"/>
                  <a:pt x="17" y="190"/>
                </a:cubicBezTo>
                <a:cubicBezTo>
                  <a:pt x="17" y="190"/>
                  <a:pt x="17" y="188"/>
                  <a:pt x="17" y="188"/>
                </a:cubicBezTo>
                <a:cubicBezTo>
                  <a:pt x="20" y="187"/>
                  <a:pt x="15" y="186"/>
                  <a:pt x="14" y="186"/>
                </a:cubicBezTo>
                <a:close/>
                <a:moveTo>
                  <a:pt x="8" y="183"/>
                </a:moveTo>
                <a:cubicBezTo>
                  <a:pt x="7" y="183"/>
                  <a:pt x="6" y="184"/>
                  <a:pt x="4" y="184"/>
                </a:cubicBezTo>
                <a:cubicBezTo>
                  <a:pt x="5" y="185"/>
                  <a:pt x="4" y="188"/>
                  <a:pt x="6" y="187"/>
                </a:cubicBezTo>
                <a:cubicBezTo>
                  <a:pt x="7" y="187"/>
                  <a:pt x="6" y="185"/>
                  <a:pt x="7" y="185"/>
                </a:cubicBezTo>
                <a:cubicBezTo>
                  <a:pt x="7" y="185"/>
                  <a:pt x="12" y="181"/>
                  <a:pt x="8" y="183"/>
                </a:cubicBezTo>
                <a:close/>
                <a:moveTo>
                  <a:pt x="29" y="181"/>
                </a:moveTo>
                <a:cubicBezTo>
                  <a:pt x="29" y="183"/>
                  <a:pt x="29" y="184"/>
                  <a:pt x="29" y="185"/>
                </a:cubicBezTo>
                <a:cubicBezTo>
                  <a:pt x="28" y="186"/>
                  <a:pt x="28" y="186"/>
                  <a:pt x="28" y="186"/>
                </a:cubicBezTo>
                <a:cubicBezTo>
                  <a:pt x="26" y="187"/>
                  <a:pt x="28" y="187"/>
                  <a:pt x="29" y="187"/>
                </a:cubicBezTo>
                <a:cubicBezTo>
                  <a:pt x="29" y="186"/>
                  <a:pt x="30" y="183"/>
                  <a:pt x="31" y="181"/>
                </a:cubicBezTo>
                <a:cubicBezTo>
                  <a:pt x="30" y="181"/>
                  <a:pt x="29" y="182"/>
                  <a:pt x="29" y="181"/>
                </a:cubicBezTo>
                <a:close/>
                <a:moveTo>
                  <a:pt x="0" y="180"/>
                </a:moveTo>
                <a:cubicBezTo>
                  <a:pt x="0" y="181"/>
                  <a:pt x="0" y="181"/>
                  <a:pt x="0" y="181"/>
                </a:cubicBezTo>
                <a:cubicBezTo>
                  <a:pt x="0" y="180"/>
                  <a:pt x="1" y="180"/>
                  <a:pt x="0" y="180"/>
                </a:cubicBezTo>
                <a:close/>
                <a:moveTo>
                  <a:pt x="32" y="177"/>
                </a:moveTo>
                <a:cubicBezTo>
                  <a:pt x="32" y="179"/>
                  <a:pt x="32" y="179"/>
                  <a:pt x="32" y="179"/>
                </a:cubicBezTo>
                <a:cubicBezTo>
                  <a:pt x="34" y="179"/>
                  <a:pt x="34" y="179"/>
                  <a:pt x="34" y="179"/>
                </a:cubicBezTo>
                <a:cubicBezTo>
                  <a:pt x="33" y="178"/>
                  <a:pt x="34" y="177"/>
                  <a:pt x="32" y="177"/>
                </a:cubicBezTo>
                <a:close/>
                <a:moveTo>
                  <a:pt x="163" y="53"/>
                </a:moveTo>
                <a:cubicBezTo>
                  <a:pt x="162" y="54"/>
                  <a:pt x="160" y="58"/>
                  <a:pt x="161" y="56"/>
                </a:cubicBezTo>
                <a:cubicBezTo>
                  <a:pt x="160" y="57"/>
                  <a:pt x="162" y="57"/>
                  <a:pt x="162" y="57"/>
                </a:cubicBezTo>
                <a:cubicBezTo>
                  <a:pt x="162" y="56"/>
                  <a:pt x="163" y="55"/>
                  <a:pt x="164" y="54"/>
                </a:cubicBezTo>
                <a:cubicBezTo>
                  <a:pt x="163" y="54"/>
                  <a:pt x="164" y="52"/>
                  <a:pt x="163" y="53"/>
                </a:cubicBezTo>
                <a:close/>
                <a:moveTo>
                  <a:pt x="192" y="46"/>
                </a:moveTo>
                <a:cubicBezTo>
                  <a:pt x="191" y="48"/>
                  <a:pt x="191" y="48"/>
                  <a:pt x="191" y="48"/>
                </a:cubicBezTo>
                <a:cubicBezTo>
                  <a:pt x="198" y="50"/>
                  <a:pt x="195" y="47"/>
                  <a:pt x="195" y="47"/>
                </a:cubicBezTo>
                <a:cubicBezTo>
                  <a:pt x="195" y="46"/>
                  <a:pt x="195" y="46"/>
                  <a:pt x="195" y="46"/>
                </a:cubicBezTo>
                <a:cubicBezTo>
                  <a:pt x="194" y="46"/>
                  <a:pt x="193" y="46"/>
                  <a:pt x="192" y="46"/>
                </a:cubicBezTo>
                <a:close/>
                <a:moveTo>
                  <a:pt x="179" y="46"/>
                </a:moveTo>
                <a:cubicBezTo>
                  <a:pt x="179" y="46"/>
                  <a:pt x="177" y="47"/>
                  <a:pt x="176" y="47"/>
                </a:cubicBezTo>
                <a:cubicBezTo>
                  <a:pt x="178" y="48"/>
                  <a:pt x="177" y="54"/>
                  <a:pt x="177" y="53"/>
                </a:cubicBezTo>
                <a:cubicBezTo>
                  <a:pt x="177" y="53"/>
                  <a:pt x="177" y="55"/>
                  <a:pt x="177" y="55"/>
                </a:cubicBezTo>
                <a:cubicBezTo>
                  <a:pt x="177" y="55"/>
                  <a:pt x="179" y="55"/>
                  <a:pt x="179" y="55"/>
                </a:cubicBezTo>
                <a:cubicBezTo>
                  <a:pt x="180" y="54"/>
                  <a:pt x="180" y="53"/>
                  <a:pt x="181" y="52"/>
                </a:cubicBezTo>
                <a:cubicBezTo>
                  <a:pt x="184" y="49"/>
                  <a:pt x="181" y="49"/>
                  <a:pt x="179" y="46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8" name="Google Shape;458;p102"/>
          <p:cNvSpPr/>
          <p:nvPr/>
        </p:nvSpPr>
        <p:spPr>
          <a:xfrm>
            <a:off x="9368357" y="3540337"/>
            <a:ext cx="83625" cy="166707"/>
          </a:xfrm>
          <a:custGeom>
            <a:avLst/>
            <a:gdLst/>
            <a:ahLst/>
            <a:cxnLst/>
            <a:rect l="l" t="t" r="r" b="b"/>
            <a:pathLst>
              <a:path w="29" h="60" extrusionOk="0">
                <a:moveTo>
                  <a:pt x="6" y="6"/>
                </a:moveTo>
                <a:cubicBezTo>
                  <a:pt x="6" y="8"/>
                  <a:pt x="7" y="10"/>
                  <a:pt x="7" y="13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4"/>
                  <a:pt x="8" y="15"/>
                  <a:pt x="8" y="15"/>
                </a:cubicBezTo>
                <a:cubicBezTo>
                  <a:pt x="7" y="15"/>
                  <a:pt x="6" y="15"/>
                  <a:pt x="5" y="15"/>
                </a:cubicBezTo>
                <a:cubicBezTo>
                  <a:pt x="5" y="15"/>
                  <a:pt x="5" y="17"/>
                  <a:pt x="5" y="17"/>
                </a:cubicBezTo>
                <a:cubicBezTo>
                  <a:pt x="6" y="18"/>
                  <a:pt x="8" y="20"/>
                  <a:pt x="8" y="21"/>
                </a:cubicBezTo>
                <a:cubicBezTo>
                  <a:pt x="8" y="21"/>
                  <a:pt x="5" y="23"/>
                  <a:pt x="6" y="24"/>
                </a:cubicBezTo>
                <a:cubicBezTo>
                  <a:pt x="6" y="24"/>
                  <a:pt x="9" y="28"/>
                  <a:pt x="9" y="28"/>
                </a:cubicBezTo>
                <a:cubicBezTo>
                  <a:pt x="9" y="29"/>
                  <a:pt x="5" y="32"/>
                  <a:pt x="5" y="33"/>
                </a:cubicBezTo>
                <a:cubicBezTo>
                  <a:pt x="4" y="35"/>
                  <a:pt x="6" y="36"/>
                  <a:pt x="5" y="38"/>
                </a:cubicBezTo>
                <a:cubicBezTo>
                  <a:pt x="5" y="39"/>
                  <a:pt x="3" y="41"/>
                  <a:pt x="3" y="41"/>
                </a:cubicBezTo>
                <a:cubicBezTo>
                  <a:pt x="3" y="43"/>
                  <a:pt x="4" y="44"/>
                  <a:pt x="4" y="45"/>
                </a:cubicBezTo>
                <a:cubicBezTo>
                  <a:pt x="4" y="45"/>
                  <a:pt x="3" y="45"/>
                  <a:pt x="3" y="47"/>
                </a:cubicBezTo>
                <a:cubicBezTo>
                  <a:pt x="4" y="47"/>
                  <a:pt x="4" y="48"/>
                  <a:pt x="7" y="48"/>
                </a:cubicBezTo>
                <a:cubicBezTo>
                  <a:pt x="7" y="47"/>
                  <a:pt x="7" y="47"/>
                  <a:pt x="7" y="47"/>
                </a:cubicBezTo>
                <a:cubicBezTo>
                  <a:pt x="8" y="47"/>
                  <a:pt x="10" y="46"/>
                  <a:pt x="11" y="45"/>
                </a:cubicBezTo>
                <a:cubicBezTo>
                  <a:pt x="11" y="45"/>
                  <a:pt x="11" y="43"/>
                  <a:pt x="11" y="43"/>
                </a:cubicBezTo>
                <a:cubicBezTo>
                  <a:pt x="14" y="41"/>
                  <a:pt x="18" y="41"/>
                  <a:pt x="21" y="41"/>
                </a:cubicBezTo>
                <a:cubicBezTo>
                  <a:pt x="21" y="40"/>
                  <a:pt x="21" y="38"/>
                  <a:pt x="22" y="37"/>
                </a:cubicBezTo>
                <a:cubicBezTo>
                  <a:pt x="24" y="36"/>
                  <a:pt x="26" y="37"/>
                  <a:pt x="27" y="36"/>
                </a:cubicBezTo>
                <a:cubicBezTo>
                  <a:pt x="29" y="35"/>
                  <a:pt x="29" y="17"/>
                  <a:pt x="29" y="15"/>
                </a:cubicBezTo>
                <a:cubicBezTo>
                  <a:pt x="28" y="13"/>
                  <a:pt x="25" y="12"/>
                  <a:pt x="25" y="10"/>
                </a:cubicBezTo>
                <a:cubicBezTo>
                  <a:pt x="24" y="9"/>
                  <a:pt x="25" y="8"/>
                  <a:pt x="25" y="7"/>
                </a:cubicBezTo>
                <a:cubicBezTo>
                  <a:pt x="24" y="6"/>
                  <a:pt x="22" y="7"/>
                  <a:pt x="21" y="5"/>
                </a:cubicBezTo>
                <a:cubicBezTo>
                  <a:pt x="21" y="4"/>
                  <a:pt x="22" y="4"/>
                  <a:pt x="22" y="2"/>
                </a:cubicBezTo>
                <a:cubicBezTo>
                  <a:pt x="22" y="2"/>
                  <a:pt x="22" y="1"/>
                  <a:pt x="21" y="1"/>
                </a:cubicBezTo>
                <a:cubicBezTo>
                  <a:pt x="21" y="0"/>
                  <a:pt x="19" y="2"/>
                  <a:pt x="17" y="2"/>
                </a:cubicBezTo>
                <a:cubicBezTo>
                  <a:pt x="15" y="2"/>
                  <a:pt x="12" y="0"/>
                  <a:pt x="12" y="0"/>
                </a:cubicBezTo>
                <a:cubicBezTo>
                  <a:pt x="10" y="1"/>
                  <a:pt x="10" y="1"/>
                  <a:pt x="10" y="1"/>
                </a:cubicBezTo>
                <a:cubicBezTo>
                  <a:pt x="5" y="6"/>
                  <a:pt x="5" y="6"/>
                  <a:pt x="5" y="6"/>
                </a:cubicBezTo>
                <a:lnTo>
                  <a:pt x="6" y="6"/>
                </a:lnTo>
                <a:close/>
                <a:moveTo>
                  <a:pt x="3" y="57"/>
                </a:moveTo>
                <a:cubicBezTo>
                  <a:pt x="3" y="57"/>
                  <a:pt x="1" y="58"/>
                  <a:pt x="0" y="59"/>
                </a:cubicBezTo>
                <a:cubicBezTo>
                  <a:pt x="0" y="59"/>
                  <a:pt x="1" y="60"/>
                  <a:pt x="1" y="60"/>
                </a:cubicBezTo>
                <a:cubicBezTo>
                  <a:pt x="1" y="60"/>
                  <a:pt x="3" y="60"/>
                  <a:pt x="3" y="60"/>
                </a:cubicBezTo>
                <a:cubicBezTo>
                  <a:pt x="3" y="59"/>
                  <a:pt x="6" y="56"/>
                  <a:pt x="3" y="57"/>
                </a:cubicBezTo>
                <a:close/>
                <a:moveTo>
                  <a:pt x="1" y="16"/>
                </a:moveTo>
                <a:cubicBezTo>
                  <a:pt x="1" y="16"/>
                  <a:pt x="1" y="18"/>
                  <a:pt x="1" y="19"/>
                </a:cubicBezTo>
                <a:cubicBezTo>
                  <a:pt x="3" y="19"/>
                  <a:pt x="3" y="16"/>
                  <a:pt x="1" y="16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9" name="Google Shape;459;p102"/>
          <p:cNvSpPr/>
          <p:nvPr/>
        </p:nvSpPr>
        <p:spPr>
          <a:xfrm>
            <a:off x="6646902" y="5375526"/>
            <a:ext cx="401983" cy="394163"/>
          </a:xfrm>
          <a:custGeom>
            <a:avLst/>
            <a:gdLst/>
            <a:ahLst/>
            <a:cxnLst/>
            <a:rect l="l" t="t" r="r" b="b"/>
            <a:pathLst>
              <a:path w="140" h="142" extrusionOk="0">
                <a:moveTo>
                  <a:pt x="28" y="36"/>
                </a:move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3" y="69"/>
                  <a:pt x="22" y="71"/>
                </a:cubicBezTo>
                <a:cubicBezTo>
                  <a:pt x="21" y="73"/>
                  <a:pt x="20" y="73"/>
                  <a:pt x="18" y="74"/>
                </a:cubicBezTo>
                <a:cubicBezTo>
                  <a:pt x="16" y="76"/>
                  <a:pt x="16" y="74"/>
                  <a:pt x="13" y="74"/>
                </a:cubicBezTo>
                <a:cubicBezTo>
                  <a:pt x="10" y="74"/>
                  <a:pt x="10" y="74"/>
                  <a:pt x="9" y="72"/>
                </a:cubicBezTo>
                <a:cubicBezTo>
                  <a:pt x="8" y="70"/>
                  <a:pt x="10" y="68"/>
                  <a:pt x="8" y="68"/>
                </a:cubicBezTo>
                <a:cubicBezTo>
                  <a:pt x="6" y="68"/>
                  <a:pt x="5" y="68"/>
                  <a:pt x="5" y="70"/>
                </a:cubicBezTo>
                <a:cubicBezTo>
                  <a:pt x="4" y="71"/>
                  <a:pt x="0" y="73"/>
                  <a:pt x="0" y="73"/>
                </a:cubicBezTo>
                <a:cubicBezTo>
                  <a:pt x="1" y="74"/>
                  <a:pt x="3" y="77"/>
                  <a:pt x="3" y="79"/>
                </a:cubicBezTo>
                <a:cubicBezTo>
                  <a:pt x="4" y="79"/>
                  <a:pt x="5" y="79"/>
                  <a:pt x="5" y="80"/>
                </a:cubicBezTo>
                <a:cubicBezTo>
                  <a:pt x="6" y="81"/>
                  <a:pt x="4" y="81"/>
                  <a:pt x="5" y="83"/>
                </a:cubicBezTo>
                <a:cubicBezTo>
                  <a:pt x="6" y="83"/>
                  <a:pt x="6" y="83"/>
                  <a:pt x="6" y="83"/>
                </a:cubicBezTo>
                <a:cubicBezTo>
                  <a:pt x="7" y="86"/>
                  <a:pt x="6" y="90"/>
                  <a:pt x="7" y="93"/>
                </a:cubicBezTo>
                <a:cubicBezTo>
                  <a:pt x="8" y="94"/>
                  <a:pt x="10" y="95"/>
                  <a:pt x="11" y="96"/>
                </a:cubicBezTo>
                <a:cubicBezTo>
                  <a:pt x="12" y="98"/>
                  <a:pt x="13" y="102"/>
                  <a:pt x="13" y="104"/>
                </a:cubicBezTo>
                <a:cubicBezTo>
                  <a:pt x="13" y="104"/>
                  <a:pt x="15" y="106"/>
                  <a:pt x="15" y="107"/>
                </a:cubicBezTo>
                <a:cubicBezTo>
                  <a:pt x="15" y="110"/>
                  <a:pt x="14" y="117"/>
                  <a:pt x="13" y="118"/>
                </a:cubicBezTo>
                <a:cubicBezTo>
                  <a:pt x="11" y="117"/>
                  <a:pt x="11" y="117"/>
                  <a:pt x="11" y="117"/>
                </a:cubicBezTo>
                <a:cubicBezTo>
                  <a:pt x="11" y="118"/>
                  <a:pt x="11" y="118"/>
                  <a:pt x="10" y="118"/>
                </a:cubicBezTo>
                <a:cubicBezTo>
                  <a:pt x="11" y="120"/>
                  <a:pt x="11" y="121"/>
                  <a:pt x="11" y="122"/>
                </a:cubicBezTo>
                <a:cubicBezTo>
                  <a:pt x="12" y="122"/>
                  <a:pt x="12" y="122"/>
                  <a:pt x="12" y="122"/>
                </a:cubicBezTo>
                <a:cubicBezTo>
                  <a:pt x="12" y="123"/>
                  <a:pt x="12" y="125"/>
                  <a:pt x="11" y="124"/>
                </a:cubicBezTo>
                <a:cubicBezTo>
                  <a:pt x="11" y="125"/>
                  <a:pt x="11" y="125"/>
                  <a:pt x="11" y="125"/>
                </a:cubicBezTo>
                <a:cubicBezTo>
                  <a:pt x="11" y="125"/>
                  <a:pt x="10" y="125"/>
                  <a:pt x="11" y="126"/>
                </a:cubicBezTo>
                <a:cubicBezTo>
                  <a:pt x="11" y="126"/>
                  <a:pt x="11" y="126"/>
                  <a:pt x="11" y="126"/>
                </a:cubicBezTo>
                <a:cubicBezTo>
                  <a:pt x="14" y="128"/>
                  <a:pt x="13" y="130"/>
                  <a:pt x="14" y="132"/>
                </a:cubicBezTo>
                <a:cubicBezTo>
                  <a:pt x="14" y="132"/>
                  <a:pt x="13" y="134"/>
                  <a:pt x="13" y="134"/>
                </a:cubicBezTo>
                <a:cubicBezTo>
                  <a:pt x="13" y="135"/>
                  <a:pt x="14" y="137"/>
                  <a:pt x="15" y="138"/>
                </a:cubicBezTo>
                <a:cubicBezTo>
                  <a:pt x="15" y="138"/>
                  <a:pt x="16" y="138"/>
                  <a:pt x="17" y="138"/>
                </a:cubicBezTo>
                <a:cubicBezTo>
                  <a:pt x="17" y="138"/>
                  <a:pt x="17" y="136"/>
                  <a:pt x="17" y="136"/>
                </a:cubicBezTo>
                <a:cubicBezTo>
                  <a:pt x="19" y="135"/>
                  <a:pt x="18" y="137"/>
                  <a:pt x="19" y="138"/>
                </a:cubicBezTo>
                <a:cubicBezTo>
                  <a:pt x="20" y="138"/>
                  <a:pt x="20" y="137"/>
                  <a:pt x="21" y="137"/>
                </a:cubicBezTo>
                <a:cubicBezTo>
                  <a:pt x="23" y="137"/>
                  <a:pt x="25" y="142"/>
                  <a:pt x="29" y="141"/>
                </a:cubicBezTo>
                <a:cubicBezTo>
                  <a:pt x="29" y="141"/>
                  <a:pt x="30" y="140"/>
                  <a:pt x="30" y="140"/>
                </a:cubicBezTo>
                <a:cubicBezTo>
                  <a:pt x="33" y="139"/>
                  <a:pt x="35" y="138"/>
                  <a:pt x="37" y="137"/>
                </a:cubicBezTo>
                <a:cubicBezTo>
                  <a:pt x="37" y="137"/>
                  <a:pt x="37" y="135"/>
                  <a:pt x="37" y="135"/>
                </a:cubicBezTo>
                <a:cubicBezTo>
                  <a:pt x="39" y="134"/>
                  <a:pt x="45" y="136"/>
                  <a:pt x="47" y="137"/>
                </a:cubicBezTo>
                <a:cubicBezTo>
                  <a:pt x="48" y="136"/>
                  <a:pt x="49" y="136"/>
                  <a:pt x="49" y="134"/>
                </a:cubicBezTo>
                <a:cubicBezTo>
                  <a:pt x="49" y="134"/>
                  <a:pt x="49" y="134"/>
                  <a:pt x="49" y="134"/>
                </a:cubicBezTo>
                <a:cubicBezTo>
                  <a:pt x="50" y="133"/>
                  <a:pt x="51" y="135"/>
                  <a:pt x="52" y="134"/>
                </a:cubicBezTo>
                <a:cubicBezTo>
                  <a:pt x="52" y="134"/>
                  <a:pt x="54" y="133"/>
                  <a:pt x="54" y="132"/>
                </a:cubicBezTo>
                <a:cubicBezTo>
                  <a:pt x="55" y="132"/>
                  <a:pt x="55" y="132"/>
                  <a:pt x="55" y="132"/>
                </a:cubicBezTo>
                <a:cubicBezTo>
                  <a:pt x="55" y="132"/>
                  <a:pt x="58" y="134"/>
                  <a:pt x="59" y="134"/>
                </a:cubicBezTo>
                <a:cubicBezTo>
                  <a:pt x="60" y="134"/>
                  <a:pt x="60" y="131"/>
                  <a:pt x="63" y="132"/>
                </a:cubicBezTo>
                <a:cubicBezTo>
                  <a:pt x="65" y="132"/>
                  <a:pt x="68" y="135"/>
                  <a:pt x="73" y="134"/>
                </a:cubicBezTo>
                <a:cubicBezTo>
                  <a:pt x="73" y="134"/>
                  <a:pt x="74" y="133"/>
                  <a:pt x="74" y="132"/>
                </a:cubicBezTo>
                <a:cubicBezTo>
                  <a:pt x="77" y="131"/>
                  <a:pt x="78" y="132"/>
                  <a:pt x="81" y="132"/>
                </a:cubicBezTo>
                <a:cubicBezTo>
                  <a:pt x="81" y="131"/>
                  <a:pt x="81" y="129"/>
                  <a:pt x="82" y="129"/>
                </a:cubicBezTo>
                <a:cubicBezTo>
                  <a:pt x="83" y="129"/>
                  <a:pt x="85" y="130"/>
                  <a:pt x="85" y="130"/>
                </a:cubicBezTo>
                <a:cubicBezTo>
                  <a:pt x="89" y="130"/>
                  <a:pt x="89" y="128"/>
                  <a:pt x="91" y="127"/>
                </a:cubicBezTo>
                <a:cubicBezTo>
                  <a:pt x="92" y="127"/>
                  <a:pt x="93" y="127"/>
                  <a:pt x="93" y="127"/>
                </a:cubicBezTo>
                <a:cubicBezTo>
                  <a:pt x="94" y="127"/>
                  <a:pt x="98" y="123"/>
                  <a:pt x="99" y="122"/>
                </a:cubicBezTo>
                <a:cubicBezTo>
                  <a:pt x="99" y="122"/>
                  <a:pt x="99" y="120"/>
                  <a:pt x="100" y="119"/>
                </a:cubicBezTo>
                <a:cubicBezTo>
                  <a:pt x="101" y="119"/>
                  <a:pt x="101" y="119"/>
                  <a:pt x="101" y="119"/>
                </a:cubicBezTo>
                <a:cubicBezTo>
                  <a:pt x="103" y="119"/>
                  <a:pt x="103" y="115"/>
                  <a:pt x="104" y="114"/>
                </a:cubicBezTo>
                <a:cubicBezTo>
                  <a:pt x="105" y="114"/>
                  <a:pt x="106" y="114"/>
                  <a:pt x="107" y="114"/>
                </a:cubicBezTo>
                <a:cubicBezTo>
                  <a:pt x="108" y="113"/>
                  <a:pt x="109" y="109"/>
                  <a:pt x="110" y="109"/>
                </a:cubicBezTo>
                <a:cubicBezTo>
                  <a:pt x="111" y="108"/>
                  <a:pt x="113" y="107"/>
                  <a:pt x="114" y="107"/>
                </a:cubicBezTo>
                <a:cubicBezTo>
                  <a:pt x="114" y="105"/>
                  <a:pt x="114" y="104"/>
                  <a:pt x="114" y="103"/>
                </a:cubicBezTo>
                <a:cubicBezTo>
                  <a:pt x="115" y="102"/>
                  <a:pt x="118" y="101"/>
                  <a:pt x="119" y="100"/>
                </a:cubicBezTo>
                <a:cubicBezTo>
                  <a:pt x="120" y="98"/>
                  <a:pt x="120" y="96"/>
                  <a:pt x="121" y="94"/>
                </a:cubicBezTo>
                <a:cubicBezTo>
                  <a:pt x="121" y="93"/>
                  <a:pt x="123" y="93"/>
                  <a:pt x="124" y="93"/>
                </a:cubicBezTo>
                <a:cubicBezTo>
                  <a:pt x="125" y="90"/>
                  <a:pt x="125" y="89"/>
                  <a:pt x="126" y="86"/>
                </a:cubicBezTo>
                <a:cubicBezTo>
                  <a:pt x="128" y="81"/>
                  <a:pt x="133" y="78"/>
                  <a:pt x="138" y="75"/>
                </a:cubicBezTo>
                <a:cubicBezTo>
                  <a:pt x="137" y="71"/>
                  <a:pt x="137" y="69"/>
                  <a:pt x="136" y="66"/>
                </a:cubicBezTo>
                <a:cubicBezTo>
                  <a:pt x="136" y="66"/>
                  <a:pt x="139" y="65"/>
                  <a:pt x="139" y="65"/>
                </a:cubicBezTo>
                <a:cubicBezTo>
                  <a:pt x="140" y="60"/>
                  <a:pt x="139" y="54"/>
                  <a:pt x="140" y="49"/>
                </a:cubicBezTo>
                <a:cubicBezTo>
                  <a:pt x="134" y="49"/>
                  <a:pt x="134" y="49"/>
                  <a:pt x="134" y="49"/>
                </a:cubicBezTo>
                <a:cubicBezTo>
                  <a:pt x="135" y="55"/>
                  <a:pt x="135" y="55"/>
                  <a:pt x="135" y="55"/>
                </a:cubicBezTo>
                <a:cubicBezTo>
                  <a:pt x="135" y="55"/>
                  <a:pt x="131" y="54"/>
                  <a:pt x="128" y="53"/>
                </a:cubicBezTo>
                <a:cubicBezTo>
                  <a:pt x="126" y="51"/>
                  <a:pt x="127" y="53"/>
                  <a:pt x="125" y="50"/>
                </a:cubicBezTo>
                <a:cubicBezTo>
                  <a:pt x="124" y="47"/>
                  <a:pt x="125" y="48"/>
                  <a:pt x="125" y="44"/>
                </a:cubicBezTo>
                <a:cubicBezTo>
                  <a:pt x="125" y="41"/>
                  <a:pt x="126" y="39"/>
                  <a:pt x="127" y="40"/>
                </a:cubicBezTo>
                <a:cubicBezTo>
                  <a:pt x="129" y="41"/>
                  <a:pt x="131" y="39"/>
                  <a:pt x="131" y="39"/>
                </a:cubicBezTo>
                <a:cubicBezTo>
                  <a:pt x="131" y="39"/>
                  <a:pt x="131" y="38"/>
                  <a:pt x="130" y="36"/>
                </a:cubicBezTo>
                <a:cubicBezTo>
                  <a:pt x="129" y="34"/>
                  <a:pt x="130" y="33"/>
                  <a:pt x="130" y="31"/>
                </a:cubicBezTo>
                <a:cubicBezTo>
                  <a:pt x="131" y="29"/>
                  <a:pt x="132" y="26"/>
                  <a:pt x="131" y="22"/>
                </a:cubicBezTo>
                <a:cubicBezTo>
                  <a:pt x="130" y="18"/>
                  <a:pt x="129" y="15"/>
                  <a:pt x="130" y="12"/>
                </a:cubicBezTo>
                <a:cubicBezTo>
                  <a:pt x="132" y="10"/>
                  <a:pt x="131" y="3"/>
                  <a:pt x="131" y="3"/>
                </a:cubicBezTo>
                <a:cubicBezTo>
                  <a:pt x="131" y="3"/>
                  <a:pt x="129" y="2"/>
                  <a:pt x="126" y="2"/>
                </a:cubicBezTo>
                <a:cubicBezTo>
                  <a:pt x="123" y="2"/>
                  <a:pt x="122" y="1"/>
                  <a:pt x="122" y="1"/>
                </a:cubicBezTo>
                <a:cubicBezTo>
                  <a:pt x="122" y="1"/>
                  <a:pt x="119" y="0"/>
                  <a:pt x="117" y="1"/>
                </a:cubicBezTo>
                <a:cubicBezTo>
                  <a:pt x="116" y="2"/>
                  <a:pt x="113" y="0"/>
                  <a:pt x="113" y="0"/>
                </a:cubicBezTo>
                <a:cubicBezTo>
                  <a:pt x="113" y="0"/>
                  <a:pt x="111" y="5"/>
                  <a:pt x="108" y="4"/>
                </a:cubicBezTo>
                <a:cubicBezTo>
                  <a:pt x="104" y="4"/>
                  <a:pt x="107" y="7"/>
                  <a:pt x="104" y="7"/>
                </a:cubicBezTo>
                <a:cubicBezTo>
                  <a:pt x="102" y="7"/>
                  <a:pt x="98" y="10"/>
                  <a:pt x="96" y="10"/>
                </a:cubicBezTo>
                <a:cubicBezTo>
                  <a:pt x="93" y="10"/>
                  <a:pt x="92" y="16"/>
                  <a:pt x="89" y="17"/>
                </a:cubicBezTo>
                <a:cubicBezTo>
                  <a:pt x="86" y="18"/>
                  <a:pt x="87" y="25"/>
                  <a:pt x="85" y="25"/>
                </a:cubicBezTo>
                <a:cubicBezTo>
                  <a:pt x="83" y="25"/>
                  <a:pt x="81" y="27"/>
                  <a:pt x="81" y="27"/>
                </a:cubicBezTo>
                <a:cubicBezTo>
                  <a:pt x="81" y="27"/>
                  <a:pt x="80" y="38"/>
                  <a:pt x="80" y="40"/>
                </a:cubicBezTo>
                <a:cubicBezTo>
                  <a:pt x="80" y="42"/>
                  <a:pt x="78" y="41"/>
                  <a:pt x="76" y="40"/>
                </a:cubicBezTo>
                <a:cubicBezTo>
                  <a:pt x="74" y="39"/>
                  <a:pt x="72" y="41"/>
                  <a:pt x="69" y="39"/>
                </a:cubicBezTo>
                <a:cubicBezTo>
                  <a:pt x="67" y="37"/>
                  <a:pt x="66" y="40"/>
                  <a:pt x="64" y="39"/>
                </a:cubicBezTo>
                <a:cubicBezTo>
                  <a:pt x="63" y="38"/>
                  <a:pt x="62" y="36"/>
                  <a:pt x="61" y="37"/>
                </a:cubicBezTo>
                <a:cubicBezTo>
                  <a:pt x="56" y="39"/>
                  <a:pt x="58" y="40"/>
                  <a:pt x="58" y="42"/>
                </a:cubicBezTo>
                <a:cubicBezTo>
                  <a:pt x="58" y="44"/>
                  <a:pt x="49" y="49"/>
                  <a:pt x="49" y="49"/>
                </a:cubicBezTo>
                <a:cubicBezTo>
                  <a:pt x="49" y="49"/>
                  <a:pt x="43" y="52"/>
                  <a:pt x="41" y="52"/>
                </a:cubicBezTo>
                <a:cubicBezTo>
                  <a:pt x="38" y="52"/>
                  <a:pt x="39" y="54"/>
                  <a:pt x="37" y="54"/>
                </a:cubicBezTo>
                <a:cubicBezTo>
                  <a:pt x="34" y="54"/>
                  <a:pt x="33" y="51"/>
                  <a:pt x="34" y="49"/>
                </a:cubicBezTo>
                <a:cubicBezTo>
                  <a:pt x="36" y="46"/>
                  <a:pt x="36" y="46"/>
                  <a:pt x="34" y="41"/>
                </a:cubicBezTo>
                <a:cubicBezTo>
                  <a:pt x="32" y="37"/>
                  <a:pt x="28" y="36"/>
                  <a:pt x="28" y="36"/>
                </a:cubicBezTo>
                <a:close/>
                <a:moveTo>
                  <a:pt x="98" y="91"/>
                </a:moveTo>
                <a:cubicBezTo>
                  <a:pt x="99" y="91"/>
                  <a:pt x="99" y="90"/>
                  <a:pt x="100" y="90"/>
                </a:cubicBezTo>
                <a:cubicBezTo>
                  <a:pt x="101" y="89"/>
                  <a:pt x="102" y="88"/>
                  <a:pt x="103" y="88"/>
                </a:cubicBezTo>
                <a:cubicBezTo>
                  <a:pt x="104" y="87"/>
                  <a:pt x="105" y="88"/>
                  <a:pt x="106" y="87"/>
                </a:cubicBezTo>
                <a:cubicBezTo>
                  <a:pt x="107" y="85"/>
                  <a:pt x="106" y="84"/>
                  <a:pt x="106" y="83"/>
                </a:cubicBezTo>
                <a:cubicBezTo>
                  <a:pt x="105" y="81"/>
                  <a:pt x="104" y="81"/>
                  <a:pt x="103" y="79"/>
                </a:cubicBezTo>
                <a:cubicBezTo>
                  <a:pt x="101" y="77"/>
                  <a:pt x="101" y="77"/>
                  <a:pt x="101" y="77"/>
                </a:cubicBezTo>
                <a:cubicBezTo>
                  <a:pt x="101" y="77"/>
                  <a:pt x="97" y="79"/>
                  <a:pt x="96" y="81"/>
                </a:cubicBezTo>
                <a:cubicBezTo>
                  <a:pt x="94" y="83"/>
                  <a:pt x="93" y="83"/>
                  <a:pt x="92" y="83"/>
                </a:cubicBezTo>
                <a:cubicBezTo>
                  <a:pt x="91" y="83"/>
                  <a:pt x="90" y="86"/>
                  <a:pt x="91" y="86"/>
                </a:cubicBezTo>
                <a:cubicBezTo>
                  <a:pt x="92" y="86"/>
                  <a:pt x="91" y="87"/>
                  <a:pt x="92" y="89"/>
                </a:cubicBezTo>
                <a:cubicBezTo>
                  <a:pt x="93" y="91"/>
                  <a:pt x="92" y="93"/>
                  <a:pt x="95" y="93"/>
                </a:cubicBezTo>
                <a:cubicBezTo>
                  <a:pt x="98" y="93"/>
                  <a:pt x="97" y="92"/>
                  <a:pt x="98" y="91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0" name="Google Shape;460;p102"/>
          <p:cNvSpPr/>
          <p:nvPr/>
        </p:nvSpPr>
        <p:spPr>
          <a:xfrm>
            <a:off x="7270416" y="4363982"/>
            <a:ext cx="242070" cy="374384"/>
          </a:xfrm>
          <a:custGeom>
            <a:avLst/>
            <a:gdLst/>
            <a:ahLst/>
            <a:cxnLst/>
            <a:rect l="l" t="t" r="r" b="b"/>
            <a:pathLst>
              <a:path w="84" h="135" extrusionOk="0">
                <a:moveTo>
                  <a:pt x="8" y="134"/>
                </a:moveTo>
                <a:cubicBezTo>
                  <a:pt x="9" y="133"/>
                  <a:pt x="9" y="132"/>
                  <a:pt x="10" y="130"/>
                </a:cubicBezTo>
                <a:cubicBezTo>
                  <a:pt x="10" y="130"/>
                  <a:pt x="9" y="131"/>
                  <a:pt x="9" y="130"/>
                </a:cubicBezTo>
                <a:cubicBezTo>
                  <a:pt x="10" y="129"/>
                  <a:pt x="12" y="128"/>
                  <a:pt x="12" y="127"/>
                </a:cubicBezTo>
                <a:cubicBezTo>
                  <a:pt x="13" y="127"/>
                  <a:pt x="12" y="126"/>
                  <a:pt x="12" y="125"/>
                </a:cubicBezTo>
                <a:cubicBezTo>
                  <a:pt x="13" y="124"/>
                  <a:pt x="15" y="124"/>
                  <a:pt x="16" y="123"/>
                </a:cubicBezTo>
                <a:cubicBezTo>
                  <a:pt x="17" y="122"/>
                  <a:pt x="17" y="120"/>
                  <a:pt x="18" y="119"/>
                </a:cubicBezTo>
                <a:cubicBezTo>
                  <a:pt x="18" y="118"/>
                  <a:pt x="20" y="118"/>
                  <a:pt x="21" y="117"/>
                </a:cubicBezTo>
                <a:cubicBezTo>
                  <a:pt x="23" y="116"/>
                  <a:pt x="24" y="113"/>
                  <a:pt x="26" y="111"/>
                </a:cubicBezTo>
                <a:cubicBezTo>
                  <a:pt x="28" y="109"/>
                  <a:pt x="32" y="108"/>
                  <a:pt x="35" y="106"/>
                </a:cubicBezTo>
                <a:cubicBezTo>
                  <a:pt x="35" y="106"/>
                  <a:pt x="35" y="104"/>
                  <a:pt x="36" y="104"/>
                </a:cubicBezTo>
                <a:cubicBezTo>
                  <a:pt x="38" y="101"/>
                  <a:pt x="43" y="99"/>
                  <a:pt x="44" y="96"/>
                </a:cubicBezTo>
                <a:cubicBezTo>
                  <a:pt x="45" y="95"/>
                  <a:pt x="44" y="94"/>
                  <a:pt x="45" y="93"/>
                </a:cubicBezTo>
                <a:cubicBezTo>
                  <a:pt x="45" y="93"/>
                  <a:pt x="47" y="93"/>
                  <a:pt x="47" y="93"/>
                </a:cubicBezTo>
                <a:cubicBezTo>
                  <a:pt x="47" y="93"/>
                  <a:pt x="50" y="90"/>
                  <a:pt x="50" y="90"/>
                </a:cubicBezTo>
                <a:cubicBezTo>
                  <a:pt x="51" y="88"/>
                  <a:pt x="50" y="85"/>
                  <a:pt x="52" y="84"/>
                </a:cubicBezTo>
                <a:cubicBezTo>
                  <a:pt x="53" y="83"/>
                  <a:pt x="56" y="83"/>
                  <a:pt x="57" y="82"/>
                </a:cubicBezTo>
                <a:cubicBezTo>
                  <a:pt x="57" y="81"/>
                  <a:pt x="57" y="79"/>
                  <a:pt x="57" y="79"/>
                </a:cubicBezTo>
                <a:cubicBezTo>
                  <a:pt x="60" y="73"/>
                  <a:pt x="60" y="73"/>
                  <a:pt x="60" y="73"/>
                </a:cubicBezTo>
                <a:cubicBezTo>
                  <a:pt x="60" y="72"/>
                  <a:pt x="62" y="72"/>
                  <a:pt x="62" y="71"/>
                </a:cubicBezTo>
                <a:cubicBezTo>
                  <a:pt x="63" y="70"/>
                  <a:pt x="62" y="68"/>
                  <a:pt x="62" y="67"/>
                </a:cubicBezTo>
                <a:cubicBezTo>
                  <a:pt x="63" y="65"/>
                  <a:pt x="66" y="64"/>
                  <a:pt x="66" y="61"/>
                </a:cubicBezTo>
                <a:cubicBezTo>
                  <a:pt x="67" y="60"/>
                  <a:pt x="66" y="59"/>
                  <a:pt x="66" y="58"/>
                </a:cubicBezTo>
                <a:cubicBezTo>
                  <a:pt x="67" y="56"/>
                  <a:pt x="68" y="53"/>
                  <a:pt x="69" y="51"/>
                </a:cubicBezTo>
                <a:cubicBezTo>
                  <a:pt x="70" y="49"/>
                  <a:pt x="69" y="47"/>
                  <a:pt x="70" y="45"/>
                </a:cubicBezTo>
                <a:cubicBezTo>
                  <a:pt x="72" y="44"/>
                  <a:pt x="72" y="44"/>
                  <a:pt x="72" y="44"/>
                </a:cubicBezTo>
                <a:cubicBezTo>
                  <a:pt x="72" y="43"/>
                  <a:pt x="71" y="42"/>
                  <a:pt x="72" y="41"/>
                </a:cubicBezTo>
                <a:cubicBezTo>
                  <a:pt x="73" y="39"/>
                  <a:pt x="77" y="36"/>
                  <a:pt x="78" y="35"/>
                </a:cubicBezTo>
                <a:cubicBezTo>
                  <a:pt x="78" y="33"/>
                  <a:pt x="78" y="31"/>
                  <a:pt x="78" y="2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27"/>
                  <a:pt x="79" y="26"/>
                  <a:pt x="80" y="25"/>
                </a:cubicBezTo>
                <a:cubicBezTo>
                  <a:pt x="80" y="23"/>
                  <a:pt x="82" y="19"/>
                  <a:pt x="82" y="17"/>
                </a:cubicBezTo>
                <a:cubicBezTo>
                  <a:pt x="83" y="12"/>
                  <a:pt x="83" y="6"/>
                  <a:pt x="84" y="2"/>
                </a:cubicBezTo>
                <a:cubicBezTo>
                  <a:pt x="83" y="1"/>
                  <a:pt x="83" y="0"/>
                  <a:pt x="80" y="0"/>
                </a:cubicBezTo>
                <a:cubicBezTo>
                  <a:pt x="80" y="0"/>
                  <a:pt x="79" y="2"/>
                  <a:pt x="79" y="2"/>
                </a:cubicBezTo>
                <a:cubicBezTo>
                  <a:pt x="78" y="3"/>
                  <a:pt x="71" y="5"/>
                  <a:pt x="70" y="6"/>
                </a:cubicBezTo>
                <a:cubicBezTo>
                  <a:pt x="66" y="6"/>
                  <a:pt x="65" y="4"/>
                  <a:pt x="61" y="6"/>
                </a:cubicBezTo>
                <a:cubicBezTo>
                  <a:pt x="60" y="6"/>
                  <a:pt x="59" y="7"/>
                  <a:pt x="59" y="8"/>
                </a:cubicBezTo>
                <a:cubicBezTo>
                  <a:pt x="56" y="8"/>
                  <a:pt x="54" y="8"/>
                  <a:pt x="52" y="9"/>
                </a:cubicBezTo>
                <a:cubicBezTo>
                  <a:pt x="51" y="9"/>
                  <a:pt x="51" y="11"/>
                  <a:pt x="50" y="11"/>
                </a:cubicBezTo>
                <a:cubicBezTo>
                  <a:pt x="49" y="12"/>
                  <a:pt x="47" y="11"/>
                  <a:pt x="46" y="12"/>
                </a:cubicBezTo>
                <a:cubicBezTo>
                  <a:pt x="45" y="13"/>
                  <a:pt x="45" y="13"/>
                  <a:pt x="45" y="13"/>
                </a:cubicBezTo>
                <a:cubicBezTo>
                  <a:pt x="42" y="14"/>
                  <a:pt x="42" y="12"/>
                  <a:pt x="40" y="12"/>
                </a:cubicBezTo>
                <a:cubicBezTo>
                  <a:pt x="35" y="10"/>
                  <a:pt x="30" y="13"/>
                  <a:pt x="26" y="14"/>
                </a:cubicBezTo>
                <a:cubicBezTo>
                  <a:pt x="26" y="14"/>
                  <a:pt x="25" y="13"/>
                  <a:pt x="25" y="13"/>
                </a:cubicBezTo>
                <a:cubicBezTo>
                  <a:pt x="21" y="11"/>
                  <a:pt x="18" y="8"/>
                  <a:pt x="16" y="4"/>
                </a:cubicBezTo>
                <a:cubicBezTo>
                  <a:pt x="12" y="9"/>
                  <a:pt x="12" y="9"/>
                  <a:pt x="12" y="9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3"/>
                  <a:pt x="12" y="16"/>
                  <a:pt x="13" y="18"/>
                </a:cubicBezTo>
                <a:cubicBezTo>
                  <a:pt x="15" y="20"/>
                  <a:pt x="14" y="21"/>
                  <a:pt x="16" y="23"/>
                </a:cubicBezTo>
                <a:cubicBezTo>
                  <a:pt x="18" y="24"/>
                  <a:pt x="19" y="26"/>
                  <a:pt x="22" y="27"/>
                </a:cubicBezTo>
                <a:cubicBezTo>
                  <a:pt x="26" y="29"/>
                  <a:pt x="45" y="38"/>
                  <a:pt x="45" y="38"/>
                </a:cubicBezTo>
                <a:cubicBezTo>
                  <a:pt x="57" y="38"/>
                  <a:pt x="57" y="38"/>
                  <a:pt x="57" y="38"/>
                </a:cubicBezTo>
                <a:cubicBezTo>
                  <a:pt x="35" y="72"/>
                  <a:pt x="35" y="72"/>
                  <a:pt x="35" y="72"/>
                </a:cubicBezTo>
                <a:cubicBezTo>
                  <a:pt x="24" y="73"/>
                  <a:pt x="24" y="73"/>
                  <a:pt x="24" y="73"/>
                </a:cubicBezTo>
                <a:cubicBezTo>
                  <a:pt x="20" y="75"/>
                  <a:pt x="20" y="75"/>
                  <a:pt x="20" y="75"/>
                </a:cubicBezTo>
                <a:cubicBezTo>
                  <a:pt x="12" y="76"/>
                  <a:pt x="12" y="76"/>
                  <a:pt x="12" y="76"/>
                </a:cubicBezTo>
                <a:cubicBezTo>
                  <a:pt x="10" y="78"/>
                  <a:pt x="10" y="78"/>
                  <a:pt x="10" y="78"/>
                </a:cubicBezTo>
                <a:cubicBezTo>
                  <a:pt x="5" y="89"/>
                  <a:pt x="5" y="89"/>
                  <a:pt x="5" y="89"/>
                </a:cubicBezTo>
                <a:cubicBezTo>
                  <a:pt x="0" y="92"/>
                  <a:pt x="0" y="92"/>
                  <a:pt x="0" y="92"/>
                </a:cubicBezTo>
                <a:cubicBezTo>
                  <a:pt x="1" y="128"/>
                  <a:pt x="1" y="128"/>
                  <a:pt x="1" y="128"/>
                </a:cubicBezTo>
                <a:cubicBezTo>
                  <a:pt x="7" y="135"/>
                  <a:pt x="7" y="135"/>
                  <a:pt x="7" y="135"/>
                </a:cubicBezTo>
                <a:lnTo>
                  <a:pt x="8" y="134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1" name="Google Shape;461;p102"/>
          <p:cNvSpPr/>
          <p:nvPr/>
        </p:nvSpPr>
        <p:spPr>
          <a:xfrm>
            <a:off x="10110706" y="4927677"/>
            <a:ext cx="149644" cy="127150"/>
          </a:xfrm>
          <a:custGeom>
            <a:avLst/>
            <a:gdLst/>
            <a:ahLst/>
            <a:cxnLst/>
            <a:rect l="l" t="t" r="r" b="b"/>
            <a:pathLst>
              <a:path w="52" h="46" extrusionOk="0">
                <a:moveTo>
                  <a:pt x="42" y="39"/>
                </a:moveTo>
                <a:cubicBezTo>
                  <a:pt x="43" y="40"/>
                  <a:pt x="41" y="40"/>
                  <a:pt x="42" y="42"/>
                </a:cubicBezTo>
                <a:cubicBezTo>
                  <a:pt x="44" y="44"/>
                  <a:pt x="52" y="46"/>
                  <a:pt x="50" y="45"/>
                </a:cubicBezTo>
                <a:cubicBezTo>
                  <a:pt x="50" y="44"/>
                  <a:pt x="50" y="44"/>
                  <a:pt x="50" y="44"/>
                </a:cubicBezTo>
                <a:cubicBezTo>
                  <a:pt x="49" y="44"/>
                  <a:pt x="49" y="44"/>
                  <a:pt x="48" y="44"/>
                </a:cubicBezTo>
                <a:cubicBezTo>
                  <a:pt x="47" y="41"/>
                  <a:pt x="45" y="41"/>
                  <a:pt x="42" y="39"/>
                </a:cubicBezTo>
                <a:close/>
                <a:moveTo>
                  <a:pt x="26" y="29"/>
                </a:moveTo>
                <a:cubicBezTo>
                  <a:pt x="27" y="30"/>
                  <a:pt x="26" y="31"/>
                  <a:pt x="27" y="33"/>
                </a:cubicBezTo>
                <a:cubicBezTo>
                  <a:pt x="29" y="36"/>
                  <a:pt x="33" y="34"/>
                  <a:pt x="37" y="34"/>
                </a:cubicBezTo>
                <a:cubicBezTo>
                  <a:pt x="37" y="34"/>
                  <a:pt x="36" y="32"/>
                  <a:pt x="36" y="32"/>
                </a:cubicBezTo>
                <a:cubicBezTo>
                  <a:pt x="33" y="31"/>
                  <a:pt x="29" y="29"/>
                  <a:pt x="26" y="29"/>
                </a:cubicBezTo>
                <a:close/>
                <a:moveTo>
                  <a:pt x="35" y="20"/>
                </a:moveTo>
                <a:cubicBezTo>
                  <a:pt x="36" y="22"/>
                  <a:pt x="36" y="23"/>
                  <a:pt x="37" y="27"/>
                </a:cubicBezTo>
                <a:cubicBezTo>
                  <a:pt x="37" y="27"/>
                  <a:pt x="39" y="28"/>
                  <a:pt x="39" y="29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30"/>
                  <a:pt x="41" y="30"/>
                  <a:pt x="42" y="30"/>
                </a:cubicBezTo>
                <a:cubicBezTo>
                  <a:pt x="40" y="26"/>
                  <a:pt x="38" y="23"/>
                  <a:pt x="36" y="20"/>
                </a:cubicBezTo>
                <a:lnTo>
                  <a:pt x="35" y="20"/>
                </a:lnTo>
                <a:close/>
                <a:moveTo>
                  <a:pt x="8" y="13"/>
                </a:moveTo>
                <a:cubicBezTo>
                  <a:pt x="6" y="18"/>
                  <a:pt x="6" y="15"/>
                  <a:pt x="8" y="19"/>
                </a:cubicBezTo>
                <a:cubicBezTo>
                  <a:pt x="7" y="20"/>
                  <a:pt x="11" y="20"/>
                  <a:pt x="11" y="20"/>
                </a:cubicBezTo>
                <a:cubicBezTo>
                  <a:pt x="11" y="18"/>
                  <a:pt x="11" y="15"/>
                  <a:pt x="10" y="14"/>
                </a:cubicBezTo>
                <a:cubicBezTo>
                  <a:pt x="10" y="14"/>
                  <a:pt x="8" y="13"/>
                  <a:pt x="8" y="13"/>
                </a:cubicBezTo>
                <a:close/>
                <a:moveTo>
                  <a:pt x="17" y="9"/>
                </a:moveTo>
                <a:cubicBezTo>
                  <a:pt x="17" y="9"/>
                  <a:pt x="17" y="11"/>
                  <a:pt x="16" y="11"/>
                </a:cubicBezTo>
                <a:cubicBezTo>
                  <a:pt x="20" y="14"/>
                  <a:pt x="23" y="16"/>
                  <a:pt x="26" y="18"/>
                </a:cubicBezTo>
                <a:cubicBezTo>
                  <a:pt x="26" y="18"/>
                  <a:pt x="27" y="17"/>
                  <a:pt x="27" y="17"/>
                </a:cubicBezTo>
                <a:cubicBezTo>
                  <a:pt x="26" y="16"/>
                  <a:pt x="25" y="15"/>
                  <a:pt x="24" y="15"/>
                </a:cubicBezTo>
                <a:cubicBezTo>
                  <a:pt x="24" y="14"/>
                  <a:pt x="24" y="12"/>
                  <a:pt x="23" y="11"/>
                </a:cubicBezTo>
                <a:cubicBezTo>
                  <a:pt x="23" y="11"/>
                  <a:pt x="18" y="9"/>
                  <a:pt x="17" y="9"/>
                </a:cubicBezTo>
                <a:close/>
                <a:moveTo>
                  <a:pt x="0" y="0"/>
                </a:moveTo>
                <a:cubicBezTo>
                  <a:pt x="2" y="6"/>
                  <a:pt x="1" y="6"/>
                  <a:pt x="8" y="7"/>
                </a:cubicBezTo>
                <a:cubicBezTo>
                  <a:pt x="7" y="7"/>
                  <a:pt x="7" y="6"/>
                  <a:pt x="6" y="6"/>
                </a:cubicBezTo>
                <a:cubicBezTo>
                  <a:pt x="4" y="4"/>
                  <a:pt x="2" y="2"/>
                  <a:pt x="0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2" name="Google Shape;462;p102"/>
          <p:cNvSpPr/>
          <p:nvPr/>
        </p:nvSpPr>
        <p:spPr>
          <a:xfrm>
            <a:off x="10110706" y="4927677"/>
            <a:ext cx="149644" cy="127150"/>
          </a:xfrm>
          <a:custGeom>
            <a:avLst/>
            <a:gdLst/>
            <a:ahLst/>
            <a:cxnLst/>
            <a:rect l="l" t="t" r="r" b="b"/>
            <a:pathLst>
              <a:path w="52" h="46" extrusionOk="0">
                <a:moveTo>
                  <a:pt x="42" y="39"/>
                </a:moveTo>
                <a:cubicBezTo>
                  <a:pt x="43" y="40"/>
                  <a:pt x="41" y="40"/>
                  <a:pt x="42" y="42"/>
                </a:cubicBezTo>
                <a:cubicBezTo>
                  <a:pt x="44" y="44"/>
                  <a:pt x="52" y="46"/>
                  <a:pt x="50" y="45"/>
                </a:cubicBezTo>
                <a:cubicBezTo>
                  <a:pt x="50" y="44"/>
                  <a:pt x="50" y="44"/>
                  <a:pt x="50" y="44"/>
                </a:cubicBezTo>
                <a:cubicBezTo>
                  <a:pt x="49" y="44"/>
                  <a:pt x="49" y="44"/>
                  <a:pt x="48" y="44"/>
                </a:cubicBezTo>
                <a:cubicBezTo>
                  <a:pt x="47" y="41"/>
                  <a:pt x="45" y="41"/>
                  <a:pt x="42" y="39"/>
                </a:cubicBezTo>
                <a:close/>
                <a:moveTo>
                  <a:pt x="26" y="29"/>
                </a:moveTo>
                <a:cubicBezTo>
                  <a:pt x="27" y="30"/>
                  <a:pt x="26" y="31"/>
                  <a:pt x="27" y="33"/>
                </a:cubicBezTo>
                <a:cubicBezTo>
                  <a:pt x="29" y="36"/>
                  <a:pt x="33" y="34"/>
                  <a:pt x="37" y="34"/>
                </a:cubicBezTo>
                <a:cubicBezTo>
                  <a:pt x="37" y="34"/>
                  <a:pt x="36" y="32"/>
                  <a:pt x="36" y="32"/>
                </a:cubicBezTo>
                <a:cubicBezTo>
                  <a:pt x="33" y="31"/>
                  <a:pt x="29" y="29"/>
                  <a:pt x="26" y="29"/>
                </a:cubicBezTo>
                <a:close/>
                <a:moveTo>
                  <a:pt x="35" y="20"/>
                </a:moveTo>
                <a:cubicBezTo>
                  <a:pt x="36" y="22"/>
                  <a:pt x="36" y="23"/>
                  <a:pt x="37" y="27"/>
                </a:cubicBezTo>
                <a:cubicBezTo>
                  <a:pt x="37" y="27"/>
                  <a:pt x="39" y="28"/>
                  <a:pt x="39" y="29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30"/>
                  <a:pt x="41" y="30"/>
                  <a:pt x="42" y="30"/>
                </a:cubicBezTo>
                <a:cubicBezTo>
                  <a:pt x="40" y="26"/>
                  <a:pt x="38" y="23"/>
                  <a:pt x="36" y="20"/>
                </a:cubicBezTo>
                <a:lnTo>
                  <a:pt x="35" y="20"/>
                </a:lnTo>
                <a:close/>
                <a:moveTo>
                  <a:pt x="8" y="13"/>
                </a:moveTo>
                <a:cubicBezTo>
                  <a:pt x="6" y="18"/>
                  <a:pt x="6" y="15"/>
                  <a:pt x="8" y="19"/>
                </a:cubicBezTo>
                <a:cubicBezTo>
                  <a:pt x="7" y="20"/>
                  <a:pt x="11" y="20"/>
                  <a:pt x="11" y="20"/>
                </a:cubicBezTo>
                <a:cubicBezTo>
                  <a:pt x="11" y="18"/>
                  <a:pt x="11" y="15"/>
                  <a:pt x="10" y="14"/>
                </a:cubicBezTo>
                <a:cubicBezTo>
                  <a:pt x="10" y="14"/>
                  <a:pt x="8" y="13"/>
                  <a:pt x="8" y="13"/>
                </a:cubicBezTo>
                <a:close/>
                <a:moveTo>
                  <a:pt x="17" y="9"/>
                </a:moveTo>
                <a:cubicBezTo>
                  <a:pt x="17" y="9"/>
                  <a:pt x="17" y="11"/>
                  <a:pt x="16" y="11"/>
                </a:cubicBezTo>
                <a:cubicBezTo>
                  <a:pt x="20" y="14"/>
                  <a:pt x="23" y="16"/>
                  <a:pt x="26" y="18"/>
                </a:cubicBezTo>
                <a:cubicBezTo>
                  <a:pt x="26" y="18"/>
                  <a:pt x="27" y="17"/>
                  <a:pt x="27" y="17"/>
                </a:cubicBezTo>
                <a:cubicBezTo>
                  <a:pt x="26" y="16"/>
                  <a:pt x="25" y="15"/>
                  <a:pt x="24" y="15"/>
                </a:cubicBezTo>
                <a:cubicBezTo>
                  <a:pt x="24" y="14"/>
                  <a:pt x="24" y="12"/>
                  <a:pt x="23" y="11"/>
                </a:cubicBezTo>
                <a:cubicBezTo>
                  <a:pt x="23" y="11"/>
                  <a:pt x="18" y="9"/>
                  <a:pt x="17" y="9"/>
                </a:cubicBezTo>
                <a:close/>
                <a:moveTo>
                  <a:pt x="0" y="0"/>
                </a:moveTo>
                <a:cubicBezTo>
                  <a:pt x="2" y="6"/>
                  <a:pt x="1" y="6"/>
                  <a:pt x="8" y="7"/>
                </a:cubicBezTo>
                <a:cubicBezTo>
                  <a:pt x="7" y="7"/>
                  <a:pt x="7" y="6"/>
                  <a:pt x="6" y="6"/>
                </a:cubicBezTo>
                <a:cubicBezTo>
                  <a:pt x="4" y="4"/>
                  <a:pt x="2" y="2"/>
                  <a:pt x="0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3" name="Google Shape;463;p102"/>
          <p:cNvSpPr/>
          <p:nvPr/>
        </p:nvSpPr>
        <p:spPr>
          <a:xfrm>
            <a:off x="6560343" y="3230939"/>
            <a:ext cx="95361" cy="74876"/>
          </a:xfrm>
          <a:custGeom>
            <a:avLst/>
            <a:gdLst/>
            <a:ahLst/>
            <a:cxnLst/>
            <a:rect l="l" t="t" r="r" b="b"/>
            <a:pathLst>
              <a:path w="33" h="27" extrusionOk="0">
                <a:moveTo>
                  <a:pt x="6" y="21"/>
                </a:moveTo>
                <a:cubicBezTo>
                  <a:pt x="6" y="22"/>
                  <a:pt x="7" y="24"/>
                  <a:pt x="6" y="24"/>
                </a:cubicBezTo>
                <a:cubicBezTo>
                  <a:pt x="6" y="24"/>
                  <a:pt x="3" y="27"/>
                  <a:pt x="4" y="27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7"/>
                  <a:pt x="14" y="26"/>
                  <a:pt x="15" y="24"/>
                </a:cubicBezTo>
                <a:cubicBezTo>
                  <a:pt x="16" y="22"/>
                  <a:pt x="16" y="22"/>
                  <a:pt x="16" y="19"/>
                </a:cubicBezTo>
                <a:cubicBezTo>
                  <a:pt x="16" y="16"/>
                  <a:pt x="17" y="21"/>
                  <a:pt x="20" y="21"/>
                </a:cubicBezTo>
                <a:cubicBezTo>
                  <a:pt x="22" y="20"/>
                  <a:pt x="23" y="15"/>
                  <a:pt x="23" y="13"/>
                </a:cubicBezTo>
                <a:cubicBezTo>
                  <a:pt x="24" y="9"/>
                  <a:pt x="24" y="11"/>
                  <a:pt x="26" y="11"/>
                </a:cubicBezTo>
                <a:cubicBezTo>
                  <a:pt x="28" y="11"/>
                  <a:pt x="29" y="11"/>
                  <a:pt x="29" y="9"/>
                </a:cubicBezTo>
                <a:cubicBezTo>
                  <a:pt x="29" y="7"/>
                  <a:pt x="32" y="6"/>
                  <a:pt x="32" y="6"/>
                </a:cubicBezTo>
                <a:cubicBezTo>
                  <a:pt x="32" y="6"/>
                  <a:pt x="33" y="5"/>
                  <a:pt x="32" y="3"/>
                </a:cubicBezTo>
                <a:cubicBezTo>
                  <a:pt x="32" y="1"/>
                  <a:pt x="30" y="0"/>
                  <a:pt x="30" y="0"/>
                </a:cubicBezTo>
                <a:cubicBezTo>
                  <a:pt x="30" y="0"/>
                  <a:pt x="29" y="0"/>
                  <a:pt x="27" y="2"/>
                </a:cubicBezTo>
                <a:cubicBezTo>
                  <a:pt x="25" y="3"/>
                  <a:pt x="23" y="1"/>
                  <a:pt x="21" y="1"/>
                </a:cubicBezTo>
                <a:cubicBezTo>
                  <a:pt x="19" y="1"/>
                  <a:pt x="18" y="1"/>
                  <a:pt x="17" y="3"/>
                </a:cubicBezTo>
                <a:cubicBezTo>
                  <a:pt x="16" y="5"/>
                  <a:pt x="14" y="6"/>
                  <a:pt x="11" y="5"/>
                </a:cubicBezTo>
                <a:cubicBezTo>
                  <a:pt x="8" y="4"/>
                  <a:pt x="7" y="4"/>
                  <a:pt x="7" y="6"/>
                </a:cubicBezTo>
                <a:cubicBezTo>
                  <a:pt x="7" y="8"/>
                  <a:pt x="4" y="7"/>
                  <a:pt x="4" y="7"/>
                </a:cubicBezTo>
                <a:cubicBezTo>
                  <a:pt x="4" y="7"/>
                  <a:pt x="0" y="13"/>
                  <a:pt x="3" y="13"/>
                </a:cubicBezTo>
                <a:cubicBezTo>
                  <a:pt x="6" y="13"/>
                  <a:pt x="6" y="14"/>
                  <a:pt x="6" y="16"/>
                </a:cubicBezTo>
                <a:cubicBezTo>
                  <a:pt x="6" y="18"/>
                  <a:pt x="4" y="19"/>
                  <a:pt x="6" y="21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4" name="Google Shape;464;p102"/>
          <p:cNvSpPr/>
          <p:nvPr/>
        </p:nvSpPr>
        <p:spPr>
          <a:xfrm>
            <a:off x="6652771" y="3130633"/>
            <a:ext cx="183387" cy="80527"/>
          </a:xfrm>
          <a:custGeom>
            <a:avLst/>
            <a:gdLst/>
            <a:ahLst/>
            <a:cxnLst/>
            <a:rect l="l" t="t" r="r" b="b"/>
            <a:pathLst>
              <a:path w="64" h="29" extrusionOk="0">
                <a:moveTo>
                  <a:pt x="64" y="17"/>
                </a:moveTo>
                <a:cubicBezTo>
                  <a:pt x="61" y="18"/>
                  <a:pt x="61" y="18"/>
                  <a:pt x="61" y="18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7" y="23"/>
                  <a:pt x="55" y="21"/>
                </a:cubicBezTo>
                <a:cubicBezTo>
                  <a:pt x="53" y="19"/>
                  <a:pt x="53" y="21"/>
                  <a:pt x="49" y="21"/>
                </a:cubicBezTo>
                <a:cubicBezTo>
                  <a:pt x="45" y="20"/>
                  <a:pt x="45" y="21"/>
                  <a:pt x="41" y="22"/>
                </a:cubicBezTo>
                <a:cubicBezTo>
                  <a:pt x="38" y="23"/>
                  <a:pt x="38" y="24"/>
                  <a:pt x="38" y="24"/>
                </a:cubicBezTo>
                <a:cubicBezTo>
                  <a:pt x="38" y="24"/>
                  <a:pt x="36" y="25"/>
                  <a:pt x="34" y="23"/>
                </a:cubicBezTo>
                <a:cubicBezTo>
                  <a:pt x="32" y="21"/>
                  <a:pt x="32" y="22"/>
                  <a:pt x="28" y="24"/>
                </a:cubicBezTo>
                <a:cubicBezTo>
                  <a:pt x="23" y="25"/>
                  <a:pt x="23" y="24"/>
                  <a:pt x="23" y="24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28"/>
                  <a:pt x="24" y="29"/>
                  <a:pt x="19" y="27"/>
                </a:cubicBezTo>
                <a:cubicBezTo>
                  <a:pt x="14" y="26"/>
                  <a:pt x="14" y="27"/>
                  <a:pt x="11" y="27"/>
                </a:cubicBezTo>
                <a:cubicBezTo>
                  <a:pt x="9" y="27"/>
                  <a:pt x="5" y="24"/>
                  <a:pt x="5" y="24"/>
                </a:cubicBezTo>
                <a:cubicBezTo>
                  <a:pt x="3" y="20"/>
                  <a:pt x="3" y="20"/>
                  <a:pt x="3" y="20"/>
                </a:cubicBezTo>
                <a:cubicBezTo>
                  <a:pt x="0" y="19"/>
                  <a:pt x="3" y="15"/>
                  <a:pt x="3" y="15"/>
                </a:cubicBezTo>
                <a:cubicBezTo>
                  <a:pt x="3" y="15"/>
                  <a:pt x="5" y="11"/>
                  <a:pt x="7" y="11"/>
                </a:cubicBezTo>
                <a:cubicBezTo>
                  <a:pt x="9" y="11"/>
                  <a:pt x="8" y="7"/>
                  <a:pt x="10" y="7"/>
                </a:cubicBezTo>
                <a:cubicBezTo>
                  <a:pt x="11" y="7"/>
                  <a:pt x="14" y="5"/>
                  <a:pt x="14" y="5"/>
                </a:cubicBezTo>
                <a:cubicBezTo>
                  <a:pt x="14" y="5"/>
                  <a:pt x="14" y="5"/>
                  <a:pt x="18" y="5"/>
                </a:cubicBezTo>
                <a:cubicBezTo>
                  <a:pt x="21" y="5"/>
                  <a:pt x="19" y="4"/>
                  <a:pt x="23" y="5"/>
                </a:cubicBezTo>
                <a:cubicBezTo>
                  <a:pt x="25" y="6"/>
                  <a:pt x="26" y="7"/>
                  <a:pt x="28" y="8"/>
                </a:cubicBezTo>
                <a:cubicBezTo>
                  <a:pt x="31" y="9"/>
                  <a:pt x="33" y="11"/>
                  <a:pt x="34" y="8"/>
                </a:cubicBezTo>
                <a:cubicBezTo>
                  <a:pt x="35" y="5"/>
                  <a:pt x="37" y="7"/>
                  <a:pt x="39" y="6"/>
                </a:cubicBezTo>
                <a:cubicBezTo>
                  <a:pt x="43" y="5"/>
                  <a:pt x="45" y="0"/>
                  <a:pt x="47" y="2"/>
                </a:cubicBezTo>
                <a:cubicBezTo>
                  <a:pt x="50" y="4"/>
                  <a:pt x="51" y="6"/>
                  <a:pt x="53" y="6"/>
                </a:cubicBezTo>
                <a:cubicBezTo>
                  <a:pt x="55" y="6"/>
                  <a:pt x="55" y="8"/>
                  <a:pt x="58" y="9"/>
                </a:cubicBezTo>
                <a:cubicBezTo>
                  <a:pt x="60" y="10"/>
                  <a:pt x="59" y="10"/>
                  <a:pt x="60" y="13"/>
                </a:cubicBezTo>
                <a:cubicBezTo>
                  <a:pt x="61" y="15"/>
                  <a:pt x="64" y="17"/>
                  <a:pt x="64" y="17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5" name="Google Shape;465;p102"/>
          <p:cNvSpPr/>
          <p:nvPr/>
        </p:nvSpPr>
        <p:spPr>
          <a:xfrm>
            <a:off x="6652770" y="3135396"/>
            <a:ext cx="183387" cy="80527"/>
          </a:xfrm>
          <a:custGeom>
            <a:avLst/>
            <a:gdLst/>
            <a:ahLst/>
            <a:cxnLst/>
            <a:rect l="l" t="t" r="r" b="b"/>
            <a:pathLst>
              <a:path w="64" h="29" extrusionOk="0">
                <a:moveTo>
                  <a:pt x="64" y="17"/>
                </a:moveTo>
                <a:cubicBezTo>
                  <a:pt x="61" y="18"/>
                  <a:pt x="61" y="18"/>
                  <a:pt x="61" y="18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7" y="23"/>
                  <a:pt x="55" y="21"/>
                </a:cubicBezTo>
                <a:cubicBezTo>
                  <a:pt x="53" y="19"/>
                  <a:pt x="53" y="21"/>
                  <a:pt x="49" y="21"/>
                </a:cubicBezTo>
                <a:cubicBezTo>
                  <a:pt x="45" y="20"/>
                  <a:pt x="45" y="21"/>
                  <a:pt x="41" y="22"/>
                </a:cubicBezTo>
                <a:cubicBezTo>
                  <a:pt x="38" y="23"/>
                  <a:pt x="38" y="24"/>
                  <a:pt x="38" y="24"/>
                </a:cubicBezTo>
                <a:cubicBezTo>
                  <a:pt x="38" y="24"/>
                  <a:pt x="36" y="25"/>
                  <a:pt x="34" y="23"/>
                </a:cubicBezTo>
                <a:cubicBezTo>
                  <a:pt x="32" y="21"/>
                  <a:pt x="32" y="22"/>
                  <a:pt x="28" y="24"/>
                </a:cubicBezTo>
                <a:cubicBezTo>
                  <a:pt x="23" y="25"/>
                  <a:pt x="23" y="24"/>
                  <a:pt x="23" y="24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28"/>
                  <a:pt x="24" y="29"/>
                  <a:pt x="19" y="27"/>
                </a:cubicBezTo>
                <a:cubicBezTo>
                  <a:pt x="14" y="26"/>
                  <a:pt x="14" y="27"/>
                  <a:pt x="11" y="27"/>
                </a:cubicBezTo>
                <a:cubicBezTo>
                  <a:pt x="9" y="27"/>
                  <a:pt x="5" y="24"/>
                  <a:pt x="5" y="24"/>
                </a:cubicBezTo>
                <a:cubicBezTo>
                  <a:pt x="3" y="20"/>
                  <a:pt x="3" y="20"/>
                  <a:pt x="3" y="20"/>
                </a:cubicBezTo>
                <a:cubicBezTo>
                  <a:pt x="0" y="19"/>
                  <a:pt x="3" y="15"/>
                  <a:pt x="3" y="15"/>
                </a:cubicBezTo>
                <a:cubicBezTo>
                  <a:pt x="3" y="15"/>
                  <a:pt x="5" y="11"/>
                  <a:pt x="7" y="11"/>
                </a:cubicBezTo>
                <a:cubicBezTo>
                  <a:pt x="9" y="11"/>
                  <a:pt x="8" y="7"/>
                  <a:pt x="10" y="7"/>
                </a:cubicBezTo>
                <a:cubicBezTo>
                  <a:pt x="11" y="7"/>
                  <a:pt x="14" y="5"/>
                  <a:pt x="14" y="5"/>
                </a:cubicBezTo>
                <a:cubicBezTo>
                  <a:pt x="14" y="5"/>
                  <a:pt x="14" y="5"/>
                  <a:pt x="18" y="5"/>
                </a:cubicBezTo>
                <a:cubicBezTo>
                  <a:pt x="21" y="5"/>
                  <a:pt x="19" y="4"/>
                  <a:pt x="23" y="5"/>
                </a:cubicBezTo>
                <a:cubicBezTo>
                  <a:pt x="25" y="6"/>
                  <a:pt x="26" y="7"/>
                  <a:pt x="28" y="8"/>
                </a:cubicBezTo>
                <a:cubicBezTo>
                  <a:pt x="31" y="9"/>
                  <a:pt x="33" y="11"/>
                  <a:pt x="34" y="8"/>
                </a:cubicBezTo>
                <a:cubicBezTo>
                  <a:pt x="35" y="5"/>
                  <a:pt x="37" y="7"/>
                  <a:pt x="39" y="6"/>
                </a:cubicBezTo>
                <a:cubicBezTo>
                  <a:pt x="43" y="5"/>
                  <a:pt x="45" y="0"/>
                  <a:pt x="47" y="2"/>
                </a:cubicBezTo>
                <a:cubicBezTo>
                  <a:pt x="50" y="4"/>
                  <a:pt x="51" y="6"/>
                  <a:pt x="53" y="6"/>
                </a:cubicBezTo>
                <a:cubicBezTo>
                  <a:pt x="55" y="6"/>
                  <a:pt x="55" y="8"/>
                  <a:pt x="58" y="9"/>
                </a:cubicBezTo>
                <a:cubicBezTo>
                  <a:pt x="60" y="10"/>
                  <a:pt x="59" y="10"/>
                  <a:pt x="60" y="13"/>
                </a:cubicBezTo>
                <a:cubicBezTo>
                  <a:pt x="61" y="15"/>
                  <a:pt x="64" y="17"/>
                  <a:pt x="64" y="17"/>
                </a:cubicBezTo>
                <a:close/>
              </a:path>
            </a:pathLst>
          </a:custGeom>
          <a:solidFill>
            <a:srgbClr val="CCEDEB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6" name="Google Shape;466;p102"/>
          <p:cNvSpPr/>
          <p:nvPr/>
        </p:nvSpPr>
        <p:spPr>
          <a:xfrm>
            <a:off x="5898685" y="4403540"/>
            <a:ext cx="89492" cy="104545"/>
          </a:xfrm>
          <a:custGeom>
            <a:avLst/>
            <a:gdLst/>
            <a:ahLst/>
            <a:cxnLst/>
            <a:rect l="l" t="t" r="r" b="b"/>
            <a:pathLst>
              <a:path w="31" h="38" extrusionOk="0">
                <a:moveTo>
                  <a:pt x="2" y="13"/>
                </a:moveTo>
                <a:cubicBezTo>
                  <a:pt x="0" y="15"/>
                  <a:pt x="4" y="21"/>
                  <a:pt x="5" y="23"/>
                </a:cubicBezTo>
                <a:cubicBezTo>
                  <a:pt x="3" y="22"/>
                  <a:pt x="3" y="24"/>
                  <a:pt x="4" y="24"/>
                </a:cubicBezTo>
                <a:cubicBezTo>
                  <a:pt x="4" y="24"/>
                  <a:pt x="7" y="25"/>
                  <a:pt x="7" y="25"/>
                </a:cubicBezTo>
                <a:cubicBezTo>
                  <a:pt x="7" y="26"/>
                  <a:pt x="7" y="32"/>
                  <a:pt x="7" y="32"/>
                </a:cubicBezTo>
                <a:cubicBezTo>
                  <a:pt x="8" y="32"/>
                  <a:pt x="7" y="32"/>
                  <a:pt x="8" y="31"/>
                </a:cubicBezTo>
                <a:cubicBezTo>
                  <a:pt x="7" y="31"/>
                  <a:pt x="7" y="30"/>
                  <a:pt x="9" y="30"/>
                </a:cubicBezTo>
                <a:cubicBezTo>
                  <a:pt x="10" y="33"/>
                  <a:pt x="11" y="36"/>
                  <a:pt x="14" y="37"/>
                </a:cubicBezTo>
                <a:cubicBezTo>
                  <a:pt x="16" y="38"/>
                  <a:pt x="17" y="38"/>
                  <a:pt x="18" y="38"/>
                </a:cubicBezTo>
                <a:cubicBezTo>
                  <a:pt x="18" y="38"/>
                  <a:pt x="19" y="35"/>
                  <a:pt x="21" y="32"/>
                </a:cubicBezTo>
                <a:cubicBezTo>
                  <a:pt x="23" y="29"/>
                  <a:pt x="25" y="26"/>
                  <a:pt x="25" y="26"/>
                </a:cubicBezTo>
                <a:cubicBezTo>
                  <a:pt x="25" y="26"/>
                  <a:pt x="27" y="23"/>
                  <a:pt x="29" y="23"/>
                </a:cubicBezTo>
                <a:cubicBezTo>
                  <a:pt x="31" y="23"/>
                  <a:pt x="31" y="20"/>
                  <a:pt x="31" y="20"/>
                </a:cubicBezTo>
                <a:cubicBezTo>
                  <a:pt x="27" y="20"/>
                  <a:pt x="27" y="20"/>
                  <a:pt x="27" y="20"/>
                </a:cubicBezTo>
                <a:cubicBezTo>
                  <a:pt x="27" y="20"/>
                  <a:pt x="29" y="17"/>
                  <a:pt x="28" y="15"/>
                </a:cubicBezTo>
                <a:cubicBezTo>
                  <a:pt x="27" y="13"/>
                  <a:pt x="27" y="14"/>
                  <a:pt x="26" y="11"/>
                </a:cubicBezTo>
                <a:cubicBezTo>
                  <a:pt x="25" y="8"/>
                  <a:pt x="23" y="10"/>
                  <a:pt x="23" y="7"/>
                </a:cubicBezTo>
                <a:cubicBezTo>
                  <a:pt x="23" y="4"/>
                  <a:pt x="23" y="2"/>
                  <a:pt x="21" y="2"/>
                </a:cubicBezTo>
                <a:cubicBezTo>
                  <a:pt x="19" y="2"/>
                  <a:pt x="19" y="4"/>
                  <a:pt x="16" y="2"/>
                </a:cubicBezTo>
                <a:cubicBezTo>
                  <a:pt x="13" y="0"/>
                  <a:pt x="11" y="0"/>
                  <a:pt x="9" y="3"/>
                </a:cubicBezTo>
                <a:cubicBezTo>
                  <a:pt x="8" y="6"/>
                  <a:pt x="9" y="9"/>
                  <a:pt x="7" y="10"/>
                </a:cubicBezTo>
                <a:cubicBezTo>
                  <a:pt x="5" y="11"/>
                  <a:pt x="6" y="13"/>
                  <a:pt x="4" y="13"/>
                </a:cubicBezTo>
                <a:cubicBezTo>
                  <a:pt x="2" y="13"/>
                  <a:pt x="2" y="13"/>
                  <a:pt x="2" y="13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7" name="Google Shape;467;p102"/>
          <p:cNvSpPr/>
          <p:nvPr/>
        </p:nvSpPr>
        <p:spPr>
          <a:xfrm>
            <a:off x="5806258" y="4197275"/>
            <a:ext cx="143775" cy="145515"/>
          </a:xfrm>
          <a:custGeom>
            <a:avLst/>
            <a:gdLst/>
            <a:ahLst/>
            <a:cxnLst/>
            <a:rect l="l" t="t" r="r" b="b"/>
            <a:pathLst>
              <a:path w="50" h="52" extrusionOk="0">
                <a:moveTo>
                  <a:pt x="9" y="7"/>
                </a:moveTo>
                <a:cubicBezTo>
                  <a:pt x="8" y="8"/>
                  <a:pt x="7" y="10"/>
                  <a:pt x="7" y="12"/>
                </a:cubicBezTo>
                <a:cubicBezTo>
                  <a:pt x="7" y="14"/>
                  <a:pt x="8" y="15"/>
                  <a:pt x="8" y="18"/>
                </a:cubicBezTo>
                <a:cubicBezTo>
                  <a:pt x="5" y="23"/>
                  <a:pt x="5" y="23"/>
                  <a:pt x="5" y="23"/>
                </a:cubicBezTo>
                <a:cubicBezTo>
                  <a:pt x="4" y="23"/>
                  <a:pt x="3" y="23"/>
                  <a:pt x="3" y="24"/>
                </a:cubicBezTo>
                <a:cubicBezTo>
                  <a:pt x="2" y="25"/>
                  <a:pt x="3" y="26"/>
                  <a:pt x="2" y="27"/>
                </a:cubicBezTo>
                <a:cubicBezTo>
                  <a:pt x="2" y="27"/>
                  <a:pt x="1" y="27"/>
                  <a:pt x="0" y="28"/>
                </a:cubicBezTo>
                <a:cubicBezTo>
                  <a:pt x="3" y="30"/>
                  <a:pt x="3" y="30"/>
                  <a:pt x="3" y="30"/>
                </a:cubicBezTo>
                <a:cubicBezTo>
                  <a:pt x="4" y="32"/>
                  <a:pt x="3" y="35"/>
                  <a:pt x="4" y="38"/>
                </a:cubicBezTo>
                <a:cubicBezTo>
                  <a:pt x="5" y="38"/>
                  <a:pt x="5" y="38"/>
                  <a:pt x="6" y="39"/>
                </a:cubicBezTo>
                <a:cubicBezTo>
                  <a:pt x="6" y="39"/>
                  <a:pt x="8" y="38"/>
                  <a:pt x="10" y="38"/>
                </a:cubicBezTo>
                <a:cubicBezTo>
                  <a:pt x="12" y="38"/>
                  <a:pt x="12" y="38"/>
                  <a:pt x="14" y="37"/>
                </a:cubicBezTo>
                <a:cubicBezTo>
                  <a:pt x="17" y="35"/>
                  <a:pt x="15" y="35"/>
                  <a:pt x="17" y="36"/>
                </a:cubicBezTo>
                <a:cubicBezTo>
                  <a:pt x="19" y="38"/>
                  <a:pt x="23" y="36"/>
                  <a:pt x="25" y="36"/>
                </a:cubicBezTo>
                <a:cubicBezTo>
                  <a:pt x="31" y="36"/>
                  <a:pt x="31" y="36"/>
                  <a:pt x="31" y="36"/>
                </a:cubicBezTo>
                <a:cubicBezTo>
                  <a:pt x="33" y="36"/>
                  <a:pt x="34" y="35"/>
                  <a:pt x="34" y="38"/>
                </a:cubicBezTo>
                <a:cubicBezTo>
                  <a:pt x="34" y="41"/>
                  <a:pt x="33" y="42"/>
                  <a:pt x="30" y="42"/>
                </a:cubicBezTo>
                <a:cubicBezTo>
                  <a:pt x="28" y="42"/>
                  <a:pt x="20" y="42"/>
                  <a:pt x="17" y="42"/>
                </a:cubicBezTo>
                <a:cubicBezTo>
                  <a:pt x="14" y="42"/>
                  <a:pt x="13" y="44"/>
                  <a:pt x="13" y="44"/>
                </a:cubicBezTo>
                <a:cubicBezTo>
                  <a:pt x="6" y="45"/>
                  <a:pt x="6" y="45"/>
                  <a:pt x="6" y="45"/>
                </a:cubicBezTo>
                <a:cubicBezTo>
                  <a:pt x="6" y="45"/>
                  <a:pt x="6" y="46"/>
                  <a:pt x="6" y="46"/>
                </a:cubicBezTo>
                <a:cubicBezTo>
                  <a:pt x="6" y="46"/>
                  <a:pt x="8" y="47"/>
                  <a:pt x="8" y="47"/>
                </a:cubicBezTo>
                <a:cubicBezTo>
                  <a:pt x="4" y="48"/>
                  <a:pt x="8" y="51"/>
                  <a:pt x="9" y="52"/>
                </a:cubicBezTo>
                <a:cubicBezTo>
                  <a:pt x="13" y="51"/>
                  <a:pt x="13" y="51"/>
                  <a:pt x="13" y="51"/>
                </a:cubicBezTo>
                <a:cubicBezTo>
                  <a:pt x="17" y="48"/>
                  <a:pt x="17" y="48"/>
                  <a:pt x="17" y="48"/>
                </a:cubicBezTo>
                <a:cubicBezTo>
                  <a:pt x="17" y="48"/>
                  <a:pt x="28" y="48"/>
                  <a:pt x="31" y="48"/>
                </a:cubicBezTo>
                <a:cubicBezTo>
                  <a:pt x="33" y="49"/>
                  <a:pt x="35" y="50"/>
                  <a:pt x="37" y="49"/>
                </a:cubicBezTo>
                <a:cubicBezTo>
                  <a:pt x="39" y="48"/>
                  <a:pt x="40" y="49"/>
                  <a:pt x="42" y="50"/>
                </a:cubicBezTo>
                <a:cubicBezTo>
                  <a:pt x="44" y="51"/>
                  <a:pt x="50" y="49"/>
                  <a:pt x="50" y="49"/>
                </a:cubicBezTo>
                <a:cubicBezTo>
                  <a:pt x="50" y="49"/>
                  <a:pt x="49" y="44"/>
                  <a:pt x="49" y="43"/>
                </a:cubicBezTo>
                <a:cubicBezTo>
                  <a:pt x="49" y="41"/>
                  <a:pt x="48" y="41"/>
                  <a:pt x="46" y="39"/>
                </a:cubicBezTo>
                <a:cubicBezTo>
                  <a:pt x="45" y="38"/>
                  <a:pt x="45" y="36"/>
                  <a:pt x="45" y="36"/>
                </a:cubicBezTo>
                <a:cubicBezTo>
                  <a:pt x="45" y="36"/>
                  <a:pt x="48" y="29"/>
                  <a:pt x="46" y="28"/>
                </a:cubicBezTo>
                <a:cubicBezTo>
                  <a:pt x="45" y="28"/>
                  <a:pt x="46" y="23"/>
                  <a:pt x="46" y="23"/>
                </a:cubicBezTo>
                <a:cubicBezTo>
                  <a:pt x="46" y="23"/>
                  <a:pt x="44" y="21"/>
                  <a:pt x="44" y="20"/>
                </a:cubicBezTo>
                <a:cubicBezTo>
                  <a:pt x="44" y="18"/>
                  <a:pt x="40" y="21"/>
                  <a:pt x="39" y="18"/>
                </a:cubicBezTo>
                <a:cubicBezTo>
                  <a:pt x="38" y="15"/>
                  <a:pt x="39" y="13"/>
                  <a:pt x="38" y="12"/>
                </a:cubicBezTo>
                <a:cubicBezTo>
                  <a:pt x="36" y="12"/>
                  <a:pt x="33" y="13"/>
                  <a:pt x="33" y="10"/>
                </a:cubicBezTo>
                <a:cubicBezTo>
                  <a:pt x="33" y="7"/>
                  <a:pt x="32" y="6"/>
                  <a:pt x="31" y="5"/>
                </a:cubicBezTo>
                <a:cubicBezTo>
                  <a:pt x="29" y="4"/>
                  <a:pt x="29" y="2"/>
                  <a:pt x="26" y="2"/>
                </a:cubicBezTo>
                <a:cubicBezTo>
                  <a:pt x="22" y="3"/>
                  <a:pt x="22" y="3"/>
                  <a:pt x="20" y="3"/>
                </a:cubicBezTo>
                <a:cubicBezTo>
                  <a:pt x="17" y="2"/>
                  <a:pt x="16" y="0"/>
                  <a:pt x="15" y="3"/>
                </a:cubicBezTo>
                <a:cubicBezTo>
                  <a:pt x="14" y="5"/>
                  <a:pt x="11" y="5"/>
                  <a:pt x="11" y="5"/>
                </a:cubicBezTo>
                <a:lnTo>
                  <a:pt x="9" y="7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8" name="Google Shape;468;p102"/>
          <p:cNvSpPr/>
          <p:nvPr/>
        </p:nvSpPr>
        <p:spPr>
          <a:xfrm>
            <a:off x="7104635" y="3746601"/>
            <a:ext cx="523752" cy="484580"/>
          </a:xfrm>
          <a:custGeom>
            <a:avLst/>
            <a:gdLst/>
            <a:ahLst/>
            <a:cxnLst/>
            <a:rect l="l" t="t" r="r" b="b"/>
            <a:pathLst>
              <a:path w="182" h="175" extrusionOk="0">
                <a:moveTo>
                  <a:pt x="69" y="167"/>
                </a:moveTo>
                <a:cubicBezTo>
                  <a:pt x="69" y="167"/>
                  <a:pt x="72" y="166"/>
                  <a:pt x="72" y="165"/>
                </a:cubicBezTo>
                <a:cubicBezTo>
                  <a:pt x="72" y="163"/>
                  <a:pt x="73" y="164"/>
                  <a:pt x="73" y="162"/>
                </a:cubicBezTo>
                <a:cubicBezTo>
                  <a:pt x="73" y="160"/>
                  <a:pt x="73" y="161"/>
                  <a:pt x="74" y="160"/>
                </a:cubicBezTo>
                <a:cubicBezTo>
                  <a:pt x="75" y="159"/>
                  <a:pt x="75" y="158"/>
                  <a:pt x="77" y="158"/>
                </a:cubicBezTo>
                <a:cubicBezTo>
                  <a:pt x="80" y="157"/>
                  <a:pt x="78" y="159"/>
                  <a:pt x="80" y="160"/>
                </a:cubicBezTo>
                <a:cubicBezTo>
                  <a:pt x="82" y="161"/>
                  <a:pt x="82" y="161"/>
                  <a:pt x="85" y="160"/>
                </a:cubicBezTo>
                <a:cubicBezTo>
                  <a:pt x="88" y="160"/>
                  <a:pt x="100" y="164"/>
                  <a:pt x="100" y="164"/>
                </a:cubicBezTo>
                <a:cubicBezTo>
                  <a:pt x="102" y="175"/>
                  <a:pt x="102" y="175"/>
                  <a:pt x="102" y="175"/>
                </a:cubicBezTo>
                <a:cubicBezTo>
                  <a:pt x="101" y="175"/>
                  <a:pt x="106" y="170"/>
                  <a:pt x="106" y="170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48" y="145"/>
                  <a:pt x="148" y="145"/>
                  <a:pt x="148" y="145"/>
                </a:cubicBezTo>
                <a:cubicBezTo>
                  <a:pt x="148" y="145"/>
                  <a:pt x="171" y="135"/>
                  <a:pt x="176" y="132"/>
                </a:cubicBezTo>
                <a:cubicBezTo>
                  <a:pt x="178" y="131"/>
                  <a:pt x="182" y="108"/>
                  <a:pt x="182" y="107"/>
                </a:cubicBezTo>
                <a:cubicBezTo>
                  <a:pt x="176" y="99"/>
                  <a:pt x="176" y="99"/>
                  <a:pt x="176" y="99"/>
                </a:cubicBezTo>
                <a:cubicBezTo>
                  <a:pt x="176" y="99"/>
                  <a:pt x="176" y="100"/>
                  <a:pt x="174" y="100"/>
                </a:cubicBezTo>
                <a:cubicBezTo>
                  <a:pt x="172" y="100"/>
                  <a:pt x="145" y="95"/>
                  <a:pt x="145" y="95"/>
                </a:cubicBezTo>
                <a:cubicBezTo>
                  <a:pt x="145" y="86"/>
                  <a:pt x="145" y="86"/>
                  <a:pt x="145" y="86"/>
                </a:cubicBezTo>
                <a:cubicBezTo>
                  <a:pt x="140" y="81"/>
                  <a:pt x="140" y="81"/>
                  <a:pt x="140" y="81"/>
                </a:cubicBezTo>
                <a:cubicBezTo>
                  <a:pt x="140" y="77"/>
                  <a:pt x="140" y="77"/>
                  <a:pt x="140" y="77"/>
                </a:cubicBezTo>
                <a:cubicBezTo>
                  <a:pt x="136" y="74"/>
                  <a:pt x="136" y="74"/>
                  <a:pt x="136" y="74"/>
                </a:cubicBezTo>
                <a:cubicBezTo>
                  <a:pt x="136" y="74"/>
                  <a:pt x="136" y="74"/>
                  <a:pt x="136" y="74"/>
                </a:cubicBezTo>
                <a:cubicBezTo>
                  <a:pt x="135" y="74"/>
                  <a:pt x="135" y="74"/>
                  <a:pt x="135" y="74"/>
                </a:cubicBezTo>
                <a:cubicBezTo>
                  <a:pt x="134" y="73"/>
                  <a:pt x="134" y="73"/>
                  <a:pt x="133" y="72"/>
                </a:cubicBezTo>
                <a:cubicBezTo>
                  <a:pt x="133" y="71"/>
                  <a:pt x="133" y="71"/>
                  <a:pt x="133" y="71"/>
                </a:cubicBezTo>
                <a:cubicBezTo>
                  <a:pt x="133" y="73"/>
                  <a:pt x="133" y="67"/>
                  <a:pt x="133" y="65"/>
                </a:cubicBezTo>
                <a:cubicBezTo>
                  <a:pt x="133" y="65"/>
                  <a:pt x="134" y="61"/>
                  <a:pt x="133" y="59"/>
                </a:cubicBezTo>
                <a:cubicBezTo>
                  <a:pt x="132" y="59"/>
                  <a:pt x="132" y="59"/>
                  <a:pt x="132" y="59"/>
                </a:cubicBezTo>
                <a:cubicBezTo>
                  <a:pt x="131" y="59"/>
                  <a:pt x="130" y="56"/>
                  <a:pt x="129" y="55"/>
                </a:cubicBezTo>
                <a:cubicBezTo>
                  <a:pt x="128" y="54"/>
                  <a:pt x="126" y="54"/>
                  <a:pt x="126" y="53"/>
                </a:cubicBezTo>
                <a:cubicBezTo>
                  <a:pt x="125" y="53"/>
                  <a:pt x="125" y="49"/>
                  <a:pt x="126" y="48"/>
                </a:cubicBezTo>
                <a:cubicBezTo>
                  <a:pt x="125" y="48"/>
                  <a:pt x="124" y="48"/>
                  <a:pt x="124" y="48"/>
                </a:cubicBezTo>
                <a:cubicBezTo>
                  <a:pt x="123" y="47"/>
                  <a:pt x="123" y="46"/>
                  <a:pt x="123" y="45"/>
                </a:cubicBezTo>
                <a:cubicBezTo>
                  <a:pt x="123" y="45"/>
                  <a:pt x="121" y="45"/>
                  <a:pt x="121" y="45"/>
                </a:cubicBezTo>
                <a:cubicBezTo>
                  <a:pt x="121" y="45"/>
                  <a:pt x="121" y="44"/>
                  <a:pt x="121" y="43"/>
                </a:cubicBezTo>
                <a:cubicBezTo>
                  <a:pt x="121" y="42"/>
                  <a:pt x="118" y="39"/>
                  <a:pt x="118" y="37"/>
                </a:cubicBezTo>
                <a:cubicBezTo>
                  <a:pt x="117" y="36"/>
                  <a:pt x="118" y="35"/>
                  <a:pt x="118" y="34"/>
                </a:cubicBezTo>
                <a:cubicBezTo>
                  <a:pt x="116" y="34"/>
                  <a:pt x="116" y="34"/>
                  <a:pt x="116" y="34"/>
                </a:cubicBezTo>
                <a:cubicBezTo>
                  <a:pt x="109" y="34"/>
                  <a:pt x="109" y="34"/>
                  <a:pt x="109" y="34"/>
                </a:cubicBezTo>
                <a:cubicBezTo>
                  <a:pt x="108" y="30"/>
                  <a:pt x="108" y="30"/>
                  <a:pt x="108" y="30"/>
                </a:cubicBezTo>
                <a:cubicBezTo>
                  <a:pt x="96" y="28"/>
                  <a:pt x="96" y="28"/>
                  <a:pt x="96" y="28"/>
                </a:cubicBezTo>
                <a:cubicBezTo>
                  <a:pt x="80" y="26"/>
                  <a:pt x="80" y="26"/>
                  <a:pt x="80" y="26"/>
                </a:cubicBezTo>
                <a:cubicBezTo>
                  <a:pt x="74" y="23"/>
                  <a:pt x="74" y="23"/>
                  <a:pt x="74" y="23"/>
                </a:cubicBezTo>
                <a:cubicBezTo>
                  <a:pt x="73" y="17"/>
                  <a:pt x="73" y="17"/>
                  <a:pt x="73" y="17"/>
                </a:cubicBezTo>
                <a:cubicBezTo>
                  <a:pt x="67" y="17"/>
                  <a:pt x="67" y="17"/>
                  <a:pt x="67" y="17"/>
                </a:cubicBezTo>
                <a:cubicBezTo>
                  <a:pt x="66" y="14"/>
                  <a:pt x="66" y="14"/>
                  <a:pt x="66" y="14"/>
                </a:cubicBezTo>
                <a:cubicBezTo>
                  <a:pt x="42" y="0"/>
                  <a:pt x="42" y="0"/>
                  <a:pt x="42" y="0"/>
                </a:cubicBezTo>
                <a:cubicBezTo>
                  <a:pt x="42" y="2"/>
                  <a:pt x="42" y="2"/>
                  <a:pt x="42" y="2"/>
                </a:cubicBezTo>
                <a:cubicBezTo>
                  <a:pt x="24" y="7"/>
                  <a:pt x="24" y="7"/>
                  <a:pt x="24" y="7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15"/>
                  <a:pt x="26" y="17"/>
                  <a:pt x="25" y="19"/>
                </a:cubicBezTo>
                <a:cubicBezTo>
                  <a:pt x="25" y="22"/>
                  <a:pt x="23" y="21"/>
                  <a:pt x="22" y="23"/>
                </a:cubicBezTo>
                <a:cubicBezTo>
                  <a:pt x="21" y="25"/>
                  <a:pt x="19" y="27"/>
                  <a:pt x="19" y="27"/>
                </a:cubicBezTo>
                <a:cubicBezTo>
                  <a:pt x="13" y="31"/>
                  <a:pt x="13" y="31"/>
                  <a:pt x="13" y="31"/>
                </a:cubicBezTo>
                <a:cubicBezTo>
                  <a:pt x="3" y="31"/>
                  <a:pt x="3" y="31"/>
                  <a:pt x="3" y="31"/>
                </a:cubicBezTo>
                <a:cubicBezTo>
                  <a:pt x="3" y="31"/>
                  <a:pt x="2" y="31"/>
                  <a:pt x="1" y="37"/>
                </a:cubicBezTo>
                <a:cubicBezTo>
                  <a:pt x="1" y="37"/>
                  <a:pt x="1" y="37"/>
                  <a:pt x="1" y="37"/>
                </a:cubicBezTo>
                <a:cubicBezTo>
                  <a:pt x="1" y="37"/>
                  <a:pt x="1" y="39"/>
                  <a:pt x="1" y="40"/>
                </a:cubicBezTo>
                <a:cubicBezTo>
                  <a:pt x="0" y="39"/>
                  <a:pt x="1" y="41"/>
                  <a:pt x="1" y="42"/>
                </a:cubicBezTo>
                <a:cubicBezTo>
                  <a:pt x="2" y="42"/>
                  <a:pt x="3" y="42"/>
                  <a:pt x="4" y="42"/>
                </a:cubicBezTo>
                <a:cubicBezTo>
                  <a:pt x="4" y="42"/>
                  <a:pt x="7" y="42"/>
                  <a:pt x="9" y="46"/>
                </a:cubicBezTo>
                <a:cubicBezTo>
                  <a:pt x="9" y="48"/>
                  <a:pt x="10" y="53"/>
                  <a:pt x="11" y="54"/>
                </a:cubicBezTo>
                <a:cubicBezTo>
                  <a:pt x="12" y="55"/>
                  <a:pt x="14" y="55"/>
                  <a:pt x="15" y="57"/>
                </a:cubicBezTo>
                <a:cubicBezTo>
                  <a:pt x="15" y="58"/>
                  <a:pt x="14" y="59"/>
                  <a:pt x="15" y="60"/>
                </a:cubicBezTo>
                <a:cubicBezTo>
                  <a:pt x="15" y="60"/>
                  <a:pt x="17" y="60"/>
                  <a:pt x="17" y="61"/>
                </a:cubicBezTo>
                <a:cubicBezTo>
                  <a:pt x="18" y="62"/>
                  <a:pt x="17" y="63"/>
                  <a:pt x="17" y="64"/>
                </a:cubicBezTo>
                <a:cubicBezTo>
                  <a:pt x="18" y="65"/>
                  <a:pt x="21" y="65"/>
                  <a:pt x="21" y="66"/>
                </a:cubicBezTo>
                <a:cubicBezTo>
                  <a:pt x="21" y="68"/>
                  <a:pt x="21" y="68"/>
                  <a:pt x="21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25" y="71"/>
                  <a:pt x="24" y="78"/>
                  <a:pt x="26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9" y="82"/>
                  <a:pt x="34" y="88"/>
                  <a:pt x="35" y="90"/>
                </a:cubicBezTo>
                <a:cubicBezTo>
                  <a:pt x="36" y="92"/>
                  <a:pt x="38" y="104"/>
                  <a:pt x="38" y="106"/>
                </a:cubicBezTo>
                <a:cubicBezTo>
                  <a:pt x="38" y="107"/>
                  <a:pt x="36" y="108"/>
                  <a:pt x="35" y="109"/>
                </a:cubicBezTo>
                <a:cubicBezTo>
                  <a:pt x="36" y="109"/>
                  <a:pt x="35" y="112"/>
                  <a:pt x="35" y="112"/>
                </a:cubicBezTo>
                <a:cubicBezTo>
                  <a:pt x="36" y="112"/>
                  <a:pt x="37" y="112"/>
                  <a:pt x="38" y="112"/>
                </a:cubicBezTo>
                <a:cubicBezTo>
                  <a:pt x="38" y="115"/>
                  <a:pt x="38" y="121"/>
                  <a:pt x="39" y="124"/>
                </a:cubicBezTo>
                <a:cubicBezTo>
                  <a:pt x="39" y="125"/>
                  <a:pt x="41" y="127"/>
                  <a:pt x="41" y="127"/>
                </a:cubicBezTo>
                <a:cubicBezTo>
                  <a:pt x="41" y="128"/>
                  <a:pt x="41" y="129"/>
                  <a:pt x="41" y="129"/>
                </a:cubicBezTo>
                <a:cubicBezTo>
                  <a:pt x="41" y="130"/>
                  <a:pt x="43" y="130"/>
                  <a:pt x="43" y="130"/>
                </a:cubicBezTo>
                <a:cubicBezTo>
                  <a:pt x="44" y="131"/>
                  <a:pt x="45" y="133"/>
                  <a:pt x="46" y="134"/>
                </a:cubicBezTo>
                <a:cubicBezTo>
                  <a:pt x="47" y="135"/>
                  <a:pt x="47" y="134"/>
                  <a:pt x="48" y="133"/>
                </a:cubicBezTo>
                <a:cubicBezTo>
                  <a:pt x="49" y="135"/>
                  <a:pt x="52" y="137"/>
                  <a:pt x="53" y="138"/>
                </a:cubicBezTo>
                <a:cubicBezTo>
                  <a:pt x="54" y="139"/>
                  <a:pt x="56" y="141"/>
                  <a:pt x="56" y="142"/>
                </a:cubicBezTo>
                <a:cubicBezTo>
                  <a:pt x="56" y="143"/>
                  <a:pt x="55" y="144"/>
                  <a:pt x="56" y="145"/>
                </a:cubicBezTo>
                <a:cubicBezTo>
                  <a:pt x="57" y="147"/>
                  <a:pt x="59" y="148"/>
                  <a:pt x="59" y="150"/>
                </a:cubicBezTo>
                <a:cubicBezTo>
                  <a:pt x="60" y="153"/>
                  <a:pt x="58" y="153"/>
                  <a:pt x="59" y="155"/>
                </a:cubicBezTo>
                <a:cubicBezTo>
                  <a:pt x="60" y="156"/>
                  <a:pt x="62" y="157"/>
                  <a:pt x="63" y="158"/>
                </a:cubicBezTo>
                <a:cubicBezTo>
                  <a:pt x="64" y="159"/>
                  <a:pt x="64" y="162"/>
                  <a:pt x="65" y="163"/>
                </a:cubicBezTo>
                <a:cubicBezTo>
                  <a:pt x="66" y="164"/>
                  <a:pt x="69" y="166"/>
                  <a:pt x="69" y="167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9" name="Google Shape;469;p102"/>
          <p:cNvSpPr/>
          <p:nvPr/>
        </p:nvSpPr>
        <p:spPr>
          <a:xfrm>
            <a:off x="6952057" y="4766621"/>
            <a:ext cx="60150" cy="49447"/>
          </a:xfrm>
          <a:custGeom>
            <a:avLst/>
            <a:gdLst/>
            <a:ahLst/>
            <a:cxnLst/>
            <a:rect l="l" t="t" r="r" b="b"/>
            <a:pathLst>
              <a:path w="21" h="18" extrusionOk="0">
                <a:moveTo>
                  <a:pt x="2" y="8"/>
                </a:moveTo>
                <a:cubicBezTo>
                  <a:pt x="2" y="8"/>
                  <a:pt x="1" y="8"/>
                  <a:pt x="1" y="8"/>
                </a:cubicBezTo>
                <a:cubicBezTo>
                  <a:pt x="1" y="8"/>
                  <a:pt x="0" y="9"/>
                  <a:pt x="0" y="11"/>
                </a:cubicBezTo>
                <a:cubicBezTo>
                  <a:pt x="1" y="13"/>
                  <a:pt x="5" y="14"/>
                  <a:pt x="5" y="14"/>
                </a:cubicBezTo>
                <a:cubicBezTo>
                  <a:pt x="5" y="14"/>
                  <a:pt x="6" y="11"/>
                  <a:pt x="8" y="13"/>
                </a:cubicBezTo>
                <a:cubicBezTo>
                  <a:pt x="10" y="16"/>
                  <a:pt x="9" y="18"/>
                  <a:pt x="12" y="16"/>
                </a:cubicBezTo>
                <a:cubicBezTo>
                  <a:pt x="14" y="14"/>
                  <a:pt x="13" y="11"/>
                  <a:pt x="15" y="12"/>
                </a:cubicBezTo>
                <a:cubicBezTo>
                  <a:pt x="16" y="13"/>
                  <a:pt x="21" y="13"/>
                  <a:pt x="21" y="13"/>
                </a:cubicBezTo>
                <a:cubicBezTo>
                  <a:pt x="21" y="13"/>
                  <a:pt x="21" y="13"/>
                  <a:pt x="21" y="10"/>
                </a:cubicBezTo>
                <a:cubicBezTo>
                  <a:pt x="21" y="8"/>
                  <a:pt x="21" y="5"/>
                  <a:pt x="21" y="5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6" y="1"/>
                  <a:pt x="14" y="3"/>
                </a:cubicBezTo>
                <a:cubicBezTo>
                  <a:pt x="13" y="4"/>
                  <a:pt x="11" y="4"/>
                  <a:pt x="10" y="3"/>
                </a:cubicBezTo>
                <a:cubicBezTo>
                  <a:pt x="8" y="1"/>
                  <a:pt x="5" y="0"/>
                  <a:pt x="5" y="0"/>
                </a:cubicBezTo>
                <a:cubicBezTo>
                  <a:pt x="5" y="0"/>
                  <a:pt x="5" y="0"/>
                  <a:pt x="5" y="1"/>
                </a:cubicBezTo>
                <a:cubicBezTo>
                  <a:pt x="7" y="3"/>
                  <a:pt x="6" y="4"/>
                  <a:pt x="5" y="7"/>
                </a:cubicBezTo>
                <a:cubicBezTo>
                  <a:pt x="4" y="8"/>
                  <a:pt x="2" y="8"/>
                  <a:pt x="2" y="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0" name="Google Shape;470;p102"/>
          <p:cNvSpPr/>
          <p:nvPr/>
        </p:nvSpPr>
        <p:spPr>
          <a:xfrm>
            <a:off x="6952057" y="4766621"/>
            <a:ext cx="60150" cy="49447"/>
          </a:xfrm>
          <a:custGeom>
            <a:avLst/>
            <a:gdLst/>
            <a:ahLst/>
            <a:cxnLst/>
            <a:rect l="l" t="t" r="r" b="b"/>
            <a:pathLst>
              <a:path w="21" h="18" extrusionOk="0">
                <a:moveTo>
                  <a:pt x="2" y="8"/>
                </a:moveTo>
                <a:cubicBezTo>
                  <a:pt x="2" y="8"/>
                  <a:pt x="1" y="8"/>
                  <a:pt x="1" y="8"/>
                </a:cubicBezTo>
                <a:cubicBezTo>
                  <a:pt x="1" y="8"/>
                  <a:pt x="0" y="9"/>
                  <a:pt x="0" y="11"/>
                </a:cubicBezTo>
                <a:cubicBezTo>
                  <a:pt x="1" y="13"/>
                  <a:pt x="5" y="14"/>
                  <a:pt x="5" y="14"/>
                </a:cubicBezTo>
                <a:cubicBezTo>
                  <a:pt x="5" y="14"/>
                  <a:pt x="6" y="11"/>
                  <a:pt x="8" y="13"/>
                </a:cubicBezTo>
                <a:cubicBezTo>
                  <a:pt x="10" y="16"/>
                  <a:pt x="9" y="18"/>
                  <a:pt x="12" y="16"/>
                </a:cubicBezTo>
                <a:cubicBezTo>
                  <a:pt x="14" y="14"/>
                  <a:pt x="13" y="11"/>
                  <a:pt x="15" y="12"/>
                </a:cubicBezTo>
                <a:cubicBezTo>
                  <a:pt x="16" y="13"/>
                  <a:pt x="21" y="13"/>
                  <a:pt x="21" y="13"/>
                </a:cubicBezTo>
                <a:cubicBezTo>
                  <a:pt x="21" y="13"/>
                  <a:pt x="21" y="13"/>
                  <a:pt x="21" y="10"/>
                </a:cubicBezTo>
                <a:cubicBezTo>
                  <a:pt x="21" y="8"/>
                  <a:pt x="21" y="5"/>
                  <a:pt x="21" y="5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6" y="1"/>
                  <a:pt x="14" y="3"/>
                </a:cubicBezTo>
                <a:cubicBezTo>
                  <a:pt x="13" y="4"/>
                  <a:pt x="11" y="4"/>
                  <a:pt x="10" y="3"/>
                </a:cubicBezTo>
                <a:cubicBezTo>
                  <a:pt x="8" y="1"/>
                  <a:pt x="5" y="0"/>
                  <a:pt x="5" y="0"/>
                </a:cubicBezTo>
                <a:cubicBezTo>
                  <a:pt x="5" y="0"/>
                  <a:pt x="5" y="0"/>
                  <a:pt x="5" y="1"/>
                </a:cubicBezTo>
                <a:cubicBezTo>
                  <a:pt x="7" y="3"/>
                  <a:pt x="6" y="4"/>
                  <a:pt x="5" y="7"/>
                </a:cubicBezTo>
                <a:cubicBezTo>
                  <a:pt x="4" y="8"/>
                  <a:pt x="2" y="8"/>
                  <a:pt x="2" y="8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1" name="Google Shape;471;p102"/>
          <p:cNvSpPr/>
          <p:nvPr/>
        </p:nvSpPr>
        <p:spPr>
          <a:xfrm>
            <a:off x="6733068" y="1710798"/>
            <a:ext cx="4223758" cy="1736295"/>
          </a:xfrm>
          <a:custGeom>
            <a:avLst/>
            <a:gdLst/>
            <a:ahLst/>
            <a:cxnLst/>
            <a:rect l="l" t="t" r="r" b="b"/>
            <a:pathLst>
              <a:path w="1468" h="626" extrusionOk="0">
                <a:moveTo>
                  <a:pt x="1333" y="349"/>
                </a:moveTo>
                <a:cubicBezTo>
                  <a:pt x="1336" y="347"/>
                  <a:pt x="1339" y="348"/>
                  <a:pt x="1342" y="346"/>
                </a:cubicBezTo>
                <a:cubicBezTo>
                  <a:pt x="1342" y="346"/>
                  <a:pt x="1343" y="345"/>
                  <a:pt x="1343" y="345"/>
                </a:cubicBezTo>
                <a:cubicBezTo>
                  <a:pt x="1346" y="343"/>
                  <a:pt x="1350" y="342"/>
                  <a:pt x="1354" y="341"/>
                </a:cubicBezTo>
                <a:cubicBezTo>
                  <a:pt x="1356" y="340"/>
                  <a:pt x="1356" y="340"/>
                  <a:pt x="1356" y="340"/>
                </a:cubicBezTo>
                <a:cubicBezTo>
                  <a:pt x="1357" y="339"/>
                  <a:pt x="1357" y="341"/>
                  <a:pt x="1358" y="341"/>
                </a:cubicBezTo>
                <a:cubicBezTo>
                  <a:pt x="1359" y="341"/>
                  <a:pt x="1363" y="339"/>
                  <a:pt x="1364" y="340"/>
                </a:cubicBezTo>
                <a:cubicBezTo>
                  <a:pt x="1365" y="340"/>
                  <a:pt x="1367" y="342"/>
                  <a:pt x="1368" y="342"/>
                </a:cubicBezTo>
                <a:cubicBezTo>
                  <a:pt x="1373" y="344"/>
                  <a:pt x="1375" y="341"/>
                  <a:pt x="1378" y="339"/>
                </a:cubicBezTo>
                <a:cubicBezTo>
                  <a:pt x="1377" y="338"/>
                  <a:pt x="1376" y="338"/>
                  <a:pt x="1376" y="338"/>
                </a:cubicBezTo>
                <a:cubicBezTo>
                  <a:pt x="1375" y="335"/>
                  <a:pt x="1378" y="334"/>
                  <a:pt x="1376" y="333"/>
                </a:cubicBezTo>
                <a:cubicBezTo>
                  <a:pt x="1374" y="332"/>
                  <a:pt x="1373" y="333"/>
                  <a:pt x="1372" y="332"/>
                </a:cubicBezTo>
                <a:cubicBezTo>
                  <a:pt x="1372" y="331"/>
                  <a:pt x="1373" y="330"/>
                  <a:pt x="1373" y="330"/>
                </a:cubicBezTo>
                <a:cubicBezTo>
                  <a:pt x="1372" y="328"/>
                  <a:pt x="1372" y="328"/>
                  <a:pt x="1372" y="328"/>
                </a:cubicBezTo>
                <a:cubicBezTo>
                  <a:pt x="1371" y="327"/>
                  <a:pt x="1372" y="326"/>
                  <a:pt x="1371" y="324"/>
                </a:cubicBezTo>
                <a:cubicBezTo>
                  <a:pt x="1371" y="324"/>
                  <a:pt x="1370" y="324"/>
                  <a:pt x="1370" y="324"/>
                </a:cubicBezTo>
                <a:cubicBezTo>
                  <a:pt x="1368" y="321"/>
                  <a:pt x="1367" y="319"/>
                  <a:pt x="1366" y="316"/>
                </a:cubicBezTo>
                <a:cubicBezTo>
                  <a:pt x="1363" y="317"/>
                  <a:pt x="1362" y="317"/>
                  <a:pt x="1360" y="317"/>
                </a:cubicBezTo>
                <a:cubicBezTo>
                  <a:pt x="1360" y="316"/>
                  <a:pt x="1360" y="314"/>
                  <a:pt x="1361" y="314"/>
                </a:cubicBezTo>
                <a:cubicBezTo>
                  <a:pt x="1361" y="313"/>
                  <a:pt x="1362" y="313"/>
                  <a:pt x="1363" y="313"/>
                </a:cubicBezTo>
                <a:cubicBezTo>
                  <a:pt x="1363" y="312"/>
                  <a:pt x="1362" y="310"/>
                  <a:pt x="1362" y="310"/>
                </a:cubicBezTo>
                <a:cubicBezTo>
                  <a:pt x="1358" y="312"/>
                  <a:pt x="1359" y="313"/>
                  <a:pt x="1355" y="310"/>
                </a:cubicBezTo>
                <a:cubicBezTo>
                  <a:pt x="1350" y="310"/>
                  <a:pt x="1350" y="310"/>
                  <a:pt x="1350" y="310"/>
                </a:cubicBezTo>
                <a:cubicBezTo>
                  <a:pt x="1351" y="310"/>
                  <a:pt x="1351" y="308"/>
                  <a:pt x="1352" y="308"/>
                </a:cubicBezTo>
                <a:cubicBezTo>
                  <a:pt x="1354" y="308"/>
                  <a:pt x="1357" y="309"/>
                  <a:pt x="1360" y="309"/>
                </a:cubicBezTo>
                <a:cubicBezTo>
                  <a:pt x="1360" y="308"/>
                  <a:pt x="1360" y="308"/>
                  <a:pt x="1360" y="308"/>
                </a:cubicBezTo>
                <a:cubicBezTo>
                  <a:pt x="1365" y="310"/>
                  <a:pt x="1370" y="312"/>
                  <a:pt x="1376" y="311"/>
                </a:cubicBezTo>
                <a:cubicBezTo>
                  <a:pt x="1378" y="311"/>
                  <a:pt x="1384" y="309"/>
                  <a:pt x="1386" y="307"/>
                </a:cubicBezTo>
                <a:cubicBezTo>
                  <a:pt x="1387" y="306"/>
                  <a:pt x="1385" y="305"/>
                  <a:pt x="1386" y="304"/>
                </a:cubicBezTo>
                <a:cubicBezTo>
                  <a:pt x="1386" y="303"/>
                  <a:pt x="1388" y="301"/>
                  <a:pt x="1389" y="300"/>
                </a:cubicBezTo>
                <a:cubicBezTo>
                  <a:pt x="1389" y="299"/>
                  <a:pt x="1388" y="298"/>
                  <a:pt x="1389" y="298"/>
                </a:cubicBezTo>
                <a:cubicBezTo>
                  <a:pt x="1387" y="297"/>
                  <a:pt x="1386" y="296"/>
                  <a:pt x="1384" y="295"/>
                </a:cubicBezTo>
                <a:cubicBezTo>
                  <a:pt x="1385" y="294"/>
                  <a:pt x="1385" y="294"/>
                  <a:pt x="1385" y="292"/>
                </a:cubicBezTo>
                <a:cubicBezTo>
                  <a:pt x="1386" y="292"/>
                  <a:pt x="1386" y="292"/>
                  <a:pt x="1386" y="292"/>
                </a:cubicBezTo>
                <a:cubicBezTo>
                  <a:pt x="1387" y="291"/>
                  <a:pt x="1386" y="289"/>
                  <a:pt x="1386" y="289"/>
                </a:cubicBezTo>
                <a:cubicBezTo>
                  <a:pt x="1386" y="288"/>
                  <a:pt x="1386" y="288"/>
                  <a:pt x="1386" y="288"/>
                </a:cubicBezTo>
                <a:cubicBezTo>
                  <a:pt x="1387" y="287"/>
                  <a:pt x="1387" y="286"/>
                  <a:pt x="1388" y="286"/>
                </a:cubicBezTo>
                <a:cubicBezTo>
                  <a:pt x="1389" y="286"/>
                  <a:pt x="1390" y="286"/>
                  <a:pt x="1392" y="286"/>
                </a:cubicBezTo>
                <a:cubicBezTo>
                  <a:pt x="1387" y="290"/>
                  <a:pt x="1392" y="290"/>
                  <a:pt x="1392" y="292"/>
                </a:cubicBezTo>
                <a:cubicBezTo>
                  <a:pt x="1392" y="293"/>
                  <a:pt x="1392" y="293"/>
                  <a:pt x="1392" y="293"/>
                </a:cubicBezTo>
                <a:cubicBezTo>
                  <a:pt x="1390" y="295"/>
                  <a:pt x="1391" y="296"/>
                  <a:pt x="1390" y="298"/>
                </a:cubicBezTo>
                <a:cubicBezTo>
                  <a:pt x="1391" y="299"/>
                  <a:pt x="1393" y="298"/>
                  <a:pt x="1394" y="299"/>
                </a:cubicBezTo>
                <a:cubicBezTo>
                  <a:pt x="1395" y="299"/>
                  <a:pt x="1396" y="302"/>
                  <a:pt x="1396" y="302"/>
                </a:cubicBezTo>
                <a:cubicBezTo>
                  <a:pt x="1398" y="302"/>
                  <a:pt x="1403" y="300"/>
                  <a:pt x="1404" y="299"/>
                </a:cubicBezTo>
                <a:cubicBezTo>
                  <a:pt x="1405" y="299"/>
                  <a:pt x="1405" y="297"/>
                  <a:pt x="1405" y="296"/>
                </a:cubicBezTo>
                <a:cubicBezTo>
                  <a:pt x="1407" y="296"/>
                  <a:pt x="1407" y="296"/>
                  <a:pt x="1407" y="296"/>
                </a:cubicBezTo>
                <a:cubicBezTo>
                  <a:pt x="1407" y="296"/>
                  <a:pt x="1407" y="298"/>
                  <a:pt x="1407" y="298"/>
                </a:cubicBezTo>
                <a:cubicBezTo>
                  <a:pt x="1409" y="298"/>
                  <a:pt x="1412" y="297"/>
                  <a:pt x="1413" y="298"/>
                </a:cubicBezTo>
                <a:cubicBezTo>
                  <a:pt x="1414" y="298"/>
                  <a:pt x="1414" y="298"/>
                  <a:pt x="1414" y="298"/>
                </a:cubicBezTo>
                <a:cubicBezTo>
                  <a:pt x="1415" y="301"/>
                  <a:pt x="1419" y="303"/>
                  <a:pt x="1418" y="306"/>
                </a:cubicBezTo>
                <a:cubicBezTo>
                  <a:pt x="1418" y="307"/>
                  <a:pt x="1417" y="308"/>
                  <a:pt x="1417" y="308"/>
                </a:cubicBezTo>
                <a:cubicBezTo>
                  <a:pt x="1418" y="309"/>
                  <a:pt x="1421" y="312"/>
                  <a:pt x="1422" y="312"/>
                </a:cubicBezTo>
                <a:cubicBezTo>
                  <a:pt x="1424" y="313"/>
                  <a:pt x="1425" y="311"/>
                  <a:pt x="1425" y="311"/>
                </a:cubicBezTo>
                <a:cubicBezTo>
                  <a:pt x="1427" y="311"/>
                  <a:pt x="1434" y="315"/>
                  <a:pt x="1435" y="316"/>
                </a:cubicBezTo>
                <a:cubicBezTo>
                  <a:pt x="1435" y="316"/>
                  <a:pt x="1435" y="318"/>
                  <a:pt x="1435" y="318"/>
                </a:cubicBezTo>
                <a:cubicBezTo>
                  <a:pt x="1437" y="318"/>
                  <a:pt x="1438" y="318"/>
                  <a:pt x="1439" y="318"/>
                </a:cubicBezTo>
                <a:cubicBezTo>
                  <a:pt x="1439" y="318"/>
                  <a:pt x="1439" y="316"/>
                  <a:pt x="1439" y="316"/>
                </a:cubicBezTo>
                <a:cubicBezTo>
                  <a:pt x="1441" y="316"/>
                  <a:pt x="1441" y="316"/>
                  <a:pt x="1441" y="316"/>
                </a:cubicBezTo>
                <a:cubicBezTo>
                  <a:pt x="1440" y="315"/>
                  <a:pt x="1442" y="315"/>
                  <a:pt x="1442" y="315"/>
                </a:cubicBezTo>
                <a:cubicBezTo>
                  <a:pt x="1442" y="315"/>
                  <a:pt x="1442" y="318"/>
                  <a:pt x="1442" y="318"/>
                </a:cubicBezTo>
                <a:cubicBezTo>
                  <a:pt x="1443" y="318"/>
                  <a:pt x="1443" y="318"/>
                  <a:pt x="1443" y="318"/>
                </a:cubicBezTo>
                <a:cubicBezTo>
                  <a:pt x="1445" y="320"/>
                  <a:pt x="1444" y="318"/>
                  <a:pt x="1446" y="319"/>
                </a:cubicBezTo>
                <a:cubicBezTo>
                  <a:pt x="1446" y="318"/>
                  <a:pt x="1446" y="318"/>
                  <a:pt x="1446" y="318"/>
                </a:cubicBezTo>
                <a:cubicBezTo>
                  <a:pt x="1448" y="318"/>
                  <a:pt x="1448" y="318"/>
                  <a:pt x="1451" y="318"/>
                </a:cubicBezTo>
                <a:cubicBezTo>
                  <a:pt x="1450" y="318"/>
                  <a:pt x="1449" y="316"/>
                  <a:pt x="1449" y="316"/>
                </a:cubicBezTo>
                <a:cubicBezTo>
                  <a:pt x="1448" y="315"/>
                  <a:pt x="1448" y="314"/>
                  <a:pt x="1447" y="314"/>
                </a:cubicBezTo>
                <a:cubicBezTo>
                  <a:pt x="1447" y="313"/>
                  <a:pt x="1448" y="312"/>
                  <a:pt x="1447" y="311"/>
                </a:cubicBezTo>
                <a:cubicBezTo>
                  <a:pt x="1447" y="311"/>
                  <a:pt x="1446" y="311"/>
                  <a:pt x="1445" y="310"/>
                </a:cubicBezTo>
                <a:cubicBezTo>
                  <a:pt x="1447" y="309"/>
                  <a:pt x="1449" y="309"/>
                  <a:pt x="1451" y="308"/>
                </a:cubicBezTo>
                <a:cubicBezTo>
                  <a:pt x="1451" y="308"/>
                  <a:pt x="1451" y="304"/>
                  <a:pt x="1451" y="304"/>
                </a:cubicBezTo>
                <a:cubicBezTo>
                  <a:pt x="1449" y="304"/>
                  <a:pt x="1449" y="305"/>
                  <a:pt x="1447" y="304"/>
                </a:cubicBezTo>
                <a:cubicBezTo>
                  <a:pt x="1447" y="301"/>
                  <a:pt x="1447" y="301"/>
                  <a:pt x="1447" y="301"/>
                </a:cubicBezTo>
                <a:cubicBezTo>
                  <a:pt x="1451" y="302"/>
                  <a:pt x="1453" y="301"/>
                  <a:pt x="1456" y="301"/>
                </a:cubicBezTo>
                <a:cubicBezTo>
                  <a:pt x="1456" y="301"/>
                  <a:pt x="1457" y="302"/>
                  <a:pt x="1458" y="302"/>
                </a:cubicBezTo>
                <a:cubicBezTo>
                  <a:pt x="1458" y="303"/>
                  <a:pt x="1458" y="303"/>
                  <a:pt x="1458" y="303"/>
                </a:cubicBezTo>
                <a:cubicBezTo>
                  <a:pt x="1459" y="303"/>
                  <a:pt x="1460" y="303"/>
                  <a:pt x="1461" y="303"/>
                </a:cubicBezTo>
                <a:cubicBezTo>
                  <a:pt x="1462" y="302"/>
                  <a:pt x="1462" y="301"/>
                  <a:pt x="1462" y="299"/>
                </a:cubicBezTo>
                <a:cubicBezTo>
                  <a:pt x="1462" y="299"/>
                  <a:pt x="1465" y="299"/>
                  <a:pt x="1465" y="299"/>
                </a:cubicBezTo>
                <a:cubicBezTo>
                  <a:pt x="1466" y="299"/>
                  <a:pt x="1464" y="296"/>
                  <a:pt x="1465" y="295"/>
                </a:cubicBezTo>
                <a:cubicBezTo>
                  <a:pt x="1466" y="294"/>
                  <a:pt x="1467" y="295"/>
                  <a:pt x="1468" y="294"/>
                </a:cubicBezTo>
                <a:cubicBezTo>
                  <a:pt x="1468" y="293"/>
                  <a:pt x="1468" y="293"/>
                  <a:pt x="1468" y="293"/>
                </a:cubicBezTo>
                <a:cubicBezTo>
                  <a:pt x="1467" y="293"/>
                  <a:pt x="1466" y="293"/>
                  <a:pt x="1465" y="293"/>
                </a:cubicBezTo>
                <a:cubicBezTo>
                  <a:pt x="1465" y="293"/>
                  <a:pt x="1464" y="291"/>
                  <a:pt x="1464" y="291"/>
                </a:cubicBezTo>
                <a:cubicBezTo>
                  <a:pt x="1461" y="289"/>
                  <a:pt x="1458" y="289"/>
                  <a:pt x="1455" y="286"/>
                </a:cubicBezTo>
                <a:cubicBezTo>
                  <a:pt x="1455" y="286"/>
                  <a:pt x="1455" y="285"/>
                  <a:pt x="1455" y="284"/>
                </a:cubicBezTo>
                <a:cubicBezTo>
                  <a:pt x="1454" y="284"/>
                  <a:pt x="1452" y="283"/>
                  <a:pt x="1451" y="282"/>
                </a:cubicBezTo>
                <a:cubicBezTo>
                  <a:pt x="1451" y="281"/>
                  <a:pt x="1451" y="280"/>
                  <a:pt x="1450" y="279"/>
                </a:cubicBezTo>
                <a:cubicBezTo>
                  <a:pt x="1449" y="278"/>
                  <a:pt x="1447" y="278"/>
                  <a:pt x="1445" y="278"/>
                </a:cubicBezTo>
                <a:cubicBezTo>
                  <a:pt x="1444" y="276"/>
                  <a:pt x="1444" y="276"/>
                  <a:pt x="1444" y="276"/>
                </a:cubicBezTo>
                <a:cubicBezTo>
                  <a:pt x="1440" y="276"/>
                  <a:pt x="1433" y="277"/>
                  <a:pt x="1429" y="278"/>
                </a:cubicBezTo>
                <a:cubicBezTo>
                  <a:pt x="1430" y="281"/>
                  <a:pt x="1430" y="282"/>
                  <a:pt x="1431" y="285"/>
                </a:cubicBezTo>
                <a:cubicBezTo>
                  <a:pt x="1429" y="284"/>
                  <a:pt x="1428" y="284"/>
                  <a:pt x="1427" y="284"/>
                </a:cubicBezTo>
                <a:cubicBezTo>
                  <a:pt x="1427" y="282"/>
                  <a:pt x="1428" y="276"/>
                  <a:pt x="1427" y="274"/>
                </a:cubicBezTo>
                <a:cubicBezTo>
                  <a:pt x="1427" y="273"/>
                  <a:pt x="1424" y="273"/>
                  <a:pt x="1423" y="272"/>
                </a:cubicBezTo>
                <a:cubicBezTo>
                  <a:pt x="1423" y="271"/>
                  <a:pt x="1423" y="269"/>
                  <a:pt x="1423" y="269"/>
                </a:cubicBezTo>
                <a:cubicBezTo>
                  <a:pt x="1421" y="268"/>
                  <a:pt x="1419" y="269"/>
                  <a:pt x="1417" y="268"/>
                </a:cubicBezTo>
                <a:cubicBezTo>
                  <a:pt x="1417" y="268"/>
                  <a:pt x="1417" y="266"/>
                  <a:pt x="1416" y="265"/>
                </a:cubicBezTo>
                <a:cubicBezTo>
                  <a:pt x="1415" y="264"/>
                  <a:pt x="1413" y="265"/>
                  <a:pt x="1411" y="264"/>
                </a:cubicBezTo>
                <a:cubicBezTo>
                  <a:pt x="1411" y="263"/>
                  <a:pt x="1410" y="262"/>
                  <a:pt x="1409" y="261"/>
                </a:cubicBezTo>
                <a:cubicBezTo>
                  <a:pt x="1409" y="261"/>
                  <a:pt x="1408" y="261"/>
                  <a:pt x="1407" y="261"/>
                </a:cubicBezTo>
                <a:cubicBezTo>
                  <a:pt x="1404" y="259"/>
                  <a:pt x="1402" y="256"/>
                  <a:pt x="1400" y="255"/>
                </a:cubicBezTo>
                <a:cubicBezTo>
                  <a:pt x="1398" y="255"/>
                  <a:pt x="1398" y="255"/>
                  <a:pt x="1398" y="255"/>
                </a:cubicBezTo>
                <a:cubicBezTo>
                  <a:pt x="1397" y="254"/>
                  <a:pt x="1399" y="254"/>
                  <a:pt x="1399" y="253"/>
                </a:cubicBezTo>
                <a:cubicBezTo>
                  <a:pt x="1399" y="252"/>
                  <a:pt x="1397" y="250"/>
                  <a:pt x="1397" y="250"/>
                </a:cubicBezTo>
                <a:cubicBezTo>
                  <a:pt x="1395" y="250"/>
                  <a:pt x="1395" y="251"/>
                  <a:pt x="1393" y="251"/>
                </a:cubicBezTo>
                <a:cubicBezTo>
                  <a:pt x="1392" y="249"/>
                  <a:pt x="1392" y="249"/>
                  <a:pt x="1392" y="249"/>
                </a:cubicBezTo>
                <a:cubicBezTo>
                  <a:pt x="1389" y="248"/>
                  <a:pt x="1388" y="248"/>
                  <a:pt x="1386" y="247"/>
                </a:cubicBezTo>
                <a:cubicBezTo>
                  <a:pt x="1385" y="244"/>
                  <a:pt x="1384" y="242"/>
                  <a:pt x="1381" y="240"/>
                </a:cubicBezTo>
                <a:cubicBezTo>
                  <a:pt x="1380" y="239"/>
                  <a:pt x="1379" y="239"/>
                  <a:pt x="1378" y="239"/>
                </a:cubicBezTo>
                <a:cubicBezTo>
                  <a:pt x="1378" y="238"/>
                  <a:pt x="1378" y="237"/>
                  <a:pt x="1378" y="236"/>
                </a:cubicBezTo>
                <a:cubicBezTo>
                  <a:pt x="1378" y="235"/>
                  <a:pt x="1377" y="234"/>
                  <a:pt x="1376" y="233"/>
                </a:cubicBezTo>
                <a:cubicBezTo>
                  <a:pt x="1374" y="233"/>
                  <a:pt x="1371" y="234"/>
                  <a:pt x="1369" y="233"/>
                </a:cubicBezTo>
                <a:cubicBezTo>
                  <a:pt x="1368" y="233"/>
                  <a:pt x="1367" y="231"/>
                  <a:pt x="1366" y="231"/>
                </a:cubicBezTo>
                <a:cubicBezTo>
                  <a:pt x="1361" y="230"/>
                  <a:pt x="1361" y="234"/>
                  <a:pt x="1356" y="232"/>
                </a:cubicBezTo>
                <a:cubicBezTo>
                  <a:pt x="1355" y="231"/>
                  <a:pt x="1354" y="228"/>
                  <a:pt x="1353" y="227"/>
                </a:cubicBezTo>
                <a:cubicBezTo>
                  <a:pt x="1351" y="225"/>
                  <a:pt x="1348" y="226"/>
                  <a:pt x="1345" y="225"/>
                </a:cubicBezTo>
                <a:cubicBezTo>
                  <a:pt x="1342" y="223"/>
                  <a:pt x="1342" y="223"/>
                  <a:pt x="1342" y="223"/>
                </a:cubicBezTo>
                <a:cubicBezTo>
                  <a:pt x="1342" y="221"/>
                  <a:pt x="1342" y="221"/>
                  <a:pt x="1342" y="221"/>
                </a:cubicBezTo>
                <a:cubicBezTo>
                  <a:pt x="1340" y="221"/>
                  <a:pt x="1340" y="222"/>
                  <a:pt x="1340" y="223"/>
                </a:cubicBezTo>
                <a:cubicBezTo>
                  <a:pt x="1337" y="223"/>
                  <a:pt x="1333" y="223"/>
                  <a:pt x="1330" y="223"/>
                </a:cubicBezTo>
                <a:cubicBezTo>
                  <a:pt x="1329" y="222"/>
                  <a:pt x="1326" y="221"/>
                  <a:pt x="1324" y="221"/>
                </a:cubicBezTo>
                <a:cubicBezTo>
                  <a:pt x="1323" y="221"/>
                  <a:pt x="1323" y="223"/>
                  <a:pt x="1320" y="223"/>
                </a:cubicBezTo>
                <a:cubicBezTo>
                  <a:pt x="1320" y="223"/>
                  <a:pt x="1319" y="221"/>
                  <a:pt x="1318" y="221"/>
                </a:cubicBezTo>
                <a:cubicBezTo>
                  <a:pt x="1315" y="220"/>
                  <a:pt x="1311" y="222"/>
                  <a:pt x="1307" y="221"/>
                </a:cubicBezTo>
                <a:cubicBezTo>
                  <a:pt x="1306" y="221"/>
                  <a:pt x="1305" y="219"/>
                  <a:pt x="1304" y="219"/>
                </a:cubicBezTo>
                <a:cubicBezTo>
                  <a:pt x="1304" y="219"/>
                  <a:pt x="1303" y="220"/>
                  <a:pt x="1302" y="219"/>
                </a:cubicBezTo>
                <a:cubicBezTo>
                  <a:pt x="1303" y="224"/>
                  <a:pt x="1303" y="224"/>
                  <a:pt x="1302" y="228"/>
                </a:cubicBezTo>
                <a:cubicBezTo>
                  <a:pt x="1302" y="228"/>
                  <a:pt x="1303" y="228"/>
                  <a:pt x="1304" y="228"/>
                </a:cubicBezTo>
                <a:cubicBezTo>
                  <a:pt x="1304" y="229"/>
                  <a:pt x="1306" y="229"/>
                  <a:pt x="1306" y="230"/>
                </a:cubicBezTo>
                <a:cubicBezTo>
                  <a:pt x="1307" y="232"/>
                  <a:pt x="1306" y="235"/>
                  <a:pt x="1306" y="237"/>
                </a:cubicBezTo>
                <a:cubicBezTo>
                  <a:pt x="1306" y="238"/>
                  <a:pt x="1304" y="237"/>
                  <a:pt x="1304" y="237"/>
                </a:cubicBezTo>
                <a:cubicBezTo>
                  <a:pt x="1304" y="237"/>
                  <a:pt x="1302" y="240"/>
                  <a:pt x="1302" y="241"/>
                </a:cubicBezTo>
                <a:cubicBezTo>
                  <a:pt x="1301" y="241"/>
                  <a:pt x="1300" y="240"/>
                  <a:pt x="1300" y="241"/>
                </a:cubicBezTo>
                <a:cubicBezTo>
                  <a:pt x="1300" y="241"/>
                  <a:pt x="1300" y="243"/>
                  <a:pt x="1300" y="243"/>
                </a:cubicBezTo>
                <a:cubicBezTo>
                  <a:pt x="1299" y="244"/>
                  <a:pt x="1296" y="243"/>
                  <a:pt x="1295" y="243"/>
                </a:cubicBezTo>
                <a:cubicBezTo>
                  <a:pt x="1295" y="243"/>
                  <a:pt x="1295" y="244"/>
                  <a:pt x="1294" y="245"/>
                </a:cubicBezTo>
                <a:cubicBezTo>
                  <a:pt x="1293" y="245"/>
                  <a:pt x="1291" y="245"/>
                  <a:pt x="1289" y="245"/>
                </a:cubicBezTo>
                <a:cubicBezTo>
                  <a:pt x="1288" y="243"/>
                  <a:pt x="1287" y="238"/>
                  <a:pt x="1287" y="236"/>
                </a:cubicBezTo>
                <a:cubicBezTo>
                  <a:pt x="1286" y="235"/>
                  <a:pt x="1284" y="236"/>
                  <a:pt x="1283" y="235"/>
                </a:cubicBezTo>
                <a:cubicBezTo>
                  <a:pt x="1282" y="233"/>
                  <a:pt x="1283" y="228"/>
                  <a:pt x="1283" y="227"/>
                </a:cubicBezTo>
                <a:cubicBezTo>
                  <a:pt x="1281" y="228"/>
                  <a:pt x="1279" y="230"/>
                  <a:pt x="1279" y="231"/>
                </a:cubicBezTo>
                <a:cubicBezTo>
                  <a:pt x="1277" y="231"/>
                  <a:pt x="1279" y="230"/>
                  <a:pt x="1277" y="230"/>
                </a:cubicBezTo>
                <a:cubicBezTo>
                  <a:pt x="1275" y="230"/>
                  <a:pt x="1271" y="233"/>
                  <a:pt x="1269" y="233"/>
                </a:cubicBezTo>
                <a:cubicBezTo>
                  <a:pt x="1268" y="233"/>
                  <a:pt x="1269" y="230"/>
                  <a:pt x="1269" y="230"/>
                </a:cubicBezTo>
                <a:cubicBezTo>
                  <a:pt x="1267" y="229"/>
                  <a:pt x="1263" y="228"/>
                  <a:pt x="1262" y="228"/>
                </a:cubicBezTo>
                <a:cubicBezTo>
                  <a:pt x="1261" y="228"/>
                  <a:pt x="1257" y="228"/>
                  <a:pt x="1255" y="229"/>
                </a:cubicBezTo>
                <a:cubicBezTo>
                  <a:pt x="1255" y="229"/>
                  <a:pt x="1254" y="231"/>
                  <a:pt x="1254" y="231"/>
                </a:cubicBezTo>
                <a:cubicBezTo>
                  <a:pt x="1252" y="231"/>
                  <a:pt x="1251" y="230"/>
                  <a:pt x="1250" y="229"/>
                </a:cubicBezTo>
                <a:cubicBezTo>
                  <a:pt x="1250" y="229"/>
                  <a:pt x="1250" y="227"/>
                  <a:pt x="1250" y="227"/>
                </a:cubicBezTo>
                <a:cubicBezTo>
                  <a:pt x="1246" y="227"/>
                  <a:pt x="1240" y="228"/>
                  <a:pt x="1235" y="227"/>
                </a:cubicBezTo>
                <a:cubicBezTo>
                  <a:pt x="1234" y="227"/>
                  <a:pt x="1234" y="226"/>
                  <a:pt x="1233" y="227"/>
                </a:cubicBezTo>
                <a:cubicBezTo>
                  <a:pt x="1232" y="227"/>
                  <a:pt x="1229" y="230"/>
                  <a:pt x="1228" y="230"/>
                </a:cubicBezTo>
                <a:cubicBezTo>
                  <a:pt x="1226" y="230"/>
                  <a:pt x="1225" y="230"/>
                  <a:pt x="1223" y="231"/>
                </a:cubicBezTo>
                <a:cubicBezTo>
                  <a:pt x="1223" y="233"/>
                  <a:pt x="1222" y="237"/>
                  <a:pt x="1221" y="240"/>
                </a:cubicBezTo>
                <a:cubicBezTo>
                  <a:pt x="1221" y="240"/>
                  <a:pt x="1219" y="242"/>
                  <a:pt x="1219" y="242"/>
                </a:cubicBezTo>
                <a:cubicBezTo>
                  <a:pt x="1219" y="241"/>
                  <a:pt x="1220" y="240"/>
                  <a:pt x="1219" y="239"/>
                </a:cubicBezTo>
                <a:cubicBezTo>
                  <a:pt x="1218" y="238"/>
                  <a:pt x="1218" y="238"/>
                  <a:pt x="1218" y="238"/>
                </a:cubicBezTo>
                <a:cubicBezTo>
                  <a:pt x="1218" y="237"/>
                  <a:pt x="1218" y="236"/>
                  <a:pt x="1218" y="235"/>
                </a:cubicBezTo>
                <a:cubicBezTo>
                  <a:pt x="1218" y="234"/>
                  <a:pt x="1216" y="233"/>
                  <a:pt x="1216" y="233"/>
                </a:cubicBezTo>
                <a:cubicBezTo>
                  <a:pt x="1215" y="231"/>
                  <a:pt x="1216" y="230"/>
                  <a:pt x="1215" y="229"/>
                </a:cubicBezTo>
                <a:cubicBezTo>
                  <a:pt x="1214" y="229"/>
                  <a:pt x="1212" y="229"/>
                  <a:pt x="1211" y="229"/>
                </a:cubicBezTo>
                <a:cubicBezTo>
                  <a:pt x="1211" y="228"/>
                  <a:pt x="1212" y="225"/>
                  <a:pt x="1212" y="225"/>
                </a:cubicBezTo>
                <a:cubicBezTo>
                  <a:pt x="1211" y="223"/>
                  <a:pt x="1211" y="225"/>
                  <a:pt x="1211" y="223"/>
                </a:cubicBezTo>
                <a:cubicBezTo>
                  <a:pt x="1212" y="222"/>
                  <a:pt x="1213" y="221"/>
                  <a:pt x="1213" y="221"/>
                </a:cubicBezTo>
                <a:cubicBezTo>
                  <a:pt x="1212" y="219"/>
                  <a:pt x="1210" y="216"/>
                  <a:pt x="1208" y="215"/>
                </a:cubicBezTo>
                <a:cubicBezTo>
                  <a:pt x="1208" y="215"/>
                  <a:pt x="1206" y="216"/>
                  <a:pt x="1206" y="215"/>
                </a:cubicBezTo>
                <a:cubicBezTo>
                  <a:pt x="1205" y="214"/>
                  <a:pt x="1205" y="212"/>
                  <a:pt x="1203" y="211"/>
                </a:cubicBezTo>
                <a:cubicBezTo>
                  <a:pt x="1202" y="210"/>
                  <a:pt x="1200" y="211"/>
                  <a:pt x="1197" y="210"/>
                </a:cubicBezTo>
                <a:cubicBezTo>
                  <a:pt x="1196" y="210"/>
                  <a:pt x="1195" y="208"/>
                  <a:pt x="1193" y="207"/>
                </a:cubicBezTo>
                <a:cubicBezTo>
                  <a:pt x="1193" y="208"/>
                  <a:pt x="1191" y="209"/>
                  <a:pt x="1191" y="209"/>
                </a:cubicBezTo>
                <a:cubicBezTo>
                  <a:pt x="1191" y="210"/>
                  <a:pt x="1191" y="210"/>
                  <a:pt x="1191" y="210"/>
                </a:cubicBezTo>
                <a:cubicBezTo>
                  <a:pt x="1190" y="210"/>
                  <a:pt x="1189" y="208"/>
                  <a:pt x="1187" y="209"/>
                </a:cubicBezTo>
                <a:cubicBezTo>
                  <a:pt x="1185" y="209"/>
                  <a:pt x="1184" y="211"/>
                  <a:pt x="1181" y="211"/>
                </a:cubicBezTo>
                <a:cubicBezTo>
                  <a:pt x="1180" y="209"/>
                  <a:pt x="1180" y="209"/>
                  <a:pt x="1180" y="209"/>
                </a:cubicBezTo>
                <a:cubicBezTo>
                  <a:pt x="1179" y="209"/>
                  <a:pt x="1177" y="210"/>
                  <a:pt x="1174" y="209"/>
                </a:cubicBezTo>
                <a:cubicBezTo>
                  <a:pt x="1173" y="209"/>
                  <a:pt x="1171" y="208"/>
                  <a:pt x="1169" y="208"/>
                </a:cubicBezTo>
                <a:cubicBezTo>
                  <a:pt x="1166" y="208"/>
                  <a:pt x="1164" y="212"/>
                  <a:pt x="1160" y="211"/>
                </a:cubicBezTo>
                <a:cubicBezTo>
                  <a:pt x="1157" y="211"/>
                  <a:pt x="1157" y="209"/>
                  <a:pt x="1153" y="209"/>
                </a:cubicBezTo>
                <a:cubicBezTo>
                  <a:pt x="1150" y="210"/>
                  <a:pt x="1146" y="213"/>
                  <a:pt x="1142" y="213"/>
                </a:cubicBezTo>
                <a:cubicBezTo>
                  <a:pt x="1139" y="213"/>
                  <a:pt x="1136" y="212"/>
                  <a:pt x="1132" y="213"/>
                </a:cubicBezTo>
                <a:cubicBezTo>
                  <a:pt x="1130" y="213"/>
                  <a:pt x="1127" y="214"/>
                  <a:pt x="1124" y="213"/>
                </a:cubicBezTo>
                <a:cubicBezTo>
                  <a:pt x="1123" y="213"/>
                  <a:pt x="1122" y="214"/>
                  <a:pt x="1122" y="214"/>
                </a:cubicBezTo>
                <a:cubicBezTo>
                  <a:pt x="1118" y="213"/>
                  <a:pt x="1117" y="213"/>
                  <a:pt x="1113" y="214"/>
                </a:cubicBezTo>
                <a:cubicBezTo>
                  <a:pt x="1115" y="210"/>
                  <a:pt x="1117" y="208"/>
                  <a:pt x="1121" y="205"/>
                </a:cubicBezTo>
                <a:cubicBezTo>
                  <a:pt x="1120" y="203"/>
                  <a:pt x="1120" y="203"/>
                  <a:pt x="1120" y="203"/>
                </a:cubicBezTo>
                <a:cubicBezTo>
                  <a:pt x="1119" y="203"/>
                  <a:pt x="1118" y="203"/>
                  <a:pt x="1116" y="203"/>
                </a:cubicBezTo>
                <a:cubicBezTo>
                  <a:pt x="1117" y="202"/>
                  <a:pt x="1116" y="200"/>
                  <a:pt x="1116" y="199"/>
                </a:cubicBezTo>
                <a:cubicBezTo>
                  <a:pt x="1118" y="199"/>
                  <a:pt x="1118" y="199"/>
                  <a:pt x="1118" y="199"/>
                </a:cubicBezTo>
                <a:cubicBezTo>
                  <a:pt x="1116" y="198"/>
                  <a:pt x="1119" y="197"/>
                  <a:pt x="1119" y="197"/>
                </a:cubicBezTo>
                <a:cubicBezTo>
                  <a:pt x="1120" y="198"/>
                  <a:pt x="1120" y="200"/>
                  <a:pt x="1120" y="201"/>
                </a:cubicBezTo>
                <a:cubicBezTo>
                  <a:pt x="1121" y="200"/>
                  <a:pt x="1123" y="199"/>
                  <a:pt x="1124" y="199"/>
                </a:cubicBezTo>
                <a:cubicBezTo>
                  <a:pt x="1124" y="198"/>
                  <a:pt x="1124" y="197"/>
                  <a:pt x="1125" y="195"/>
                </a:cubicBezTo>
                <a:cubicBezTo>
                  <a:pt x="1123" y="193"/>
                  <a:pt x="1120" y="190"/>
                  <a:pt x="1118" y="190"/>
                </a:cubicBezTo>
                <a:cubicBezTo>
                  <a:pt x="1116" y="190"/>
                  <a:pt x="1116" y="191"/>
                  <a:pt x="1114" y="191"/>
                </a:cubicBezTo>
                <a:cubicBezTo>
                  <a:pt x="1114" y="191"/>
                  <a:pt x="1112" y="188"/>
                  <a:pt x="1111" y="188"/>
                </a:cubicBezTo>
                <a:cubicBezTo>
                  <a:pt x="1107" y="187"/>
                  <a:pt x="1103" y="188"/>
                  <a:pt x="1099" y="189"/>
                </a:cubicBezTo>
                <a:cubicBezTo>
                  <a:pt x="1097" y="194"/>
                  <a:pt x="1094" y="196"/>
                  <a:pt x="1092" y="201"/>
                </a:cubicBezTo>
                <a:cubicBezTo>
                  <a:pt x="1092" y="201"/>
                  <a:pt x="1091" y="203"/>
                  <a:pt x="1091" y="203"/>
                </a:cubicBezTo>
                <a:cubicBezTo>
                  <a:pt x="1091" y="203"/>
                  <a:pt x="1083" y="205"/>
                  <a:pt x="1083" y="205"/>
                </a:cubicBezTo>
                <a:cubicBezTo>
                  <a:pt x="1082" y="204"/>
                  <a:pt x="1082" y="204"/>
                  <a:pt x="1082" y="204"/>
                </a:cubicBezTo>
                <a:cubicBezTo>
                  <a:pt x="1080" y="203"/>
                  <a:pt x="1084" y="202"/>
                  <a:pt x="1085" y="201"/>
                </a:cubicBezTo>
                <a:cubicBezTo>
                  <a:pt x="1085" y="200"/>
                  <a:pt x="1083" y="200"/>
                  <a:pt x="1083" y="199"/>
                </a:cubicBezTo>
                <a:cubicBezTo>
                  <a:pt x="1083" y="199"/>
                  <a:pt x="1084" y="198"/>
                  <a:pt x="1083" y="197"/>
                </a:cubicBezTo>
                <a:cubicBezTo>
                  <a:pt x="1088" y="196"/>
                  <a:pt x="1087" y="196"/>
                  <a:pt x="1089" y="191"/>
                </a:cubicBezTo>
                <a:cubicBezTo>
                  <a:pt x="1090" y="192"/>
                  <a:pt x="1091" y="192"/>
                  <a:pt x="1091" y="192"/>
                </a:cubicBezTo>
                <a:cubicBezTo>
                  <a:pt x="1091" y="193"/>
                  <a:pt x="1091" y="193"/>
                  <a:pt x="1091" y="193"/>
                </a:cubicBezTo>
                <a:cubicBezTo>
                  <a:pt x="1090" y="193"/>
                  <a:pt x="1089" y="195"/>
                  <a:pt x="1092" y="196"/>
                </a:cubicBezTo>
                <a:cubicBezTo>
                  <a:pt x="1093" y="194"/>
                  <a:pt x="1093" y="193"/>
                  <a:pt x="1094" y="190"/>
                </a:cubicBezTo>
                <a:cubicBezTo>
                  <a:pt x="1088" y="190"/>
                  <a:pt x="1081" y="191"/>
                  <a:pt x="1076" y="191"/>
                </a:cubicBezTo>
                <a:cubicBezTo>
                  <a:pt x="1074" y="183"/>
                  <a:pt x="1075" y="186"/>
                  <a:pt x="1084" y="187"/>
                </a:cubicBezTo>
                <a:cubicBezTo>
                  <a:pt x="1084" y="185"/>
                  <a:pt x="1084" y="185"/>
                  <a:pt x="1084" y="185"/>
                </a:cubicBezTo>
                <a:cubicBezTo>
                  <a:pt x="1081" y="185"/>
                  <a:pt x="1078" y="184"/>
                  <a:pt x="1074" y="183"/>
                </a:cubicBezTo>
                <a:cubicBezTo>
                  <a:pt x="1072" y="182"/>
                  <a:pt x="1072" y="182"/>
                  <a:pt x="1072" y="182"/>
                </a:cubicBezTo>
                <a:cubicBezTo>
                  <a:pt x="1070" y="182"/>
                  <a:pt x="1069" y="183"/>
                  <a:pt x="1066" y="183"/>
                </a:cubicBezTo>
                <a:cubicBezTo>
                  <a:pt x="1064" y="183"/>
                  <a:pt x="1061" y="181"/>
                  <a:pt x="1060" y="181"/>
                </a:cubicBezTo>
                <a:cubicBezTo>
                  <a:pt x="1058" y="180"/>
                  <a:pt x="1057" y="181"/>
                  <a:pt x="1055" y="181"/>
                </a:cubicBezTo>
                <a:cubicBezTo>
                  <a:pt x="1055" y="181"/>
                  <a:pt x="1050" y="179"/>
                  <a:pt x="1049" y="179"/>
                </a:cubicBezTo>
                <a:cubicBezTo>
                  <a:pt x="1049" y="178"/>
                  <a:pt x="1048" y="176"/>
                  <a:pt x="1047" y="176"/>
                </a:cubicBezTo>
                <a:cubicBezTo>
                  <a:pt x="1046" y="176"/>
                  <a:pt x="1043" y="176"/>
                  <a:pt x="1041" y="176"/>
                </a:cubicBezTo>
                <a:cubicBezTo>
                  <a:pt x="1042" y="176"/>
                  <a:pt x="1041" y="178"/>
                  <a:pt x="1042" y="178"/>
                </a:cubicBezTo>
                <a:cubicBezTo>
                  <a:pt x="1043" y="178"/>
                  <a:pt x="1043" y="178"/>
                  <a:pt x="1044" y="178"/>
                </a:cubicBezTo>
                <a:cubicBezTo>
                  <a:pt x="1044" y="178"/>
                  <a:pt x="1044" y="179"/>
                  <a:pt x="1045" y="179"/>
                </a:cubicBezTo>
                <a:cubicBezTo>
                  <a:pt x="1045" y="179"/>
                  <a:pt x="1045" y="180"/>
                  <a:pt x="1045" y="180"/>
                </a:cubicBezTo>
                <a:cubicBezTo>
                  <a:pt x="1045" y="182"/>
                  <a:pt x="1045" y="182"/>
                  <a:pt x="1045" y="182"/>
                </a:cubicBezTo>
                <a:cubicBezTo>
                  <a:pt x="1042" y="182"/>
                  <a:pt x="1039" y="182"/>
                  <a:pt x="1036" y="182"/>
                </a:cubicBezTo>
                <a:cubicBezTo>
                  <a:pt x="1036" y="182"/>
                  <a:pt x="1036" y="185"/>
                  <a:pt x="1035" y="186"/>
                </a:cubicBezTo>
                <a:cubicBezTo>
                  <a:pt x="1036" y="186"/>
                  <a:pt x="1041" y="187"/>
                  <a:pt x="1040" y="187"/>
                </a:cubicBezTo>
                <a:cubicBezTo>
                  <a:pt x="1041" y="187"/>
                  <a:pt x="1042" y="187"/>
                  <a:pt x="1043" y="187"/>
                </a:cubicBezTo>
                <a:cubicBezTo>
                  <a:pt x="1044" y="189"/>
                  <a:pt x="1044" y="189"/>
                  <a:pt x="1044" y="189"/>
                </a:cubicBezTo>
                <a:cubicBezTo>
                  <a:pt x="1037" y="187"/>
                  <a:pt x="1032" y="188"/>
                  <a:pt x="1035" y="197"/>
                </a:cubicBezTo>
                <a:cubicBezTo>
                  <a:pt x="1035" y="198"/>
                  <a:pt x="1036" y="199"/>
                  <a:pt x="1037" y="199"/>
                </a:cubicBezTo>
                <a:cubicBezTo>
                  <a:pt x="1036" y="200"/>
                  <a:pt x="1037" y="201"/>
                  <a:pt x="1037" y="203"/>
                </a:cubicBezTo>
                <a:cubicBezTo>
                  <a:pt x="1036" y="203"/>
                  <a:pt x="1034" y="204"/>
                  <a:pt x="1033" y="203"/>
                </a:cubicBezTo>
                <a:cubicBezTo>
                  <a:pt x="1032" y="203"/>
                  <a:pt x="1032" y="202"/>
                  <a:pt x="1030" y="202"/>
                </a:cubicBezTo>
                <a:cubicBezTo>
                  <a:pt x="1030" y="202"/>
                  <a:pt x="1029" y="203"/>
                  <a:pt x="1028" y="203"/>
                </a:cubicBezTo>
                <a:cubicBezTo>
                  <a:pt x="1028" y="202"/>
                  <a:pt x="1028" y="202"/>
                  <a:pt x="1029" y="200"/>
                </a:cubicBezTo>
                <a:cubicBezTo>
                  <a:pt x="1028" y="200"/>
                  <a:pt x="1028" y="199"/>
                  <a:pt x="1027" y="198"/>
                </a:cubicBezTo>
                <a:cubicBezTo>
                  <a:pt x="1027" y="198"/>
                  <a:pt x="1024" y="199"/>
                  <a:pt x="1025" y="199"/>
                </a:cubicBezTo>
                <a:cubicBezTo>
                  <a:pt x="1025" y="199"/>
                  <a:pt x="1024" y="199"/>
                  <a:pt x="1023" y="199"/>
                </a:cubicBezTo>
                <a:cubicBezTo>
                  <a:pt x="1023" y="200"/>
                  <a:pt x="1024" y="200"/>
                  <a:pt x="1023" y="200"/>
                </a:cubicBezTo>
                <a:cubicBezTo>
                  <a:pt x="1023" y="200"/>
                  <a:pt x="1022" y="202"/>
                  <a:pt x="1022" y="203"/>
                </a:cubicBezTo>
                <a:cubicBezTo>
                  <a:pt x="1023" y="203"/>
                  <a:pt x="1024" y="204"/>
                  <a:pt x="1024" y="205"/>
                </a:cubicBezTo>
                <a:cubicBezTo>
                  <a:pt x="1021" y="206"/>
                  <a:pt x="1019" y="207"/>
                  <a:pt x="1015" y="207"/>
                </a:cubicBezTo>
                <a:cubicBezTo>
                  <a:pt x="1015" y="205"/>
                  <a:pt x="1015" y="205"/>
                  <a:pt x="1015" y="205"/>
                </a:cubicBezTo>
                <a:cubicBezTo>
                  <a:pt x="1014" y="205"/>
                  <a:pt x="1012" y="206"/>
                  <a:pt x="1011" y="205"/>
                </a:cubicBezTo>
                <a:cubicBezTo>
                  <a:pt x="1011" y="205"/>
                  <a:pt x="1011" y="204"/>
                  <a:pt x="1011" y="203"/>
                </a:cubicBezTo>
                <a:cubicBezTo>
                  <a:pt x="1008" y="201"/>
                  <a:pt x="1005" y="199"/>
                  <a:pt x="1002" y="198"/>
                </a:cubicBezTo>
                <a:cubicBezTo>
                  <a:pt x="1002" y="197"/>
                  <a:pt x="1002" y="197"/>
                  <a:pt x="1002" y="197"/>
                </a:cubicBezTo>
                <a:cubicBezTo>
                  <a:pt x="1001" y="197"/>
                  <a:pt x="1000" y="198"/>
                  <a:pt x="999" y="197"/>
                </a:cubicBezTo>
                <a:cubicBezTo>
                  <a:pt x="998" y="197"/>
                  <a:pt x="997" y="195"/>
                  <a:pt x="997" y="195"/>
                </a:cubicBezTo>
                <a:cubicBezTo>
                  <a:pt x="992" y="195"/>
                  <a:pt x="989" y="200"/>
                  <a:pt x="986" y="201"/>
                </a:cubicBezTo>
                <a:cubicBezTo>
                  <a:pt x="985" y="202"/>
                  <a:pt x="984" y="201"/>
                  <a:pt x="983" y="201"/>
                </a:cubicBezTo>
                <a:cubicBezTo>
                  <a:pt x="982" y="201"/>
                  <a:pt x="980" y="203"/>
                  <a:pt x="979" y="203"/>
                </a:cubicBezTo>
                <a:cubicBezTo>
                  <a:pt x="980" y="201"/>
                  <a:pt x="980" y="199"/>
                  <a:pt x="980" y="197"/>
                </a:cubicBezTo>
                <a:cubicBezTo>
                  <a:pt x="980" y="197"/>
                  <a:pt x="979" y="197"/>
                  <a:pt x="979" y="196"/>
                </a:cubicBezTo>
                <a:cubicBezTo>
                  <a:pt x="978" y="196"/>
                  <a:pt x="977" y="196"/>
                  <a:pt x="977" y="195"/>
                </a:cubicBezTo>
                <a:cubicBezTo>
                  <a:pt x="976" y="194"/>
                  <a:pt x="977" y="193"/>
                  <a:pt x="977" y="192"/>
                </a:cubicBezTo>
                <a:cubicBezTo>
                  <a:pt x="977" y="192"/>
                  <a:pt x="975" y="192"/>
                  <a:pt x="975" y="191"/>
                </a:cubicBezTo>
                <a:cubicBezTo>
                  <a:pt x="972" y="197"/>
                  <a:pt x="972" y="197"/>
                  <a:pt x="972" y="197"/>
                </a:cubicBezTo>
                <a:cubicBezTo>
                  <a:pt x="972" y="199"/>
                  <a:pt x="973" y="201"/>
                  <a:pt x="973" y="202"/>
                </a:cubicBezTo>
                <a:cubicBezTo>
                  <a:pt x="973" y="202"/>
                  <a:pt x="970" y="203"/>
                  <a:pt x="970" y="203"/>
                </a:cubicBezTo>
                <a:cubicBezTo>
                  <a:pt x="970" y="211"/>
                  <a:pt x="969" y="211"/>
                  <a:pt x="966" y="215"/>
                </a:cubicBezTo>
                <a:cubicBezTo>
                  <a:pt x="966" y="216"/>
                  <a:pt x="965" y="218"/>
                  <a:pt x="965" y="219"/>
                </a:cubicBezTo>
                <a:cubicBezTo>
                  <a:pt x="964" y="219"/>
                  <a:pt x="963" y="219"/>
                  <a:pt x="962" y="219"/>
                </a:cubicBezTo>
                <a:cubicBezTo>
                  <a:pt x="962" y="218"/>
                  <a:pt x="961" y="218"/>
                  <a:pt x="961" y="218"/>
                </a:cubicBezTo>
                <a:cubicBezTo>
                  <a:pt x="962" y="215"/>
                  <a:pt x="962" y="214"/>
                  <a:pt x="963" y="211"/>
                </a:cubicBezTo>
                <a:cubicBezTo>
                  <a:pt x="962" y="211"/>
                  <a:pt x="961" y="211"/>
                  <a:pt x="961" y="211"/>
                </a:cubicBezTo>
                <a:cubicBezTo>
                  <a:pt x="961" y="213"/>
                  <a:pt x="961" y="213"/>
                  <a:pt x="961" y="213"/>
                </a:cubicBezTo>
                <a:cubicBezTo>
                  <a:pt x="958" y="213"/>
                  <a:pt x="955" y="209"/>
                  <a:pt x="954" y="208"/>
                </a:cubicBezTo>
                <a:cubicBezTo>
                  <a:pt x="951" y="209"/>
                  <a:pt x="950" y="208"/>
                  <a:pt x="948" y="209"/>
                </a:cubicBezTo>
                <a:cubicBezTo>
                  <a:pt x="946" y="207"/>
                  <a:pt x="945" y="206"/>
                  <a:pt x="944" y="203"/>
                </a:cubicBezTo>
                <a:cubicBezTo>
                  <a:pt x="943" y="204"/>
                  <a:pt x="942" y="204"/>
                  <a:pt x="940" y="205"/>
                </a:cubicBezTo>
                <a:cubicBezTo>
                  <a:pt x="940" y="204"/>
                  <a:pt x="941" y="203"/>
                  <a:pt x="940" y="203"/>
                </a:cubicBezTo>
                <a:cubicBezTo>
                  <a:pt x="940" y="203"/>
                  <a:pt x="940" y="201"/>
                  <a:pt x="941" y="201"/>
                </a:cubicBezTo>
                <a:cubicBezTo>
                  <a:pt x="945" y="198"/>
                  <a:pt x="946" y="202"/>
                  <a:pt x="943" y="196"/>
                </a:cubicBezTo>
                <a:cubicBezTo>
                  <a:pt x="942" y="196"/>
                  <a:pt x="942" y="196"/>
                  <a:pt x="942" y="196"/>
                </a:cubicBezTo>
                <a:cubicBezTo>
                  <a:pt x="941" y="197"/>
                  <a:pt x="942" y="198"/>
                  <a:pt x="942" y="198"/>
                </a:cubicBezTo>
                <a:cubicBezTo>
                  <a:pt x="942" y="198"/>
                  <a:pt x="942" y="199"/>
                  <a:pt x="942" y="199"/>
                </a:cubicBezTo>
                <a:cubicBezTo>
                  <a:pt x="941" y="199"/>
                  <a:pt x="939" y="199"/>
                  <a:pt x="938" y="199"/>
                </a:cubicBezTo>
                <a:cubicBezTo>
                  <a:pt x="936" y="194"/>
                  <a:pt x="932" y="192"/>
                  <a:pt x="928" y="189"/>
                </a:cubicBezTo>
                <a:cubicBezTo>
                  <a:pt x="927" y="189"/>
                  <a:pt x="926" y="189"/>
                  <a:pt x="925" y="189"/>
                </a:cubicBezTo>
                <a:cubicBezTo>
                  <a:pt x="922" y="192"/>
                  <a:pt x="926" y="196"/>
                  <a:pt x="926" y="197"/>
                </a:cubicBezTo>
                <a:cubicBezTo>
                  <a:pt x="926" y="197"/>
                  <a:pt x="926" y="199"/>
                  <a:pt x="926" y="198"/>
                </a:cubicBezTo>
                <a:cubicBezTo>
                  <a:pt x="925" y="198"/>
                  <a:pt x="926" y="200"/>
                  <a:pt x="925" y="199"/>
                </a:cubicBezTo>
                <a:cubicBezTo>
                  <a:pt x="923" y="197"/>
                  <a:pt x="923" y="192"/>
                  <a:pt x="920" y="190"/>
                </a:cubicBezTo>
                <a:cubicBezTo>
                  <a:pt x="919" y="190"/>
                  <a:pt x="918" y="190"/>
                  <a:pt x="917" y="190"/>
                </a:cubicBezTo>
                <a:cubicBezTo>
                  <a:pt x="916" y="190"/>
                  <a:pt x="909" y="187"/>
                  <a:pt x="912" y="187"/>
                </a:cubicBezTo>
                <a:cubicBezTo>
                  <a:pt x="914" y="188"/>
                  <a:pt x="915" y="188"/>
                  <a:pt x="918" y="188"/>
                </a:cubicBezTo>
                <a:cubicBezTo>
                  <a:pt x="917" y="186"/>
                  <a:pt x="917" y="185"/>
                  <a:pt x="916" y="183"/>
                </a:cubicBezTo>
                <a:cubicBezTo>
                  <a:pt x="915" y="184"/>
                  <a:pt x="914" y="184"/>
                  <a:pt x="912" y="184"/>
                </a:cubicBezTo>
                <a:cubicBezTo>
                  <a:pt x="911" y="187"/>
                  <a:pt x="911" y="187"/>
                  <a:pt x="911" y="187"/>
                </a:cubicBezTo>
                <a:cubicBezTo>
                  <a:pt x="910" y="187"/>
                  <a:pt x="910" y="187"/>
                  <a:pt x="910" y="187"/>
                </a:cubicBezTo>
                <a:cubicBezTo>
                  <a:pt x="909" y="187"/>
                  <a:pt x="908" y="185"/>
                  <a:pt x="907" y="185"/>
                </a:cubicBezTo>
                <a:cubicBezTo>
                  <a:pt x="905" y="184"/>
                  <a:pt x="904" y="185"/>
                  <a:pt x="904" y="185"/>
                </a:cubicBezTo>
                <a:cubicBezTo>
                  <a:pt x="904" y="185"/>
                  <a:pt x="905" y="185"/>
                  <a:pt x="906" y="184"/>
                </a:cubicBezTo>
                <a:cubicBezTo>
                  <a:pt x="906" y="184"/>
                  <a:pt x="907" y="183"/>
                  <a:pt x="908" y="182"/>
                </a:cubicBezTo>
                <a:cubicBezTo>
                  <a:pt x="908" y="182"/>
                  <a:pt x="906" y="180"/>
                  <a:pt x="906" y="180"/>
                </a:cubicBezTo>
                <a:cubicBezTo>
                  <a:pt x="906" y="180"/>
                  <a:pt x="903" y="181"/>
                  <a:pt x="904" y="181"/>
                </a:cubicBezTo>
                <a:cubicBezTo>
                  <a:pt x="898" y="182"/>
                  <a:pt x="904" y="180"/>
                  <a:pt x="904" y="179"/>
                </a:cubicBezTo>
                <a:cubicBezTo>
                  <a:pt x="906" y="178"/>
                  <a:pt x="905" y="178"/>
                  <a:pt x="905" y="176"/>
                </a:cubicBezTo>
                <a:cubicBezTo>
                  <a:pt x="906" y="176"/>
                  <a:pt x="907" y="176"/>
                  <a:pt x="908" y="176"/>
                </a:cubicBezTo>
                <a:cubicBezTo>
                  <a:pt x="909" y="176"/>
                  <a:pt x="911" y="174"/>
                  <a:pt x="911" y="174"/>
                </a:cubicBezTo>
                <a:cubicBezTo>
                  <a:pt x="912" y="174"/>
                  <a:pt x="913" y="174"/>
                  <a:pt x="914" y="174"/>
                </a:cubicBezTo>
                <a:cubicBezTo>
                  <a:pt x="916" y="173"/>
                  <a:pt x="917" y="170"/>
                  <a:pt x="919" y="169"/>
                </a:cubicBezTo>
                <a:cubicBezTo>
                  <a:pt x="920" y="169"/>
                  <a:pt x="920" y="169"/>
                  <a:pt x="920" y="169"/>
                </a:cubicBezTo>
                <a:cubicBezTo>
                  <a:pt x="920" y="168"/>
                  <a:pt x="919" y="166"/>
                  <a:pt x="920" y="165"/>
                </a:cubicBezTo>
                <a:cubicBezTo>
                  <a:pt x="918" y="165"/>
                  <a:pt x="916" y="166"/>
                  <a:pt x="914" y="165"/>
                </a:cubicBezTo>
                <a:cubicBezTo>
                  <a:pt x="913" y="165"/>
                  <a:pt x="912" y="162"/>
                  <a:pt x="911" y="161"/>
                </a:cubicBezTo>
                <a:cubicBezTo>
                  <a:pt x="910" y="161"/>
                  <a:pt x="909" y="162"/>
                  <a:pt x="908" y="161"/>
                </a:cubicBezTo>
                <a:cubicBezTo>
                  <a:pt x="907" y="161"/>
                  <a:pt x="907" y="160"/>
                  <a:pt x="907" y="159"/>
                </a:cubicBezTo>
                <a:cubicBezTo>
                  <a:pt x="905" y="158"/>
                  <a:pt x="900" y="158"/>
                  <a:pt x="898" y="159"/>
                </a:cubicBezTo>
                <a:cubicBezTo>
                  <a:pt x="889" y="161"/>
                  <a:pt x="888" y="162"/>
                  <a:pt x="889" y="169"/>
                </a:cubicBezTo>
                <a:cubicBezTo>
                  <a:pt x="891" y="170"/>
                  <a:pt x="891" y="169"/>
                  <a:pt x="892" y="170"/>
                </a:cubicBezTo>
                <a:cubicBezTo>
                  <a:pt x="892" y="170"/>
                  <a:pt x="892" y="173"/>
                  <a:pt x="892" y="173"/>
                </a:cubicBezTo>
                <a:cubicBezTo>
                  <a:pt x="894" y="174"/>
                  <a:pt x="897" y="172"/>
                  <a:pt x="899" y="173"/>
                </a:cubicBezTo>
                <a:cubicBezTo>
                  <a:pt x="899" y="173"/>
                  <a:pt x="901" y="175"/>
                  <a:pt x="902" y="175"/>
                </a:cubicBezTo>
                <a:cubicBezTo>
                  <a:pt x="904" y="176"/>
                  <a:pt x="901" y="176"/>
                  <a:pt x="900" y="177"/>
                </a:cubicBezTo>
                <a:cubicBezTo>
                  <a:pt x="900" y="177"/>
                  <a:pt x="900" y="180"/>
                  <a:pt x="901" y="179"/>
                </a:cubicBezTo>
                <a:cubicBezTo>
                  <a:pt x="896" y="180"/>
                  <a:pt x="896" y="180"/>
                  <a:pt x="896" y="180"/>
                </a:cubicBezTo>
                <a:cubicBezTo>
                  <a:pt x="895" y="181"/>
                  <a:pt x="895" y="182"/>
                  <a:pt x="896" y="183"/>
                </a:cubicBezTo>
                <a:cubicBezTo>
                  <a:pt x="892" y="183"/>
                  <a:pt x="889" y="183"/>
                  <a:pt x="886" y="182"/>
                </a:cubicBezTo>
                <a:cubicBezTo>
                  <a:pt x="885" y="182"/>
                  <a:pt x="884" y="179"/>
                  <a:pt x="882" y="179"/>
                </a:cubicBezTo>
                <a:cubicBezTo>
                  <a:pt x="881" y="178"/>
                  <a:pt x="881" y="180"/>
                  <a:pt x="880" y="179"/>
                </a:cubicBezTo>
                <a:cubicBezTo>
                  <a:pt x="879" y="179"/>
                  <a:pt x="876" y="177"/>
                  <a:pt x="875" y="177"/>
                </a:cubicBezTo>
                <a:cubicBezTo>
                  <a:pt x="874" y="177"/>
                  <a:pt x="873" y="178"/>
                  <a:pt x="873" y="178"/>
                </a:cubicBezTo>
                <a:cubicBezTo>
                  <a:pt x="870" y="179"/>
                  <a:pt x="868" y="176"/>
                  <a:pt x="865" y="177"/>
                </a:cubicBezTo>
                <a:cubicBezTo>
                  <a:pt x="865" y="177"/>
                  <a:pt x="865" y="179"/>
                  <a:pt x="865" y="179"/>
                </a:cubicBezTo>
                <a:cubicBezTo>
                  <a:pt x="865" y="179"/>
                  <a:pt x="864" y="179"/>
                  <a:pt x="863" y="179"/>
                </a:cubicBezTo>
                <a:cubicBezTo>
                  <a:pt x="862" y="178"/>
                  <a:pt x="861" y="176"/>
                  <a:pt x="860" y="175"/>
                </a:cubicBezTo>
                <a:cubicBezTo>
                  <a:pt x="859" y="175"/>
                  <a:pt x="858" y="176"/>
                  <a:pt x="857" y="175"/>
                </a:cubicBezTo>
                <a:cubicBezTo>
                  <a:pt x="856" y="174"/>
                  <a:pt x="856" y="174"/>
                  <a:pt x="856" y="174"/>
                </a:cubicBezTo>
                <a:cubicBezTo>
                  <a:pt x="855" y="173"/>
                  <a:pt x="854" y="174"/>
                  <a:pt x="852" y="173"/>
                </a:cubicBezTo>
                <a:cubicBezTo>
                  <a:pt x="851" y="173"/>
                  <a:pt x="850" y="172"/>
                  <a:pt x="848" y="171"/>
                </a:cubicBezTo>
                <a:cubicBezTo>
                  <a:pt x="849" y="170"/>
                  <a:pt x="848" y="170"/>
                  <a:pt x="848" y="169"/>
                </a:cubicBezTo>
                <a:cubicBezTo>
                  <a:pt x="850" y="169"/>
                  <a:pt x="850" y="169"/>
                  <a:pt x="850" y="169"/>
                </a:cubicBezTo>
                <a:cubicBezTo>
                  <a:pt x="850" y="166"/>
                  <a:pt x="850" y="164"/>
                  <a:pt x="850" y="162"/>
                </a:cubicBezTo>
                <a:cubicBezTo>
                  <a:pt x="847" y="162"/>
                  <a:pt x="844" y="161"/>
                  <a:pt x="839" y="161"/>
                </a:cubicBezTo>
                <a:cubicBezTo>
                  <a:pt x="839" y="162"/>
                  <a:pt x="837" y="162"/>
                  <a:pt x="835" y="162"/>
                </a:cubicBezTo>
                <a:cubicBezTo>
                  <a:pt x="834" y="160"/>
                  <a:pt x="834" y="160"/>
                  <a:pt x="834" y="160"/>
                </a:cubicBezTo>
                <a:cubicBezTo>
                  <a:pt x="833" y="160"/>
                  <a:pt x="831" y="161"/>
                  <a:pt x="829" y="161"/>
                </a:cubicBezTo>
                <a:cubicBezTo>
                  <a:pt x="827" y="161"/>
                  <a:pt x="824" y="158"/>
                  <a:pt x="821" y="158"/>
                </a:cubicBezTo>
                <a:cubicBezTo>
                  <a:pt x="820" y="158"/>
                  <a:pt x="819" y="160"/>
                  <a:pt x="819" y="161"/>
                </a:cubicBezTo>
                <a:cubicBezTo>
                  <a:pt x="814" y="164"/>
                  <a:pt x="810" y="165"/>
                  <a:pt x="807" y="170"/>
                </a:cubicBezTo>
                <a:cubicBezTo>
                  <a:pt x="807" y="171"/>
                  <a:pt x="807" y="172"/>
                  <a:pt x="807" y="173"/>
                </a:cubicBezTo>
                <a:cubicBezTo>
                  <a:pt x="807" y="172"/>
                  <a:pt x="806" y="172"/>
                  <a:pt x="805" y="172"/>
                </a:cubicBezTo>
                <a:cubicBezTo>
                  <a:pt x="805" y="172"/>
                  <a:pt x="806" y="170"/>
                  <a:pt x="805" y="169"/>
                </a:cubicBezTo>
                <a:cubicBezTo>
                  <a:pt x="805" y="168"/>
                  <a:pt x="807" y="167"/>
                  <a:pt x="807" y="164"/>
                </a:cubicBezTo>
                <a:cubicBezTo>
                  <a:pt x="807" y="164"/>
                  <a:pt x="805" y="162"/>
                  <a:pt x="805" y="162"/>
                </a:cubicBezTo>
                <a:cubicBezTo>
                  <a:pt x="805" y="162"/>
                  <a:pt x="802" y="161"/>
                  <a:pt x="803" y="161"/>
                </a:cubicBezTo>
                <a:cubicBezTo>
                  <a:pt x="803" y="163"/>
                  <a:pt x="803" y="165"/>
                  <a:pt x="803" y="166"/>
                </a:cubicBezTo>
                <a:cubicBezTo>
                  <a:pt x="790" y="166"/>
                  <a:pt x="793" y="168"/>
                  <a:pt x="789" y="159"/>
                </a:cubicBezTo>
                <a:cubicBezTo>
                  <a:pt x="787" y="159"/>
                  <a:pt x="787" y="159"/>
                  <a:pt x="787" y="159"/>
                </a:cubicBezTo>
                <a:cubicBezTo>
                  <a:pt x="787" y="160"/>
                  <a:pt x="787" y="160"/>
                  <a:pt x="787" y="161"/>
                </a:cubicBezTo>
                <a:cubicBezTo>
                  <a:pt x="785" y="161"/>
                  <a:pt x="787" y="162"/>
                  <a:pt x="785" y="162"/>
                </a:cubicBezTo>
                <a:cubicBezTo>
                  <a:pt x="783" y="162"/>
                  <a:pt x="784" y="158"/>
                  <a:pt x="780" y="161"/>
                </a:cubicBezTo>
                <a:cubicBezTo>
                  <a:pt x="780" y="161"/>
                  <a:pt x="779" y="163"/>
                  <a:pt x="779" y="163"/>
                </a:cubicBezTo>
                <a:cubicBezTo>
                  <a:pt x="779" y="164"/>
                  <a:pt x="778" y="164"/>
                  <a:pt x="777" y="165"/>
                </a:cubicBezTo>
                <a:cubicBezTo>
                  <a:pt x="777" y="166"/>
                  <a:pt x="777" y="166"/>
                  <a:pt x="777" y="166"/>
                </a:cubicBezTo>
                <a:cubicBezTo>
                  <a:pt x="776" y="165"/>
                  <a:pt x="776" y="168"/>
                  <a:pt x="776" y="168"/>
                </a:cubicBezTo>
                <a:cubicBezTo>
                  <a:pt x="776" y="168"/>
                  <a:pt x="777" y="170"/>
                  <a:pt x="777" y="170"/>
                </a:cubicBezTo>
                <a:cubicBezTo>
                  <a:pt x="778" y="170"/>
                  <a:pt x="781" y="171"/>
                  <a:pt x="781" y="171"/>
                </a:cubicBezTo>
                <a:cubicBezTo>
                  <a:pt x="781" y="171"/>
                  <a:pt x="780" y="173"/>
                  <a:pt x="779" y="173"/>
                </a:cubicBezTo>
                <a:cubicBezTo>
                  <a:pt x="776" y="174"/>
                  <a:pt x="775" y="172"/>
                  <a:pt x="773" y="171"/>
                </a:cubicBezTo>
                <a:cubicBezTo>
                  <a:pt x="773" y="172"/>
                  <a:pt x="774" y="172"/>
                  <a:pt x="774" y="173"/>
                </a:cubicBezTo>
                <a:cubicBezTo>
                  <a:pt x="773" y="174"/>
                  <a:pt x="772" y="176"/>
                  <a:pt x="771" y="176"/>
                </a:cubicBezTo>
                <a:cubicBezTo>
                  <a:pt x="769" y="177"/>
                  <a:pt x="767" y="176"/>
                  <a:pt x="765" y="177"/>
                </a:cubicBezTo>
                <a:cubicBezTo>
                  <a:pt x="764" y="178"/>
                  <a:pt x="766" y="179"/>
                  <a:pt x="764" y="179"/>
                </a:cubicBezTo>
                <a:cubicBezTo>
                  <a:pt x="761" y="179"/>
                  <a:pt x="758" y="176"/>
                  <a:pt x="753" y="178"/>
                </a:cubicBezTo>
                <a:cubicBezTo>
                  <a:pt x="753" y="179"/>
                  <a:pt x="753" y="179"/>
                  <a:pt x="753" y="179"/>
                </a:cubicBezTo>
                <a:cubicBezTo>
                  <a:pt x="752" y="179"/>
                  <a:pt x="754" y="180"/>
                  <a:pt x="753" y="181"/>
                </a:cubicBezTo>
                <a:cubicBezTo>
                  <a:pt x="749" y="183"/>
                  <a:pt x="749" y="183"/>
                  <a:pt x="749" y="183"/>
                </a:cubicBezTo>
                <a:cubicBezTo>
                  <a:pt x="745" y="184"/>
                  <a:pt x="738" y="184"/>
                  <a:pt x="733" y="184"/>
                </a:cubicBezTo>
                <a:cubicBezTo>
                  <a:pt x="734" y="183"/>
                  <a:pt x="734" y="183"/>
                  <a:pt x="734" y="183"/>
                </a:cubicBezTo>
                <a:cubicBezTo>
                  <a:pt x="739" y="181"/>
                  <a:pt x="746" y="182"/>
                  <a:pt x="749" y="179"/>
                </a:cubicBezTo>
                <a:cubicBezTo>
                  <a:pt x="751" y="178"/>
                  <a:pt x="750" y="175"/>
                  <a:pt x="753" y="174"/>
                </a:cubicBezTo>
                <a:cubicBezTo>
                  <a:pt x="755" y="173"/>
                  <a:pt x="756" y="174"/>
                  <a:pt x="758" y="173"/>
                </a:cubicBezTo>
                <a:cubicBezTo>
                  <a:pt x="759" y="173"/>
                  <a:pt x="760" y="172"/>
                  <a:pt x="760" y="171"/>
                </a:cubicBezTo>
                <a:cubicBezTo>
                  <a:pt x="762" y="171"/>
                  <a:pt x="764" y="171"/>
                  <a:pt x="765" y="170"/>
                </a:cubicBezTo>
                <a:cubicBezTo>
                  <a:pt x="767" y="169"/>
                  <a:pt x="767" y="165"/>
                  <a:pt x="769" y="164"/>
                </a:cubicBezTo>
                <a:cubicBezTo>
                  <a:pt x="771" y="163"/>
                  <a:pt x="772" y="164"/>
                  <a:pt x="773" y="163"/>
                </a:cubicBezTo>
                <a:cubicBezTo>
                  <a:pt x="772" y="161"/>
                  <a:pt x="772" y="160"/>
                  <a:pt x="772" y="157"/>
                </a:cubicBezTo>
                <a:cubicBezTo>
                  <a:pt x="773" y="157"/>
                  <a:pt x="774" y="157"/>
                  <a:pt x="775" y="156"/>
                </a:cubicBezTo>
                <a:cubicBezTo>
                  <a:pt x="775" y="155"/>
                  <a:pt x="775" y="153"/>
                  <a:pt x="775" y="153"/>
                </a:cubicBezTo>
                <a:cubicBezTo>
                  <a:pt x="777" y="152"/>
                  <a:pt x="779" y="153"/>
                  <a:pt x="780" y="153"/>
                </a:cubicBezTo>
                <a:cubicBezTo>
                  <a:pt x="781" y="153"/>
                  <a:pt x="786" y="152"/>
                  <a:pt x="788" y="151"/>
                </a:cubicBezTo>
                <a:cubicBezTo>
                  <a:pt x="788" y="151"/>
                  <a:pt x="790" y="149"/>
                  <a:pt x="790" y="149"/>
                </a:cubicBezTo>
                <a:cubicBezTo>
                  <a:pt x="791" y="148"/>
                  <a:pt x="793" y="149"/>
                  <a:pt x="795" y="149"/>
                </a:cubicBezTo>
                <a:cubicBezTo>
                  <a:pt x="797" y="149"/>
                  <a:pt x="811" y="145"/>
                  <a:pt x="813" y="144"/>
                </a:cubicBezTo>
                <a:cubicBezTo>
                  <a:pt x="817" y="140"/>
                  <a:pt x="809" y="134"/>
                  <a:pt x="807" y="134"/>
                </a:cubicBezTo>
                <a:cubicBezTo>
                  <a:pt x="807" y="133"/>
                  <a:pt x="807" y="131"/>
                  <a:pt x="808" y="131"/>
                </a:cubicBezTo>
                <a:cubicBezTo>
                  <a:pt x="808" y="131"/>
                  <a:pt x="809" y="132"/>
                  <a:pt x="809" y="132"/>
                </a:cubicBezTo>
                <a:cubicBezTo>
                  <a:pt x="810" y="133"/>
                  <a:pt x="811" y="132"/>
                  <a:pt x="813" y="133"/>
                </a:cubicBezTo>
                <a:cubicBezTo>
                  <a:pt x="813" y="130"/>
                  <a:pt x="815" y="127"/>
                  <a:pt x="813" y="124"/>
                </a:cubicBezTo>
                <a:cubicBezTo>
                  <a:pt x="812" y="124"/>
                  <a:pt x="810" y="124"/>
                  <a:pt x="810" y="124"/>
                </a:cubicBezTo>
                <a:cubicBezTo>
                  <a:pt x="809" y="122"/>
                  <a:pt x="808" y="120"/>
                  <a:pt x="808" y="117"/>
                </a:cubicBezTo>
                <a:cubicBezTo>
                  <a:pt x="805" y="116"/>
                  <a:pt x="799" y="116"/>
                  <a:pt x="798" y="114"/>
                </a:cubicBezTo>
                <a:cubicBezTo>
                  <a:pt x="796" y="111"/>
                  <a:pt x="798" y="108"/>
                  <a:pt x="795" y="106"/>
                </a:cubicBezTo>
                <a:cubicBezTo>
                  <a:pt x="794" y="106"/>
                  <a:pt x="794" y="106"/>
                  <a:pt x="794" y="106"/>
                </a:cubicBezTo>
                <a:cubicBezTo>
                  <a:pt x="793" y="106"/>
                  <a:pt x="792" y="107"/>
                  <a:pt x="792" y="107"/>
                </a:cubicBezTo>
                <a:cubicBezTo>
                  <a:pt x="790" y="107"/>
                  <a:pt x="789" y="107"/>
                  <a:pt x="787" y="107"/>
                </a:cubicBezTo>
                <a:cubicBezTo>
                  <a:pt x="787" y="107"/>
                  <a:pt x="785" y="109"/>
                  <a:pt x="785" y="109"/>
                </a:cubicBezTo>
                <a:cubicBezTo>
                  <a:pt x="783" y="109"/>
                  <a:pt x="783" y="107"/>
                  <a:pt x="782" y="107"/>
                </a:cubicBezTo>
                <a:cubicBezTo>
                  <a:pt x="780" y="106"/>
                  <a:pt x="768" y="109"/>
                  <a:pt x="767" y="110"/>
                </a:cubicBezTo>
                <a:cubicBezTo>
                  <a:pt x="766" y="110"/>
                  <a:pt x="765" y="112"/>
                  <a:pt x="765" y="113"/>
                </a:cubicBezTo>
                <a:cubicBezTo>
                  <a:pt x="763" y="115"/>
                  <a:pt x="759" y="116"/>
                  <a:pt x="756" y="116"/>
                </a:cubicBezTo>
                <a:cubicBezTo>
                  <a:pt x="757" y="113"/>
                  <a:pt x="758" y="110"/>
                  <a:pt x="759" y="107"/>
                </a:cubicBezTo>
                <a:cubicBezTo>
                  <a:pt x="758" y="107"/>
                  <a:pt x="755" y="107"/>
                  <a:pt x="753" y="106"/>
                </a:cubicBezTo>
                <a:cubicBezTo>
                  <a:pt x="752" y="104"/>
                  <a:pt x="752" y="104"/>
                  <a:pt x="752" y="104"/>
                </a:cubicBezTo>
                <a:cubicBezTo>
                  <a:pt x="749" y="104"/>
                  <a:pt x="748" y="106"/>
                  <a:pt x="745" y="106"/>
                </a:cubicBezTo>
                <a:cubicBezTo>
                  <a:pt x="744" y="105"/>
                  <a:pt x="745" y="105"/>
                  <a:pt x="745" y="105"/>
                </a:cubicBezTo>
                <a:cubicBezTo>
                  <a:pt x="747" y="102"/>
                  <a:pt x="742" y="104"/>
                  <a:pt x="741" y="104"/>
                </a:cubicBezTo>
                <a:cubicBezTo>
                  <a:pt x="741" y="103"/>
                  <a:pt x="743" y="100"/>
                  <a:pt x="744" y="100"/>
                </a:cubicBezTo>
                <a:cubicBezTo>
                  <a:pt x="745" y="99"/>
                  <a:pt x="746" y="100"/>
                  <a:pt x="746" y="100"/>
                </a:cubicBezTo>
                <a:cubicBezTo>
                  <a:pt x="745" y="99"/>
                  <a:pt x="746" y="97"/>
                  <a:pt x="745" y="96"/>
                </a:cubicBezTo>
                <a:cubicBezTo>
                  <a:pt x="743" y="96"/>
                  <a:pt x="741" y="97"/>
                  <a:pt x="740" y="96"/>
                </a:cubicBezTo>
                <a:cubicBezTo>
                  <a:pt x="739" y="96"/>
                  <a:pt x="740" y="94"/>
                  <a:pt x="739" y="93"/>
                </a:cubicBezTo>
                <a:cubicBezTo>
                  <a:pt x="738" y="93"/>
                  <a:pt x="737" y="94"/>
                  <a:pt x="734" y="94"/>
                </a:cubicBezTo>
                <a:cubicBezTo>
                  <a:pt x="734" y="94"/>
                  <a:pt x="732" y="92"/>
                  <a:pt x="730" y="92"/>
                </a:cubicBezTo>
                <a:cubicBezTo>
                  <a:pt x="729" y="93"/>
                  <a:pt x="728" y="96"/>
                  <a:pt x="726" y="96"/>
                </a:cubicBezTo>
                <a:cubicBezTo>
                  <a:pt x="723" y="96"/>
                  <a:pt x="723" y="94"/>
                  <a:pt x="719" y="94"/>
                </a:cubicBezTo>
                <a:cubicBezTo>
                  <a:pt x="718" y="96"/>
                  <a:pt x="718" y="96"/>
                  <a:pt x="718" y="96"/>
                </a:cubicBezTo>
                <a:cubicBezTo>
                  <a:pt x="716" y="97"/>
                  <a:pt x="715" y="96"/>
                  <a:pt x="713" y="97"/>
                </a:cubicBezTo>
                <a:cubicBezTo>
                  <a:pt x="711" y="98"/>
                  <a:pt x="713" y="99"/>
                  <a:pt x="712" y="101"/>
                </a:cubicBezTo>
                <a:cubicBezTo>
                  <a:pt x="711" y="101"/>
                  <a:pt x="705" y="105"/>
                  <a:pt x="704" y="106"/>
                </a:cubicBezTo>
                <a:cubicBezTo>
                  <a:pt x="704" y="106"/>
                  <a:pt x="704" y="106"/>
                  <a:pt x="704" y="106"/>
                </a:cubicBezTo>
                <a:cubicBezTo>
                  <a:pt x="703" y="107"/>
                  <a:pt x="704" y="109"/>
                  <a:pt x="704" y="110"/>
                </a:cubicBezTo>
                <a:cubicBezTo>
                  <a:pt x="706" y="112"/>
                  <a:pt x="707" y="113"/>
                  <a:pt x="709" y="116"/>
                </a:cubicBezTo>
                <a:cubicBezTo>
                  <a:pt x="708" y="115"/>
                  <a:pt x="707" y="116"/>
                  <a:pt x="706" y="116"/>
                </a:cubicBezTo>
                <a:cubicBezTo>
                  <a:pt x="705" y="115"/>
                  <a:pt x="703" y="113"/>
                  <a:pt x="703" y="113"/>
                </a:cubicBezTo>
                <a:cubicBezTo>
                  <a:pt x="701" y="113"/>
                  <a:pt x="700" y="114"/>
                  <a:pt x="700" y="114"/>
                </a:cubicBezTo>
                <a:cubicBezTo>
                  <a:pt x="696" y="115"/>
                  <a:pt x="691" y="114"/>
                  <a:pt x="687" y="114"/>
                </a:cubicBezTo>
                <a:cubicBezTo>
                  <a:pt x="687" y="114"/>
                  <a:pt x="687" y="116"/>
                  <a:pt x="688" y="116"/>
                </a:cubicBezTo>
                <a:cubicBezTo>
                  <a:pt x="689" y="117"/>
                  <a:pt x="689" y="116"/>
                  <a:pt x="690" y="117"/>
                </a:cubicBezTo>
                <a:cubicBezTo>
                  <a:pt x="692" y="118"/>
                  <a:pt x="692" y="122"/>
                  <a:pt x="693" y="125"/>
                </a:cubicBezTo>
                <a:cubicBezTo>
                  <a:pt x="693" y="125"/>
                  <a:pt x="691" y="125"/>
                  <a:pt x="691" y="126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88" y="128"/>
                  <a:pt x="692" y="121"/>
                  <a:pt x="690" y="120"/>
                </a:cubicBezTo>
                <a:cubicBezTo>
                  <a:pt x="685" y="116"/>
                  <a:pt x="684" y="119"/>
                  <a:pt x="681" y="122"/>
                </a:cubicBezTo>
                <a:cubicBezTo>
                  <a:pt x="680" y="123"/>
                  <a:pt x="678" y="124"/>
                  <a:pt x="677" y="125"/>
                </a:cubicBezTo>
                <a:cubicBezTo>
                  <a:pt x="677" y="125"/>
                  <a:pt x="676" y="124"/>
                  <a:pt x="674" y="124"/>
                </a:cubicBezTo>
                <a:cubicBezTo>
                  <a:pt x="674" y="124"/>
                  <a:pt x="673" y="126"/>
                  <a:pt x="673" y="127"/>
                </a:cubicBezTo>
                <a:cubicBezTo>
                  <a:pt x="672" y="127"/>
                  <a:pt x="672" y="127"/>
                  <a:pt x="672" y="127"/>
                </a:cubicBezTo>
                <a:cubicBezTo>
                  <a:pt x="671" y="126"/>
                  <a:pt x="672" y="125"/>
                  <a:pt x="672" y="124"/>
                </a:cubicBezTo>
                <a:cubicBezTo>
                  <a:pt x="670" y="124"/>
                  <a:pt x="670" y="124"/>
                  <a:pt x="670" y="124"/>
                </a:cubicBezTo>
                <a:cubicBezTo>
                  <a:pt x="669" y="124"/>
                  <a:pt x="670" y="126"/>
                  <a:pt x="669" y="126"/>
                </a:cubicBezTo>
                <a:cubicBezTo>
                  <a:pt x="667" y="127"/>
                  <a:pt x="665" y="127"/>
                  <a:pt x="664" y="128"/>
                </a:cubicBezTo>
                <a:cubicBezTo>
                  <a:pt x="664" y="126"/>
                  <a:pt x="664" y="126"/>
                  <a:pt x="664" y="126"/>
                </a:cubicBezTo>
                <a:cubicBezTo>
                  <a:pt x="666" y="125"/>
                  <a:pt x="667" y="124"/>
                  <a:pt x="668" y="122"/>
                </a:cubicBezTo>
                <a:cubicBezTo>
                  <a:pt x="670" y="123"/>
                  <a:pt x="669" y="120"/>
                  <a:pt x="667" y="119"/>
                </a:cubicBezTo>
                <a:cubicBezTo>
                  <a:pt x="664" y="117"/>
                  <a:pt x="663" y="120"/>
                  <a:pt x="660" y="120"/>
                </a:cubicBezTo>
                <a:cubicBezTo>
                  <a:pt x="659" y="120"/>
                  <a:pt x="658" y="118"/>
                  <a:pt x="656" y="118"/>
                </a:cubicBezTo>
                <a:cubicBezTo>
                  <a:pt x="655" y="120"/>
                  <a:pt x="655" y="120"/>
                  <a:pt x="655" y="120"/>
                </a:cubicBezTo>
                <a:cubicBezTo>
                  <a:pt x="653" y="120"/>
                  <a:pt x="653" y="119"/>
                  <a:pt x="652" y="118"/>
                </a:cubicBezTo>
                <a:cubicBezTo>
                  <a:pt x="651" y="118"/>
                  <a:pt x="647" y="118"/>
                  <a:pt x="648" y="118"/>
                </a:cubicBezTo>
                <a:cubicBezTo>
                  <a:pt x="646" y="118"/>
                  <a:pt x="646" y="118"/>
                  <a:pt x="646" y="118"/>
                </a:cubicBezTo>
                <a:cubicBezTo>
                  <a:pt x="646" y="118"/>
                  <a:pt x="647" y="119"/>
                  <a:pt x="645" y="120"/>
                </a:cubicBezTo>
                <a:cubicBezTo>
                  <a:pt x="644" y="120"/>
                  <a:pt x="643" y="118"/>
                  <a:pt x="642" y="118"/>
                </a:cubicBezTo>
                <a:cubicBezTo>
                  <a:pt x="636" y="118"/>
                  <a:pt x="643" y="122"/>
                  <a:pt x="638" y="123"/>
                </a:cubicBezTo>
                <a:cubicBezTo>
                  <a:pt x="635" y="123"/>
                  <a:pt x="633" y="122"/>
                  <a:pt x="630" y="123"/>
                </a:cubicBezTo>
                <a:cubicBezTo>
                  <a:pt x="629" y="123"/>
                  <a:pt x="626" y="125"/>
                  <a:pt x="626" y="125"/>
                </a:cubicBezTo>
                <a:cubicBezTo>
                  <a:pt x="623" y="126"/>
                  <a:pt x="622" y="124"/>
                  <a:pt x="619" y="125"/>
                </a:cubicBezTo>
                <a:cubicBezTo>
                  <a:pt x="619" y="125"/>
                  <a:pt x="615" y="127"/>
                  <a:pt x="615" y="127"/>
                </a:cubicBezTo>
                <a:cubicBezTo>
                  <a:pt x="613" y="127"/>
                  <a:pt x="613" y="125"/>
                  <a:pt x="611" y="126"/>
                </a:cubicBezTo>
                <a:cubicBezTo>
                  <a:pt x="608" y="126"/>
                  <a:pt x="607" y="128"/>
                  <a:pt x="605" y="129"/>
                </a:cubicBezTo>
                <a:cubicBezTo>
                  <a:pt x="604" y="130"/>
                  <a:pt x="603" y="129"/>
                  <a:pt x="602" y="130"/>
                </a:cubicBezTo>
                <a:cubicBezTo>
                  <a:pt x="601" y="131"/>
                  <a:pt x="601" y="131"/>
                  <a:pt x="601" y="131"/>
                </a:cubicBezTo>
                <a:cubicBezTo>
                  <a:pt x="600" y="131"/>
                  <a:pt x="598" y="131"/>
                  <a:pt x="597" y="131"/>
                </a:cubicBezTo>
                <a:cubicBezTo>
                  <a:pt x="595" y="132"/>
                  <a:pt x="595" y="132"/>
                  <a:pt x="595" y="132"/>
                </a:cubicBezTo>
                <a:cubicBezTo>
                  <a:pt x="592" y="133"/>
                  <a:pt x="591" y="132"/>
                  <a:pt x="587" y="132"/>
                </a:cubicBezTo>
                <a:cubicBezTo>
                  <a:pt x="588" y="132"/>
                  <a:pt x="587" y="133"/>
                  <a:pt x="588" y="134"/>
                </a:cubicBezTo>
                <a:cubicBezTo>
                  <a:pt x="589" y="134"/>
                  <a:pt x="590" y="133"/>
                  <a:pt x="591" y="134"/>
                </a:cubicBezTo>
                <a:cubicBezTo>
                  <a:pt x="591" y="134"/>
                  <a:pt x="591" y="135"/>
                  <a:pt x="592" y="135"/>
                </a:cubicBezTo>
                <a:cubicBezTo>
                  <a:pt x="591" y="135"/>
                  <a:pt x="592" y="136"/>
                  <a:pt x="591" y="137"/>
                </a:cubicBezTo>
                <a:cubicBezTo>
                  <a:pt x="591" y="137"/>
                  <a:pt x="589" y="137"/>
                  <a:pt x="589" y="137"/>
                </a:cubicBezTo>
                <a:cubicBezTo>
                  <a:pt x="587" y="139"/>
                  <a:pt x="587" y="141"/>
                  <a:pt x="587" y="144"/>
                </a:cubicBezTo>
                <a:cubicBezTo>
                  <a:pt x="584" y="142"/>
                  <a:pt x="582" y="142"/>
                  <a:pt x="579" y="140"/>
                </a:cubicBezTo>
                <a:cubicBezTo>
                  <a:pt x="579" y="141"/>
                  <a:pt x="578" y="143"/>
                  <a:pt x="578" y="144"/>
                </a:cubicBezTo>
                <a:cubicBezTo>
                  <a:pt x="579" y="144"/>
                  <a:pt x="581" y="143"/>
                  <a:pt x="583" y="144"/>
                </a:cubicBezTo>
                <a:cubicBezTo>
                  <a:pt x="584" y="145"/>
                  <a:pt x="583" y="147"/>
                  <a:pt x="585" y="148"/>
                </a:cubicBezTo>
                <a:cubicBezTo>
                  <a:pt x="585" y="149"/>
                  <a:pt x="585" y="149"/>
                  <a:pt x="585" y="149"/>
                </a:cubicBezTo>
                <a:cubicBezTo>
                  <a:pt x="581" y="148"/>
                  <a:pt x="581" y="148"/>
                  <a:pt x="577" y="149"/>
                </a:cubicBezTo>
                <a:cubicBezTo>
                  <a:pt x="577" y="149"/>
                  <a:pt x="577" y="151"/>
                  <a:pt x="577" y="151"/>
                </a:cubicBezTo>
                <a:cubicBezTo>
                  <a:pt x="579" y="152"/>
                  <a:pt x="581" y="152"/>
                  <a:pt x="582" y="154"/>
                </a:cubicBezTo>
                <a:cubicBezTo>
                  <a:pt x="583" y="154"/>
                  <a:pt x="589" y="164"/>
                  <a:pt x="586" y="165"/>
                </a:cubicBezTo>
                <a:cubicBezTo>
                  <a:pt x="585" y="166"/>
                  <a:pt x="578" y="165"/>
                  <a:pt x="581" y="163"/>
                </a:cubicBezTo>
                <a:cubicBezTo>
                  <a:pt x="585" y="162"/>
                  <a:pt x="581" y="159"/>
                  <a:pt x="579" y="158"/>
                </a:cubicBezTo>
                <a:cubicBezTo>
                  <a:pt x="576" y="158"/>
                  <a:pt x="574" y="160"/>
                  <a:pt x="571" y="160"/>
                </a:cubicBezTo>
                <a:cubicBezTo>
                  <a:pt x="570" y="160"/>
                  <a:pt x="569" y="159"/>
                  <a:pt x="568" y="159"/>
                </a:cubicBezTo>
                <a:cubicBezTo>
                  <a:pt x="567" y="161"/>
                  <a:pt x="567" y="161"/>
                  <a:pt x="567" y="161"/>
                </a:cubicBezTo>
                <a:cubicBezTo>
                  <a:pt x="564" y="162"/>
                  <a:pt x="564" y="159"/>
                  <a:pt x="562" y="159"/>
                </a:cubicBezTo>
                <a:cubicBezTo>
                  <a:pt x="558" y="158"/>
                  <a:pt x="555" y="161"/>
                  <a:pt x="553" y="161"/>
                </a:cubicBezTo>
                <a:cubicBezTo>
                  <a:pt x="551" y="161"/>
                  <a:pt x="550" y="160"/>
                  <a:pt x="547" y="160"/>
                </a:cubicBezTo>
                <a:cubicBezTo>
                  <a:pt x="545" y="161"/>
                  <a:pt x="545" y="161"/>
                  <a:pt x="545" y="161"/>
                </a:cubicBezTo>
                <a:cubicBezTo>
                  <a:pt x="543" y="162"/>
                  <a:pt x="541" y="161"/>
                  <a:pt x="539" y="161"/>
                </a:cubicBezTo>
                <a:cubicBezTo>
                  <a:pt x="537" y="163"/>
                  <a:pt x="537" y="163"/>
                  <a:pt x="537" y="163"/>
                </a:cubicBezTo>
                <a:cubicBezTo>
                  <a:pt x="536" y="163"/>
                  <a:pt x="535" y="162"/>
                  <a:pt x="534" y="163"/>
                </a:cubicBezTo>
                <a:cubicBezTo>
                  <a:pt x="534" y="163"/>
                  <a:pt x="531" y="167"/>
                  <a:pt x="531" y="167"/>
                </a:cubicBezTo>
                <a:cubicBezTo>
                  <a:pt x="531" y="169"/>
                  <a:pt x="532" y="169"/>
                  <a:pt x="532" y="171"/>
                </a:cubicBezTo>
                <a:cubicBezTo>
                  <a:pt x="532" y="172"/>
                  <a:pt x="530" y="175"/>
                  <a:pt x="530" y="176"/>
                </a:cubicBezTo>
                <a:cubicBezTo>
                  <a:pt x="529" y="184"/>
                  <a:pt x="532" y="186"/>
                  <a:pt x="537" y="188"/>
                </a:cubicBezTo>
                <a:cubicBezTo>
                  <a:pt x="538" y="189"/>
                  <a:pt x="538" y="189"/>
                  <a:pt x="538" y="189"/>
                </a:cubicBezTo>
                <a:cubicBezTo>
                  <a:pt x="540" y="190"/>
                  <a:pt x="542" y="189"/>
                  <a:pt x="544" y="189"/>
                </a:cubicBezTo>
                <a:cubicBezTo>
                  <a:pt x="545" y="190"/>
                  <a:pt x="546" y="193"/>
                  <a:pt x="547" y="193"/>
                </a:cubicBezTo>
                <a:cubicBezTo>
                  <a:pt x="548" y="194"/>
                  <a:pt x="552" y="195"/>
                  <a:pt x="553" y="196"/>
                </a:cubicBezTo>
                <a:cubicBezTo>
                  <a:pt x="553" y="198"/>
                  <a:pt x="554" y="199"/>
                  <a:pt x="554" y="201"/>
                </a:cubicBezTo>
                <a:cubicBezTo>
                  <a:pt x="554" y="201"/>
                  <a:pt x="551" y="205"/>
                  <a:pt x="551" y="206"/>
                </a:cubicBezTo>
                <a:cubicBezTo>
                  <a:pt x="550" y="209"/>
                  <a:pt x="553" y="212"/>
                  <a:pt x="553" y="215"/>
                </a:cubicBezTo>
                <a:cubicBezTo>
                  <a:pt x="554" y="216"/>
                  <a:pt x="553" y="218"/>
                  <a:pt x="553" y="219"/>
                </a:cubicBezTo>
                <a:cubicBezTo>
                  <a:pt x="552" y="220"/>
                  <a:pt x="550" y="220"/>
                  <a:pt x="547" y="221"/>
                </a:cubicBezTo>
                <a:cubicBezTo>
                  <a:pt x="548" y="225"/>
                  <a:pt x="548" y="225"/>
                  <a:pt x="548" y="225"/>
                </a:cubicBezTo>
                <a:cubicBezTo>
                  <a:pt x="550" y="225"/>
                  <a:pt x="556" y="230"/>
                  <a:pt x="557" y="230"/>
                </a:cubicBezTo>
                <a:cubicBezTo>
                  <a:pt x="559" y="230"/>
                  <a:pt x="561" y="227"/>
                  <a:pt x="563" y="227"/>
                </a:cubicBezTo>
                <a:cubicBezTo>
                  <a:pt x="563" y="227"/>
                  <a:pt x="564" y="226"/>
                  <a:pt x="565" y="227"/>
                </a:cubicBezTo>
                <a:cubicBezTo>
                  <a:pt x="565" y="227"/>
                  <a:pt x="565" y="229"/>
                  <a:pt x="566" y="229"/>
                </a:cubicBezTo>
                <a:cubicBezTo>
                  <a:pt x="567" y="230"/>
                  <a:pt x="567" y="229"/>
                  <a:pt x="569" y="230"/>
                </a:cubicBezTo>
                <a:cubicBezTo>
                  <a:pt x="571" y="231"/>
                  <a:pt x="572" y="234"/>
                  <a:pt x="572" y="237"/>
                </a:cubicBezTo>
                <a:cubicBezTo>
                  <a:pt x="571" y="236"/>
                  <a:pt x="569" y="237"/>
                  <a:pt x="569" y="236"/>
                </a:cubicBezTo>
                <a:cubicBezTo>
                  <a:pt x="568" y="236"/>
                  <a:pt x="568" y="232"/>
                  <a:pt x="568" y="232"/>
                </a:cubicBezTo>
                <a:cubicBezTo>
                  <a:pt x="567" y="232"/>
                  <a:pt x="566" y="232"/>
                  <a:pt x="565" y="231"/>
                </a:cubicBezTo>
                <a:cubicBezTo>
                  <a:pt x="565" y="231"/>
                  <a:pt x="565" y="230"/>
                  <a:pt x="565" y="230"/>
                </a:cubicBezTo>
                <a:cubicBezTo>
                  <a:pt x="561" y="229"/>
                  <a:pt x="561" y="232"/>
                  <a:pt x="560" y="232"/>
                </a:cubicBezTo>
                <a:cubicBezTo>
                  <a:pt x="558" y="232"/>
                  <a:pt x="549" y="231"/>
                  <a:pt x="547" y="230"/>
                </a:cubicBezTo>
                <a:cubicBezTo>
                  <a:pt x="547" y="230"/>
                  <a:pt x="548" y="227"/>
                  <a:pt x="547" y="227"/>
                </a:cubicBezTo>
                <a:cubicBezTo>
                  <a:pt x="544" y="225"/>
                  <a:pt x="544" y="225"/>
                  <a:pt x="544" y="225"/>
                </a:cubicBezTo>
                <a:cubicBezTo>
                  <a:pt x="544" y="224"/>
                  <a:pt x="544" y="223"/>
                  <a:pt x="543" y="223"/>
                </a:cubicBezTo>
                <a:cubicBezTo>
                  <a:pt x="543" y="223"/>
                  <a:pt x="542" y="222"/>
                  <a:pt x="542" y="222"/>
                </a:cubicBezTo>
                <a:cubicBezTo>
                  <a:pt x="541" y="223"/>
                  <a:pt x="540" y="224"/>
                  <a:pt x="539" y="225"/>
                </a:cubicBezTo>
                <a:cubicBezTo>
                  <a:pt x="538" y="226"/>
                  <a:pt x="537" y="226"/>
                  <a:pt x="535" y="227"/>
                </a:cubicBezTo>
                <a:cubicBezTo>
                  <a:pt x="539" y="223"/>
                  <a:pt x="539" y="222"/>
                  <a:pt x="541" y="217"/>
                </a:cubicBezTo>
                <a:cubicBezTo>
                  <a:pt x="542" y="215"/>
                  <a:pt x="542" y="215"/>
                  <a:pt x="542" y="215"/>
                </a:cubicBezTo>
                <a:cubicBezTo>
                  <a:pt x="543" y="209"/>
                  <a:pt x="541" y="208"/>
                  <a:pt x="545" y="203"/>
                </a:cubicBezTo>
                <a:cubicBezTo>
                  <a:pt x="545" y="203"/>
                  <a:pt x="552" y="198"/>
                  <a:pt x="547" y="197"/>
                </a:cubicBezTo>
                <a:cubicBezTo>
                  <a:pt x="543" y="195"/>
                  <a:pt x="537" y="198"/>
                  <a:pt x="533" y="196"/>
                </a:cubicBezTo>
                <a:cubicBezTo>
                  <a:pt x="531" y="195"/>
                  <a:pt x="531" y="192"/>
                  <a:pt x="529" y="191"/>
                </a:cubicBezTo>
                <a:cubicBezTo>
                  <a:pt x="528" y="190"/>
                  <a:pt x="527" y="191"/>
                  <a:pt x="527" y="191"/>
                </a:cubicBezTo>
                <a:cubicBezTo>
                  <a:pt x="526" y="190"/>
                  <a:pt x="525" y="188"/>
                  <a:pt x="525" y="188"/>
                </a:cubicBezTo>
                <a:cubicBezTo>
                  <a:pt x="524" y="188"/>
                  <a:pt x="518" y="185"/>
                  <a:pt x="517" y="185"/>
                </a:cubicBezTo>
                <a:cubicBezTo>
                  <a:pt x="511" y="184"/>
                  <a:pt x="507" y="189"/>
                  <a:pt x="504" y="191"/>
                </a:cubicBezTo>
                <a:cubicBezTo>
                  <a:pt x="505" y="191"/>
                  <a:pt x="506" y="191"/>
                  <a:pt x="507" y="191"/>
                </a:cubicBezTo>
                <a:cubicBezTo>
                  <a:pt x="508" y="192"/>
                  <a:pt x="509" y="192"/>
                  <a:pt x="510" y="193"/>
                </a:cubicBezTo>
                <a:cubicBezTo>
                  <a:pt x="509" y="194"/>
                  <a:pt x="508" y="198"/>
                  <a:pt x="506" y="198"/>
                </a:cubicBezTo>
                <a:cubicBezTo>
                  <a:pt x="506" y="198"/>
                  <a:pt x="503" y="198"/>
                  <a:pt x="504" y="197"/>
                </a:cubicBezTo>
                <a:cubicBezTo>
                  <a:pt x="501" y="195"/>
                  <a:pt x="499" y="194"/>
                  <a:pt x="493" y="193"/>
                </a:cubicBezTo>
                <a:cubicBezTo>
                  <a:pt x="492" y="196"/>
                  <a:pt x="492" y="198"/>
                  <a:pt x="491" y="201"/>
                </a:cubicBezTo>
                <a:cubicBezTo>
                  <a:pt x="492" y="201"/>
                  <a:pt x="494" y="200"/>
                  <a:pt x="495" y="201"/>
                </a:cubicBezTo>
                <a:cubicBezTo>
                  <a:pt x="496" y="202"/>
                  <a:pt x="495" y="204"/>
                  <a:pt x="496" y="204"/>
                </a:cubicBezTo>
                <a:cubicBezTo>
                  <a:pt x="497" y="204"/>
                  <a:pt x="499" y="204"/>
                  <a:pt x="500" y="204"/>
                </a:cubicBezTo>
                <a:cubicBezTo>
                  <a:pt x="500" y="204"/>
                  <a:pt x="500" y="206"/>
                  <a:pt x="501" y="206"/>
                </a:cubicBezTo>
                <a:cubicBezTo>
                  <a:pt x="502" y="207"/>
                  <a:pt x="503" y="206"/>
                  <a:pt x="504" y="207"/>
                </a:cubicBezTo>
                <a:cubicBezTo>
                  <a:pt x="504" y="207"/>
                  <a:pt x="504" y="209"/>
                  <a:pt x="505" y="209"/>
                </a:cubicBezTo>
                <a:cubicBezTo>
                  <a:pt x="504" y="209"/>
                  <a:pt x="504" y="211"/>
                  <a:pt x="504" y="211"/>
                </a:cubicBezTo>
                <a:cubicBezTo>
                  <a:pt x="503" y="209"/>
                  <a:pt x="503" y="209"/>
                  <a:pt x="503" y="209"/>
                </a:cubicBezTo>
                <a:cubicBezTo>
                  <a:pt x="499" y="210"/>
                  <a:pt x="497" y="211"/>
                  <a:pt x="494" y="211"/>
                </a:cubicBezTo>
                <a:cubicBezTo>
                  <a:pt x="494" y="209"/>
                  <a:pt x="494" y="209"/>
                  <a:pt x="494" y="209"/>
                </a:cubicBezTo>
                <a:cubicBezTo>
                  <a:pt x="492" y="209"/>
                  <a:pt x="489" y="209"/>
                  <a:pt x="489" y="209"/>
                </a:cubicBezTo>
                <a:cubicBezTo>
                  <a:pt x="488" y="210"/>
                  <a:pt x="488" y="212"/>
                  <a:pt x="486" y="211"/>
                </a:cubicBezTo>
                <a:cubicBezTo>
                  <a:pt x="484" y="211"/>
                  <a:pt x="482" y="209"/>
                  <a:pt x="481" y="208"/>
                </a:cubicBezTo>
                <a:cubicBezTo>
                  <a:pt x="481" y="207"/>
                  <a:pt x="481" y="207"/>
                  <a:pt x="481" y="207"/>
                </a:cubicBezTo>
                <a:cubicBezTo>
                  <a:pt x="485" y="205"/>
                  <a:pt x="479" y="200"/>
                  <a:pt x="479" y="199"/>
                </a:cubicBezTo>
                <a:cubicBezTo>
                  <a:pt x="479" y="197"/>
                  <a:pt x="479" y="196"/>
                  <a:pt x="479" y="195"/>
                </a:cubicBezTo>
                <a:cubicBezTo>
                  <a:pt x="478" y="195"/>
                  <a:pt x="478" y="195"/>
                  <a:pt x="478" y="195"/>
                </a:cubicBezTo>
                <a:cubicBezTo>
                  <a:pt x="478" y="195"/>
                  <a:pt x="479" y="191"/>
                  <a:pt x="479" y="191"/>
                </a:cubicBezTo>
                <a:cubicBezTo>
                  <a:pt x="479" y="191"/>
                  <a:pt x="481" y="189"/>
                  <a:pt x="481" y="189"/>
                </a:cubicBezTo>
                <a:cubicBezTo>
                  <a:pt x="480" y="187"/>
                  <a:pt x="477" y="186"/>
                  <a:pt x="478" y="183"/>
                </a:cubicBezTo>
                <a:cubicBezTo>
                  <a:pt x="478" y="182"/>
                  <a:pt x="480" y="182"/>
                  <a:pt x="480" y="181"/>
                </a:cubicBezTo>
                <a:cubicBezTo>
                  <a:pt x="480" y="181"/>
                  <a:pt x="476" y="176"/>
                  <a:pt x="476" y="176"/>
                </a:cubicBezTo>
                <a:cubicBezTo>
                  <a:pt x="476" y="176"/>
                  <a:pt x="475" y="177"/>
                  <a:pt x="474" y="177"/>
                </a:cubicBezTo>
                <a:cubicBezTo>
                  <a:pt x="476" y="182"/>
                  <a:pt x="477" y="187"/>
                  <a:pt x="476" y="193"/>
                </a:cubicBezTo>
                <a:cubicBezTo>
                  <a:pt x="475" y="195"/>
                  <a:pt x="472" y="199"/>
                  <a:pt x="471" y="200"/>
                </a:cubicBezTo>
                <a:cubicBezTo>
                  <a:pt x="470" y="201"/>
                  <a:pt x="469" y="201"/>
                  <a:pt x="468" y="201"/>
                </a:cubicBezTo>
                <a:cubicBezTo>
                  <a:pt x="468" y="202"/>
                  <a:pt x="469" y="204"/>
                  <a:pt x="468" y="205"/>
                </a:cubicBezTo>
                <a:cubicBezTo>
                  <a:pt x="468" y="207"/>
                  <a:pt x="466" y="208"/>
                  <a:pt x="466" y="209"/>
                </a:cubicBezTo>
                <a:cubicBezTo>
                  <a:pt x="466" y="210"/>
                  <a:pt x="465" y="211"/>
                  <a:pt x="466" y="211"/>
                </a:cubicBezTo>
                <a:cubicBezTo>
                  <a:pt x="466" y="212"/>
                  <a:pt x="468" y="213"/>
                  <a:pt x="469" y="214"/>
                </a:cubicBezTo>
                <a:cubicBezTo>
                  <a:pt x="470" y="216"/>
                  <a:pt x="472" y="220"/>
                  <a:pt x="472" y="222"/>
                </a:cubicBezTo>
                <a:cubicBezTo>
                  <a:pt x="471" y="223"/>
                  <a:pt x="469" y="225"/>
                  <a:pt x="469" y="227"/>
                </a:cubicBezTo>
                <a:cubicBezTo>
                  <a:pt x="469" y="227"/>
                  <a:pt x="470" y="231"/>
                  <a:pt x="470" y="233"/>
                </a:cubicBezTo>
                <a:cubicBezTo>
                  <a:pt x="471" y="233"/>
                  <a:pt x="471" y="233"/>
                  <a:pt x="471" y="233"/>
                </a:cubicBezTo>
                <a:cubicBezTo>
                  <a:pt x="471" y="235"/>
                  <a:pt x="471" y="237"/>
                  <a:pt x="471" y="239"/>
                </a:cubicBezTo>
                <a:cubicBezTo>
                  <a:pt x="472" y="238"/>
                  <a:pt x="472" y="240"/>
                  <a:pt x="474" y="239"/>
                </a:cubicBezTo>
                <a:cubicBezTo>
                  <a:pt x="474" y="238"/>
                  <a:pt x="474" y="238"/>
                  <a:pt x="474" y="238"/>
                </a:cubicBezTo>
                <a:cubicBezTo>
                  <a:pt x="474" y="238"/>
                  <a:pt x="476" y="237"/>
                  <a:pt x="476" y="237"/>
                </a:cubicBezTo>
                <a:cubicBezTo>
                  <a:pt x="477" y="237"/>
                  <a:pt x="479" y="238"/>
                  <a:pt x="481" y="237"/>
                </a:cubicBezTo>
                <a:cubicBezTo>
                  <a:pt x="482" y="237"/>
                  <a:pt x="484" y="235"/>
                  <a:pt x="486" y="235"/>
                </a:cubicBezTo>
                <a:cubicBezTo>
                  <a:pt x="489" y="234"/>
                  <a:pt x="500" y="237"/>
                  <a:pt x="502" y="239"/>
                </a:cubicBezTo>
                <a:cubicBezTo>
                  <a:pt x="503" y="240"/>
                  <a:pt x="502" y="244"/>
                  <a:pt x="504" y="246"/>
                </a:cubicBezTo>
                <a:cubicBezTo>
                  <a:pt x="504" y="247"/>
                  <a:pt x="506" y="247"/>
                  <a:pt x="506" y="247"/>
                </a:cubicBezTo>
                <a:cubicBezTo>
                  <a:pt x="507" y="248"/>
                  <a:pt x="506" y="250"/>
                  <a:pt x="507" y="251"/>
                </a:cubicBezTo>
                <a:cubicBezTo>
                  <a:pt x="507" y="252"/>
                  <a:pt x="508" y="253"/>
                  <a:pt x="509" y="254"/>
                </a:cubicBezTo>
                <a:cubicBezTo>
                  <a:pt x="506" y="255"/>
                  <a:pt x="501" y="257"/>
                  <a:pt x="504" y="262"/>
                </a:cubicBezTo>
                <a:cubicBezTo>
                  <a:pt x="504" y="262"/>
                  <a:pt x="505" y="262"/>
                  <a:pt x="506" y="263"/>
                </a:cubicBezTo>
                <a:cubicBezTo>
                  <a:pt x="506" y="263"/>
                  <a:pt x="507" y="265"/>
                  <a:pt x="508" y="265"/>
                </a:cubicBezTo>
                <a:cubicBezTo>
                  <a:pt x="512" y="267"/>
                  <a:pt x="516" y="266"/>
                  <a:pt x="519" y="268"/>
                </a:cubicBezTo>
                <a:cubicBezTo>
                  <a:pt x="520" y="268"/>
                  <a:pt x="520" y="270"/>
                  <a:pt x="521" y="270"/>
                </a:cubicBezTo>
                <a:cubicBezTo>
                  <a:pt x="518" y="270"/>
                  <a:pt x="513" y="270"/>
                  <a:pt x="510" y="269"/>
                </a:cubicBezTo>
                <a:cubicBezTo>
                  <a:pt x="510" y="268"/>
                  <a:pt x="509" y="267"/>
                  <a:pt x="509" y="267"/>
                </a:cubicBezTo>
                <a:cubicBezTo>
                  <a:pt x="507" y="267"/>
                  <a:pt x="506" y="267"/>
                  <a:pt x="505" y="268"/>
                </a:cubicBezTo>
                <a:cubicBezTo>
                  <a:pt x="505" y="268"/>
                  <a:pt x="505" y="270"/>
                  <a:pt x="505" y="271"/>
                </a:cubicBezTo>
                <a:cubicBezTo>
                  <a:pt x="505" y="271"/>
                  <a:pt x="506" y="272"/>
                  <a:pt x="505" y="272"/>
                </a:cubicBezTo>
                <a:cubicBezTo>
                  <a:pt x="505" y="272"/>
                  <a:pt x="502" y="270"/>
                  <a:pt x="502" y="269"/>
                </a:cubicBezTo>
                <a:cubicBezTo>
                  <a:pt x="500" y="268"/>
                  <a:pt x="499" y="267"/>
                  <a:pt x="498" y="266"/>
                </a:cubicBezTo>
                <a:cubicBezTo>
                  <a:pt x="498" y="260"/>
                  <a:pt x="500" y="255"/>
                  <a:pt x="499" y="249"/>
                </a:cubicBezTo>
                <a:cubicBezTo>
                  <a:pt x="499" y="248"/>
                  <a:pt x="497" y="247"/>
                  <a:pt x="497" y="247"/>
                </a:cubicBezTo>
                <a:cubicBezTo>
                  <a:pt x="496" y="245"/>
                  <a:pt x="495" y="241"/>
                  <a:pt x="494" y="239"/>
                </a:cubicBezTo>
                <a:cubicBezTo>
                  <a:pt x="493" y="239"/>
                  <a:pt x="491" y="239"/>
                  <a:pt x="489" y="239"/>
                </a:cubicBezTo>
                <a:cubicBezTo>
                  <a:pt x="489" y="239"/>
                  <a:pt x="488" y="241"/>
                  <a:pt x="488" y="241"/>
                </a:cubicBezTo>
                <a:cubicBezTo>
                  <a:pt x="484" y="243"/>
                  <a:pt x="480" y="242"/>
                  <a:pt x="477" y="245"/>
                </a:cubicBezTo>
                <a:cubicBezTo>
                  <a:pt x="476" y="246"/>
                  <a:pt x="476" y="248"/>
                  <a:pt x="476" y="249"/>
                </a:cubicBezTo>
                <a:cubicBezTo>
                  <a:pt x="476" y="249"/>
                  <a:pt x="474" y="251"/>
                  <a:pt x="474" y="252"/>
                </a:cubicBezTo>
                <a:cubicBezTo>
                  <a:pt x="474" y="253"/>
                  <a:pt x="477" y="254"/>
                  <a:pt x="477" y="255"/>
                </a:cubicBezTo>
                <a:cubicBezTo>
                  <a:pt x="477" y="256"/>
                  <a:pt x="476" y="260"/>
                  <a:pt x="476" y="261"/>
                </a:cubicBezTo>
                <a:cubicBezTo>
                  <a:pt x="475" y="262"/>
                  <a:pt x="474" y="264"/>
                  <a:pt x="474" y="265"/>
                </a:cubicBezTo>
                <a:cubicBezTo>
                  <a:pt x="474" y="265"/>
                  <a:pt x="474" y="267"/>
                  <a:pt x="474" y="267"/>
                </a:cubicBezTo>
                <a:cubicBezTo>
                  <a:pt x="474" y="267"/>
                  <a:pt x="475" y="268"/>
                  <a:pt x="474" y="269"/>
                </a:cubicBezTo>
                <a:cubicBezTo>
                  <a:pt x="469" y="276"/>
                  <a:pt x="469" y="276"/>
                  <a:pt x="469" y="276"/>
                </a:cubicBezTo>
                <a:cubicBezTo>
                  <a:pt x="467" y="277"/>
                  <a:pt x="464" y="276"/>
                  <a:pt x="462" y="277"/>
                </a:cubicBezTo>
                <a:cubicBezTo>
                  <a:pt x="461" y="277"/>
                  <a:pt x="457" y="279"/>
                  <a:pt x="456" y="279"/>
                </a:cubicBezTo>
                <a:cubicBezTo>
                  <a:pt x="456" y="280"/>
                  <a:pt x="455" y="281"/>
                  <a:pt x="454" y="282"/>
                </a:cubicBezTo>
                <a:cubicBezTo>
                  <a:pt x="456" y="282"/>
                  <a:pt x="457" y="282"/>
                  <a:pt x="459" y="282"/>
                </a:cubicBezTo>
                <a:cubicBezTo>
                  <a:pt x="460" y="287"/>
                  <a:pt x="460" y="290"/>
                  <a:pt x="462" y="294"/>
                </a:cubicBezTo>
                <a:cubicBezTo>
                  <a:pt x="461" y="294"/>
                  <a:pt x="461" y="293"/>
                  <a:pt x="460" y="292"/>
                </a:cubicBezTo>
                <a:cubicBezTo>
                  <a:pt x="459" y="292"/>
                  <a:pt x="459" y="293"/>
                  <a:pt x="458" y="293"/>
                </a:cubicBezTo>
                <a:cubicBezTo>
                  <a:pt x="457" y="292"/>
                  <a:pt x="457" y="290"/>
                  <a:pt x="456" y="288"/>
                </a:cubicBezTo>
                <a:cubicBezTo>
                  <a:pt x="456" y="288"/>
                  <a:pt x="454" y="288"/>
                  <a:pt x="454" y="287"/>
                </a:cubicBezTo>
                <a:cubicBezTo>
                  <a:pt x="453" y="287"/>
                  <a:pt x="453" y="285"/>
                  <a:pt x="453" y="284"/>
                </a:cubicBezTo>
                <a:cubicBezTo>
                  <a:pt x="452" y="284"/>
                  <a:pt x="447" y="283"/>
                  <a:pt x="445" y="284"/>
                </a:cubicBezTo>
                <a:cubicBezTo>
                  <a:pt x="444" y="285"/>
                  <a:pt x="444" y="285"/>
                  <a:pt x="444" y="285"/>
                </a:cubicBezTo>
                <a:cubicBezTo>
                  <a:pt x="439" y="285"/>
                  <a:pt x="435" y="282"/>
                  <a:pt x="432" y="280"/>
                </a:cubicBezTo>
                <a:cubicBezTo>
                  <a:pt x="433" y="280"/>
                  <a:pt x="432" y="277"/>
                  <a:pt x="432" y="277"/>
                </a:cubicBezTo>
                <a:cubicBezTo>
                  <a:pt x="438" y="276"/>
                  <a:pt x="446" y="279"/>
                  <a:pt x="450" y="276"/>
                </a:cubicBezTo>
                <a:cubicBezTo>
                  <a:pt x="450" y="276"/>
                  <a:pt x="451" y="273"/>
                  <a:pt x="452" y="272"/>
                </a:cubicBezTo>
                <a:cubicBezTo>
                  <a:pt x="454" y="274"/>
                  <a:pt x="455" y="273"/>
                  <a:pt x="458" y="274"/>
                </a:cubicBezTo>
                <a:cubicBezTo>
                  <a:pt x="458" y="273"/>
                  <a:pt x="459" y="273"/>
                  <a:pt x="460" y="272"/>
                </a:cubicBezTo>
                <a:cubicBezTo>
                  <a:pt x="459" y="270"/>
                  <a:pt x="459" y="270"/>
                  <a:pt x="459" y="270"/>
                </a:cubicBezTo>
                <a:cubicBezTo>
                  <a:pt x="459" y="269"/>
                  <a:pt x="461" y="269"/>
                  <a:pt x="462" y="269"/>
                </a:cubicBezTo>
                <a:cubicBezTo>
                  <a:pt x="462" y="268"/>
                  <a:pt x="462" y="265"/>
                  <a:pt x="462" y="265"/>
                </a:cubicBezTo>
                <a:cubicBezTo>
                  <a:pt x="464" y="264"/>
                  <a:pt x="464" y="265"/>
                  <a:pt x="466" y="264"/>
                </a:cubicBezTo>
                <a:cubicBezTo>
                  <a:pt x="462" y="256"/>
                  <a:pt x="464" y="256"/>
                  <a:pt x="466" y="248"/>
                </a:cubicBezTo>
                <a:cubicBezTo>
                  <a:pt x="462" y="245"/>
                  <a:pt x="461" y="244"/>
                  <a:pt x="459" y="239"/>
                </a:cubicBezTo>
                <a:cubicBezTo>
                  <a:pt x="458" y="238"/>
                  <a:pt x="458" y="238"/>
                  <a:pt x="458" y="238"/>
                </a:cubicBezTo>
                <a:cubicBezTo>
                  <a:pt x="457" y="237"/>
                  <a:pt x="458" y="235"/>
                  <a:pt x="458" y="235"/>
                </a:cubicBezTo>
                <a:cubicBezTo>
                  <a:pt x="458" y="233"/>
                  <a:pt x="458" y="233"/>
                  <a:pt x="458" y="233"/>
                </a:cubicBezTo>
                <a:cubicBezTo>
                  <a:pt x="457" y="233"/>
                  <a:pt x="458" y="230"/>
                  <a:pt x="458" y="229"/>
                </a:cubicBezTo>
                <a:cubicBezTo>
                  <a:pt x="458" y="228"/>
                  <a:pt x="460" y="226"/>
                  <a:pt x="460" y="225"/>
                </a:cubicBezTo>
                <a:cubicBezTo>
                  <a:pt x="460" y="225"/>
                  <a:pt x="461" y="220"/>
                  <a:pt x="460" y="219"/>
                </a:cubicBezTo>
                <a:cubicBezTo>
                  <a:pt x="460" y="219"/>
                  <a:pt x="458" y="218"/>
                  <a:pt x="458" y="218"/>
                </a:cubicBezTo>
                <a:cubicBezTo>
                  <a:pt x="458" y="217"/>
                  <a:pt x="459" y="215"/>
                  <a:pt x="459" y="213"/>
                </a:cubicBezTo>
                <a:cubicBezTo>
                  <a:pt x="456" y="212"/>
                  <a:pt x="453" y="211"/>
                  <a:pt x="453" y="207"/>
                </a:cubicBezTo>
                <a:cubicBezTo>
                  <a:pt x="453" y="202"/>
                  <a:pt x="456" y="202"/>
                  <a:pt x="458" y="199"/>
                </a:cubicBezTo>
                <a:cubicBezTo>
                  <a:pt x="459" y="195"/>
                  <a:pt x="458" y="193"/>
                  <a:pt x="458" y="189"/>
                </a:cubicBezTo>
                <a:cubicBezTo>
                  <a:pt x="458" y="188"/>
                  <a:pt x="460" y="187"/>
                  <a:pt x="460" y="186"/>
                </a:cubicBezTo>
                <a:cubicBezTo>
                  <a:pt x="461" y="185"/>
                  <a:pt x="459" y="184"/>
                  <a:pt x="460" y="182"/>
                </a:cubicBezTo>
                <a:cubicBezTo>
                  <a:pt x="460" y="182"/>
                  <a:pt x="461" y="181"/>
                  <a:pt x="460" y="181"/>
                </a:cubicBezTo>
                <a:cubicBezTo>
                  <a:pt x="460" y="180"/>
                  <a:pt x="458" y="179"/>
                  <a:pt x="458" y="178"/>
                </a:cubicBezTo>
                <a:cubicBezTo>
                  <a:pt x="458" y="177"/>
                  <a:pt x="459" y="175"/>
                  <a:pt x="458" y="175"/>
                </a:cubicBezTo>
                <a:cubicBezTo>
                  <a:pt x="458" y="175"/>
                  <a:pt x="457" y="175"/>
                  <a:pt x="456" y="175"/>
                </a:cubicBezTo>
                <a:cubicBezTo>
                  <a:pt x="456" y="175"/>
                  <a:pt x="452" y="172"/>
                  <a:pt x="452" y="172"/>
                </a:cubicBezTo>
                <a:cubicBezTo>
                  <a:pt x="451" y="172"/>
                  <a:pt x="448" y="173"/>
                  <a:pt x="448" y="173"/>
                </a:cubicBezTo>
                <a:cubicBezTo>
                  <a:pt x="444" y="173"/>
                  <a:pt x="440" y="173"/>
                  <a:pt x="437" y="173"/>
                </a:cubicBezTo>
                <a:cubicBezTo>
                  <a:pt x="437" y="173"/>
                  <a:pt x="438" y="172"/>
                  <a:pt x="436" y="172"/>
                </a:cubicBezTo>
                <a:cubicBezTo>
                  <a:pt x="436" y="174"/>
                  <a:pt x="436" y="174"/>
                  <a:pt x="436" y="174"/>
                </a:cubicBezTo>
                <a:cubicBezTo>
                  <a:pt x="434" y="175"/>
                  <a:pt x="432" y="175"/>
                  <a:pt x="431" y="177"/>
                </a:cubicBezTo>
                <a:cubicBezTo>
                  <a:pt x="429" y="179"/>
                  <a:pt x="429" y="183"/>
                  <a:pt x="428" y="185"/>
                </a:cubicBezTo>
                <a:cubicBezTo>
                  <a:pt x="426" y="189"/>
                  <a:pt x="422" y="191"/>
                  <a:pt x="420" y="194"/>
                </a:cubicBezTo>
                <a:cubicBezTo>
                  <a:pt x="419" y="196"/>
                  <a:pt x="419" y="198"/>
                  <a:pt x="417" y="199"/>
                </a:cubicBezTo>
                <a:cubicBezTo>
                  <a:pt x="416" y="200"/>
                  <a:pt x="413" y="201"/>
                  <a:pt x="411" y="202"/>
                </a:cubicBezTo>
                <a:cubicBezTo>
                  <a:pt x="411" y="205"/>
                  <a:pt x="411" y="207"/>
                  <a:pt x="411" y="209"/>
                </a:cubicBezTo>
                <a:cubicBezTo>
                  <a:pt x="411" y="209"/>
                  <a:pt x="414" y="213"/>
                  <a:pt x="414" y="214"/>
                </a:cubicBezTo>
                <a:cubicBezTo>
                  <a:pt x="414" y="217"/>
                  <a:pt x="413" y="218"/>
                  <a:pt x="414" y="221"/>
                </a:cubicBezTo>
                <a:cubicBezTo>
                  <a:pt x="409" y="224"/>
                  <a:pt x="410" y="224"/>
                  <a:pt x="410" y="231"/>
                </a:cubicBezTo>
                <a:cubicBezTo>
                  <a:pt x="411" y="231"/>
                  <a:pt x="411" y="230"/>
                  <a:pt x="412" y="230"/>
                </a:cubicBezTo>
                <a:cubicBezTo>
                  <a:pt x="414" y="230"/>
                  <a:pt x="416" y="233"/>
                  <a:pt x="417" y="233"/>
                </a:cubicBezTo>
                <a:cubicBezTo>
                  <a:pt x="418" y="233"/>
                  <a:pt x="417" y="232"/>
                  <a:pt x="418" y="233"/>
                </a:cubicBezTo>
                <a:cubicBezTo>
                  <a:pt x="417" y="232"/>
                  <a:pt x="420" y="233"/>
                  <a:pt x="420" y="233"/>
                </a:cubicBezTo>
                <a:cubicBezTo>
                  <a:pt x="420" y="233"/>
                  <a:pt x="420" y="235"/>
                  <a:pt x="420" y="235"/>
                </a:cubicBezTo>
                <a:cubicBezTo>
                  <a:pt x="420" y="236"/>
                  <a:pt x="417" y="236"/>
                  <a:pt x="418" y="239"/>
                </a:cubicBezTo>
                <a:cubicBezTo>
                  <a:pt x="418" y="239"/>
                  <a:pt x="419" y="240"/>
                  <a:pt x="418" y="241"/>
                </a:cubicBezTo>
                <a:cubicBezTo>
                  <a:pt x="419" y="241"/>
                  <a:pt x="420" y="244"/>
                  <a:pt x="420" y="245"/>
                </a:cubicBezTo>
                <a:cubicBezTo>
                  <a:pt x="420" y="245"/>
                  <a:pt x="422" y="244"/>
                  <a:pt x="422" y="244"/>
                </a:cubicBezTo>
                <a:cubicBezTo>
                  <a:pt x="424" y="244"/>
                  <a:pt x="424" y="244"/>
                  <a:pt x="424" y="244"/>
                </a:cubicBezTo>
                <a:cubicBezTo>
                  <a:pt x="423" y="247"/>
                  <a:pt x="422" y="251"/>
                  <a:pt x="420" y="254"/>
                </a:cubicBezTo>
                <a:cubicBezTo>
                  <a:pt x="419" y="255"/>
                  <a:pt x="418" y="255"/>
                  <a:pt x="416" y="256"/>
                </a:cubicBezTo>
                <a:cubicBezTo>
                  <a:pt x="416" y="255"/>
                  <a:pt x="416" y="253"/>
                  <a:pt x="416" y="252"/>
                </a:cubicBezTo>
                <a:cubicBezTo>
                  <a:pt x="415" y="251"/>
                  <a:pt x="414" y="252"/>
                  <a:pt x="413" y="251"/>
                </a:cubicBezTo>
                <a:cubicBezTo>
                  <a:pt x="413" y="251"/>
                  <a:pt x="413" y="249"/>
                  <a:pt x="412" y="249"/>
                </a:cubicBezTo>
                <a:cubicBezTo>
                  <a:pt x="410" y="245"/>
                  <a:pt x="407" y="243"/>
                  <a:pt x="401" y="242"/>
                </a:cubicBezTo>
                <a:cubicBezTo>
                  <a:pt x="400" y="240"/>
                  <a:pt x="400" y="240"/>
                  <a:pt x="400" y="240"/>
                </a:cubicBezTo>
                <a:cubicBezTo>
                  <a:pt x="401" y="240"/>
                  <a:pt x="401" y="239"/>
                  <a:pt x="401" y="239"/>
                </a:cubicBezTo>
                <a:cubicBezTo>
                  <a:pt x="398" y="238"/>
                  <a:pt x="396" y="237"/>
                  <a:pt x="394" y="236"/>
                </a:cubicBezTo>
                <a:cubicBezTo>
                  <a:pt x="392" y="241"/>
                  <a:pt x="392" y="241"/>
                  <a:pt x="392" y="241"/>
                </a:cubicBezTo>
                <a:cubicBezTo>
                  <a:pt x="391" y="241"/>
                  <a:pt x="391" y="241"/>
                  <a:pt x="391" y="241"/>
                </a:cubicBezTo>
                <a:cubicBezTo>
                  <a:pt x="391" y="239"/>
                  <a:pt x="390" y="237"/>
                  <a:pt x="391" y="233"/>
                </a:cubicBezTo>
                <a:cubicBezTo>
                  <a:pt x="388" y="232"/>
                  <a:pt x="385" y="233"/>
                  <a:pt x="382" y="232"/>
                </a:cubicBezTo>
                <a:cubicBezTo>
                  <a:pt x="381" y="232"/>
                  <a:pt x="381" y="229"/>
                  <a:pt x="381" y="229"/>
                </a:cubicBezTo>
                <a:cubicBezTo>
                  <a:pt x="380" y="229"/>
                  <a:pt x="379" y="230"/>
                  <a:pt x="378" y="230"/>
                </a:cubicBezTo>
                <a:cubicBezTo>
                  <a:pt x="378" y="230"/>
                  <a:pt x="377" y="225"/>
                  <a:pt x="373" y="227"/>
                </a:cubicBezTo>
                <a:cubicBezTo>
                  <a:pt x="371" y="227"/>
                  <a:pt x="373" y="231"/>
                  <a:pt x="365" y="230"/>
                </a:cubicBezTo>
                <a:cubicBezTo>
                  <a:pt x="364" y="230"/>
                  <a:pt x="361" y="227"/>
                  <a:pt x="359" y="228"/>
                </a:cubicBezTo>
                <a:cubicBezTo>
                  <a:pt x="359" y="228"/>
                  <a:pt x="358" y="231"/>
                  <a:pt x="358" y="231"/>
                </a:cubicBezTo>
                <a:cubicBezTo>
                  <a:pt x="356" y="231"/>
                  <a:pt x="354" y="232"/>
                  <a:pt x="353" y="232"/>
                </a:cubicBezTo>
                <a:cubicBezTo>
                  <a:pt x="354" y="233"/>
                  <a:pt x="353" y="233"/>
                  <a:pt x="353" y="234"/>
                </a:cubicBezTo>
                <a:cubicBezTo>
                  <a:pt x="353" y="234"/>
                  <a:pt x="355" y="235"/>
                  <a:pt x="355" y="235"/>
                </a:cubicBezTo>
                <a:cubicBezTo>
                  <a:pt x="357" y="239"/>
                  <a:pt x="357" y="244"/>
                  <a:pt x="357" y="248"/>
                </a:cubicBezTo>
                <a:cubicBezTo>
                  <a:pt x="356" y="248"/>
                  <a:pt x="356" y="249"/>
                  <a:pt x="355" y="249"/>
                </a:cubicBezTo>
                <a:cubicBezTo>
                  <a:pt x="352" y="250"/>
                  <a:pt x="350" y="247"/>
                  <a:pt x="349" y="247"/>
                </a:cubicBezTo>
                <a:cubicBezTo>
                  <a:pt x="349" y="247"/>
                  <a:pt x="347" y="249"/>
                  <a:pt x="347" y="249"/>
                </a:cubicBezTo>
                <a:cubicBezTo>
                  <a:pt x="347" y="250"/>
                  <a:pt x="346" y="254"/>
                  <a:pt x="346" y="255"/>
                </a:cubicBezTo>
                <a:cubicBezTo>
                  <a:pt x="346" y="255"/>
                  <a:pt x="341" y="251"/>
                  <a:pt x="341" y="251"/>
                </a:cubicBezTo>
                <a:cubicBezTo>
                  <a:pt x="341" y="250"/>
                  <a:pt x="342" y="244"/>
                  <a:pt x="342" y="243"/>
                </a:cubicBezTo>
                <a:cubicBezTo>
                  <a:pt x="341" y="243"/>
                  <a:pt x="340" y="243"/>
                  <a:pt x="339" y="243"/>
                </a:cubicBezTo>
                <a:cubicBezTo>
                  <a:pt x="336" y="244"/>
                  <a:pt x="333" y="247"/>
                  <a:pt x="330" y="247"/>
                </a:cubicBezTo>
                <a:cubicBezTo>
                  <a:pt x="330" y="247"/>
                  <a:pt x="331" y="245"/>
                  <a:pt x="331" y="245"/>
                </a:cubicBezTo>
                <a:cubicBezTo>
                  <a:pt x="330" y="245"/>
                  <a:pt x="329" y="245"/>
                  <a:pt x="329" y="245"/>
                </a:cubicBezTo>
                <a:cubicBezTo>
                  <a:pt x="329" y="247"/>
                  <a:pt x="329" y="247"/>
                  <a:pt x="329" y="247"/>
                </a:cubicBezTo>
                <a:cubicBezTo>
                  <a:pt x="329" y="245"/>
                  <a:pt x="330" y="248"/>
                  <a:pt x="330" y="248"/>
                </a:cubicBezTo>
                <a:cubicBezTo>
                  <a:pt x="330" y="249"/>
                  <a:pt x="329" y="249"/>
                  <a:pt x="329" y="250"/>
                </a:cubicBezTo>
                <a:cubicBezTo>
                  <a:pt x="328" y="250"/>
                  <a:pt x="327" y="250"/>
                  <a:pt x="326" y="250"/>
                </a:cubicBezTo>
                <a:cubicBezTo>
                  <a:pt x="324" y="248"/>
                  <a:pt x="321" y="245"/>
                  <a:pt x="316" y="246"/>
                </a:cubicBezTo>
                <a:cubicBezTo>
                  <a:pt x="313" y="246"/>
                  <a:pt x="309" y="249"/>
                  <a:pt x="305" y="250"/>
                </a:cubicBezTo>
                <a:cubicBezTo>
                  <a:pt x="306" y="251"/>
                  <a:pt x="307" y="252"/>
                  <a:pt x="307" y="253"/>
                </a:cubicBezTo>
                <a:cubicBezTo>
                  <a:pt x="307" y="254"/>
                  <a:pt x="306" y="254"/>
                  <a:pt x="306" y="255"/>
                </a:cubicBezTo>
                <a:cubicBezTo>
                  <a:pt x="306" y="254"/>
                  <a:pt x="304" y="253"/>
                  <a:pt x="303" y="253"/>
                </a:cubicBezTo>
                <a:cubicBezTo>
                  <a:pt x="304" y="253"/>
                  <a:pt x="302" y="251"/>
                  <a:pt x="302" y="251"/>
                </a:cubicBezTo>
                <a:cubicBezTo>
                  <a:pt x="302" y="252"/>
                  <a:pt x="299" y="254"/>
                  <a:pt x="299" y="255"/>
                </a:cubicBezTo>
                <a:cubicBezTo>
                  <a:pt x="297" y="255"/>
                  <a:pt x="292" y="254"/>
                  <a:pt x="290" y="255"/>
                </a:cubicBezTo>
                <a:cubicBezTo>
                  <a:pt x="290" y="254"/>
                  <a:pt x="290" y="253"/>
                  <a:pt x="290" y="253"/>
                </a:cubicBezTo>
                <a:cubicBezTo>
                  <a:pt x="291" y="252"/>
                  <a:pt x="291" y="251"/>
                  <a:pt x="292" y="251"/>
                </a:cubicBezTo>
                <a:cubicBezTo>
                  <a:pt x="292" y="251"/>
                  <a:pt x="297" y="251"/>
                  <a:pt x="297" y="251"/>
                </a:cubicBezTo>
                <a:cubicBezTo>
                  <a:pt x="297" y="251"/>
                  <a:pt x="297" y="249"/>
                  <a:pt x="297" y="249"/>
                </a:cubicBezTo>
                <a:cubicBezTo>
                  <a:pt x="296" y="249"/>
                  <a:pt x="294" y="248"/>
                  <a:pt x="294" y="248"/>
                </a:cubicBezTo>
                <a:cubicBezTo>
                  <a:pt x="294" y="247"/>
                  <a:pt x="295" y="246"/>
                  <a:pt x="294" y="245"/>
                </a:cubicBezTo>
                <a:cubicBezTo>
                  <a:pt x="293" y="245"/>
                  <a:pt x="289" y="246"/>
                  <a:pt x="292" y="244"/>
                </a:cubicBezTo>
                <a:cubicBezTo>
                  <a:pt x="292" y="243"/>
                  <a:pt x="291" y="243"/>
                  <a:pt x="292" y="243"/>
                </a:cubicBezTo>
                <a:cubicBezTo>
                  <a:pt x="291" y="243"/>
                  <a:pt x="293" y="240"/>
                  <a:pt x="291" y="241"/>
                </a:cubicBezTo>
                <a:cubicBezTo>
                  <a:pt x="289" y="242"/>
                  <a:pt x="289" y="244"/>
                  <a:pt x="288" y="245"/>
                </a:cubicBezTo>
                <a:cubicBezTo>
                  <a:pt x="288" y="245"/>
                  <a:pt x="283" y="247"/>
                  <a:pt x="283" y="247"/>
                </a:cubicBezTo>
                <a:cubicBezTo>
                  <a:pt x="282" y="248"/>
                  <a:pt x="285" y="249"/>
                  <a:pt x="282" y="251"/>
                </a:cubicBezTo>
                <a:cubicBezTo>
                  <a:pt x="282" y="251"/>
                  <a:pt x="282" y="251"/>
                  <a:pt x="282" y="251"/>
                </a:cubicBezTo>
                <a:cubicBezTo>
                  <a:pt x="281" y="251"/>
                  <a:pt x="282" y="250"/>
                  <a:pt x="282" y="249"/>
                </a:cubicBezTo>
                <a:cubicBezTo>
                  <a:pt x="279" y="249"/>
                  <a:pt x="278" y="248"/>
                  <a:pt x="276" y="249"/>
                </a:cubicBezTo>
                <a:cubicBezTo>
                  <a:pt x="275" y="249"/>
                  <a:pt x="274" y="251"/>
                  <a:pt x="274" y="251"/>
                </a:cubicBezTo>
                <a:cubicBezTo>
                  <a:pt x="272" y="252"/>
                  <a:pt x="271" y="251"/>
                  <a:pt x="270" y="251"/>
                </a:cubicBezTo>
                <a:cubicBezTo>
                  <a:pt x="268" y="252"/>
                  <a:pt x="268" y="253"/>
                  <a:pt x="267" y="254"/>
                </a:cubicBezTo>
                <a:cubicBezTo>
                  <a:pt x="266" y="255"/>
                  <a:pt x="265" y="254"/>
                  <a:pt x="264" y="255"/>
                </a:cubicBezTo>
                <a:cubicBezTo>
                  <a:pt x="263" y="255"/>
                  <a:pt x="262" y="256"/>
                  <a:pt x="262" y="257"/>
                </a:cubicBezTo>
                <a:cubicBezTo>
                  <a:pt x="258" y="258"/>
                  <a:pt x="255" y="259"/>
                  <a:pt x="251" y="259"/>
                </a:cubicBezTo>
                <a:cubicBezTo>
                  <a:pt x="251" y="259"/>
                  <a:pt x="251" y="261"/>
                  <a:pt x="251" y="261"/>
                </a:cubicBezTo>
                <a:cubicBezTo>
                  <a:pt x="249" y="262"/>
                  <a:pt x="248" y="263"/>
                  <a:pt x="246" y="263"/>
                </a:cubicBezTo>
                <a:cubicBezTo>
                  <a:pt x="245" y="263"/>
                  <a:pt x="245" y="262"/>
                  <a:pt x="244" y="263"/>
                </a:cubicBezTo>
                <a:cubicBezTo>
                  <a:pt x="243" y="267"/>
                  <a:pt x="242" y="270"/>
                  <a:pt x="242" y="276"/>
                </a:cubicBezTo>
                <a:cubicBezTo>
                  <a:pt x="242" y="276"/>
                  <a:pt x="239" y="276"/>
                  <a:pt x="239" y="276"/>
                </a:cubicBezTo>
                <a:cubicBezTo>
                  <a:pt x="238" y="276"/>
                  <a:pt x="239" y="278"/>
                  <a:pt x="238" y="278"/>
                </a:cubicBezTo>
                <a:cubicBezTo>
                  <a:pt x="238" y="278"/>
                  <a:pt x="235" y="279"/>
                  <a:pt x="234" y="279"/>
                </a:cubicBezTo>
                <a:cubicBezTo>
                  <a:pt x="231" y="280"/>
                  <a:pt x="230" y="279"/>
                  <a:pt x="226" y="280"/>
                </a:cubicBezTo>
                <a:cubicBezTo>
                  <a:pt x="226" y="279"/>
                  <a:pt x="226" y="275"/>
                  <a:pt x="225" y="273"/>
                </a:cubicBezTo>
                <a:cubicBezTo>
                  <a:pt x="225" y="272"/>
                  <a:pt x="222" y="272"/>
                  <a:pt x="223" y="269"/>
                </a:cubicBezTo>
                <a:cubicBezTo>
                  <a:pt x="223" y="268"/>
                  <a:pt x="225" y="267"/>
                  <a:pt x="225" y="267"/>
                </a:cubicBezTo>
                <a:cubicBezTo>
                  <a:pt x="226" y="266"/>
                  <a:pt x="226" y="265"/>
                  <a:pt x="226" y="264"/>
                </a:cubicBezTo>
                <a:cubicBezTo>
                  <a:pt x="230" y="264"/>
                  <a:pt x="231" y="264"/>
                  <a:pt x="236" y="263"/>
                </a:cubicBezTo>
                <a:cubicBezTo>
                  <a:pt x="236" y="261"/>
                  <a:pt x="236" y="261"/>
                  <a:pt x="236" y="261"/>
                </a:cubicBezTo>
                <a:cubicBezTo>
                  <a:pt x="236" y="261"/>
                  <a:pt x="235" y="260"/>
                  <a:pt x="234" y="259"/>
                </a:cubicBezTo>
                <a:cubicBezTo>
                  <a:pt x="234" y="259"/>
                  <a:pt x="235" y="258"/>
                  <a:pt x="234" y="257"/>
                </a:cubicBezTo>
                <a:cubicBezTo>
                  <a:pt x="234" y="257"/>
                  <a:pt x="233" y="256"/>
                  <a:pt x="232" y="256"/>
                </a:cubicBezTo>
                <a:cubicBezTo>
                  <a:pt x="231" y="254"/>
                  <a:pt x="229" y="248"/>
                  <a:pt x="226" y="247"/>
                </a:cubicBezTo>
                <a:cubicBezTo>
                  <a:pt x="224" y="246"/>
                  <a:pt x="221" y="247"/>
                  <a:pt x="218" y="247"/>
                </a:cubicBezTo>
                <a:cubicBezTo>
                  <a:pt x="217" y="245"/>
                  <a:pt x="217" y="245"/>
                  <a:pt x="217" y="245"/>
                </a:cubicBezTo>
                <a:cubicBezTo>
                  <a:pt x="213" y="244"/>
                  <a:pt x="211" y="244"/>
                  <a:pt x="208" y="242"/>
                </a:cubicBezTo>
                <a:cubicBezTo>
                  <a:pt x="209" y="243"/>
                  <a:pt x="208" y="244"/>
                  <a:pt x="208" y="245"/>
                </a:cubicBezTo>
                <a:cubicBezTo>
                  <a:pt x="209" y="246"/>
                  <a:pt x="213" y="249"/>
                  <a:pt x="215" y="250"/>
                </a:cubicBezTo>
                <a:cubicBezTo>
                  <a:pt x="214" y="253"/>
                  <a:pt x="215" y="254"/>
                  <a:pt x="214" y="257"/>
                </a:cubicBezTo>
                <a:cubicBezTo>
                  <a:pt x="214" y="257"/>
                  <a:pt x="212" y="257"/>
                  <a:pt x="212" y="257"/>
                </a:cubicBezTo>
                <a:cubicBezTo>
                  <a:pt x="212" y="258"/>
                  <a:pt x="213" y="259"/>
                  <a:pt x="212" y="259"/>
                </a:cubicBezTo>
                <a:cubicBezTo>
                  <a:pt x="212" y="260"/>
                  <a:pt x="211" y="259"/>
                  <a:pt x="210" y="260"/>
                </a:cubicBezTo>
                <a:cubicBezTo>
                  <a:pt x="209" y="263"/>
                  <a:pt x="211" y="262"/>
                  <a:pt x="208" y="264"/>
                </a:cubicBezTo>
                <a:cubicBezTo>
                  <a:pt x="207" y="265"/>
                  <a:pt x="212" y="270"/>
                  <a:pt x="212" y="270"/>
                </a:cubicBezTo>
                <a:cubicBezTo>
                  <a:pt x="212" y="270"/>
                  <a:pt x="212" y="272"/>
                  <a:pt x="212" y="272"/>
                </a:cubicBezTo>
                <a:cubicBezTo>
                  <a:pt x="212" y="272"/>
                  <a:pt x="213" y="272"/>
                  <a:pt x="212" y="273"/>
                </a:cubicBezTo>
                <a:cubicBezTo>
                  <a:pt x="212" y="274"/>
                  <a:pt x="210" y="275"/>
                  <a:pt x="209" y="276"/>
                </a:cubicBezTo>
                <a:cubicBezTo>
                  <a:pt x="207" y="279"/>
                  <a:pt x="207" y="282"/>
                  <a:pt x="206" y="287"/>
                </a:cubicBezTo>
                <a:cubicBezTo>
                  <a:pt x="205" y="287"/>
                  <a:pt x="204" y="287"/>
                  <a:pt x="202" y="287"/>
                </a:cubicBezTo>
                <a:cubicBezTo>
                  <a:pt x="203" y="285"/>
                  <a:pt x="203" y="285"/>
                  <a:pt x="203" y="285"/>
                </a:cubicBezTo>
                <a:cubicBezTo>
                  <a:pt x="204" y="286"/>
                  <a:pt x="200" y="281"/>
                  <a:pt x="200" y="281"/>
                </a:cubicBezTo>
                <a:cubicBezTo>
                  <a:pt x="199" y="281"/>
                  <a:pt x="198" y="281"/>
                  <a:pt x="197" y="281"/>
                </a:cubicBezTo>
                <a:cubicBezTo>
                  <a:pt x="197" y="281"/>
                  <a:pt x="196" y="279"/>
                  <a:pt x="195" y="278"/>
                </a:cubicBezTo>
                <a:cubicBezTo>
                  <a:pt x="191" y="278"/>
                  <a:pt x="191" y="281"/>
                  <a:pt x="188" y="282"/>
                </a:cubicBezTo>
                <a:cubicBezTo>
                  <a:pt x="187" y="283"/>
                  <a:pt x="186" y="282"/>
                  <a:pt x="184" y="283"/>
                </a:cubicBezTo>
                <a:cubicBezTo>
                  <a:pt x="184" y="284"/>
                  <a:pt x="184" y="286"/>
                  <a:pt x="183" y="286"/>
                </a:cubicBezTo>
                <a:cubicBezTo>
                  <a:pt x="182" y="288"/>
                  <a:pt x="176" y="291"/>
                  <a:pt x="176" y="292"/>
                </a:cubicBezTo>
                <a:cubicBezTo>
                  <a:pt x="176" y="292"/>
                  <a:pt x="176" y="294"/>
                  <a:pt x="176" y="294"/>
                </a:cubicBezTo>
                <a:cubicBezTo>
                  <a:pt x="176" y="297"/>
                  <a:pt x="180" y="298"/>
                  <a:pt x="181" y="300"/>
                </a:cubicBezTo>
                <a:cubicBezTo>
                  <a:pt x="183" y="302"/>
                  <a:pt x="183" y="304"/>
                  <a:pt x="184" y="306"/>
                </a:cubicBezTo>
                <a:cubicBezTo>
                  <a:pt x="181" y="306"/>
                  <a:pt x="179" y="306"/>
                  <a:pt x="175" y="305"/>
                </a:cubicBezTo>
                <a:cubicBezTo>
                  <a:pt x="175" y="305"/>
                  <a:pt x="173" y="303"/>
                  <a:pt x="173" y="303"/>
                </a:cubicBezTo>
                <a:cubicBezTo>
                  <a:pt x="171" y="302"/>
                  <a:pt x="169" y="303"/>
                  <a:pt x="168" y="302"/>
                </a:cubicBezTo>
                <a:cubicBezTo>
                  <a:pt x="168" y="302"/>
                  <a:pt x="168" y="301"/>
                  <a:pt x="169" y="300"/>
                </a:cubicBezTo>
                <a:cubicBezTo>
                  <a:pt x="167" y="300"/>
                  <a:pt x="165" y="299"/>
                  <a:pt x="163" y="298"/>
                </a:cubicBezTo>
                <a:cubicBezTo>
                  <a:pt x="162" y="298"/>
                  <a:pt x="161" y="296"/>
                  <a:pt x="160" y="295"/>
                </a:cubicBezTo>
                <a:cubicBezTo>
                  <a:pt x="156" y="294"/>
                  <a:pt x="155" y="298"/>
                  <a:pt x="157" y="297"/>
                </a:cubicBezTo>
                <a:cubicBezTo>
                  <a:pt x="157" y="297"/>
                  <a:pt x="158" y="300"/>
                  <a:pt x="157" y="300"/>
                </a:cubicBezTo>
                <a:cubicBezTo>
                  <a:pt x="157" y="301"/>
                  <a:pt x="155" y="301"/>
                  <a:pt x="155" y="301"/>
                </a:cubicBezTo>
                <a:cubicBezTo>
                  <a:pt x="156" y="303"/>
                  <a:pt x="157" y="307"/>
                  <a:pt x="159" y="308"/>
                </a:cubicBezTo>
                <a:cubicBezTo>
                  <a:pt x="160" y="309"/>
                  <a:pt x="162" y="309"/>
                  <a:pt x="163" y="310"/>
                </a:cubicBezTo>
                <a:cubicBezTo>
                  <a:pt x="163" y="317"/>
                  <a:pt x="163" y="317"/>
                  <a:pt x="163" y="317"/>
                </a:cubicBezTo>
                <a:cubicBezTo>
                  <a:pt x="163" y="317"/>
                  <a:pt x="163" y="319"/>
                  <a:pt x="163" y="319"/>
                </a:cubicBezTo>
                <a:cubicBezTo>
                  <a:pt x="162" y="319"/>
                  <a:pt x="161" y="319"/>
                  <a:pt x="160" y="319"/>
                </a:cubicBezTo>
                <a:cubicBezTo>
                  <a:pt x="159" y="320"/>
                  <a:pt x="161" y="321"/>
                  <a:pt x="158" y="321"/>
                </a:cubicBezTo>
                <a:cubicBezTo>
                  <a:pt x="158" y="320"/>
                  <a:pt x="158" y="320"/>
                  <a:pt x="158" y="320"/>
                </a:cubicBezTo>
                <a:cubicBezTo>
                  <a:pt x="157" y="319"/>
                  <a:pt x="156" y="319"/>
                  <a:pt x="155" y="318"/>
                </a:cubicBezTo>
                <a:cubicBezTo>
                  <a:pt x="152" y="317"/>
                  <a:pt x="149" y="318"/>
                  <a:pt x="147" y="318"/>
                </a:cubicBezTo>
                <a:cubicBezTo>
                  <a:pt x="146" y="318"/>
                  <a:pt x="146" y="315"/>
                  <a:pt x="146" y="314"/>
                </a:cubicBezTo>
                <a:cubicBezTo>
                  <a:pt x="146" y="313"/>
                  <a:pt x="144" y="312"/>
                  <a:pt x="144" y="312"/>
                </a:cubicBezTo>
                <a:cubicBezTo>
                  <a:pt x="144" y="312"/>
                  <a:pt x="141" y="312"/>
                  <a:pt x="142" y="312"/>
                </a:cubicBezTo>
                <a:cubicBezTo>
                  <a:pt x="141" y="313"/>
                  <a:pt x="141" y="313"/>
                  <a:pt x="141" y="313"/>
                </a:cubicBezTo>
                <a:cubicBezTo>
                  <a:pt x="140" y="313"/>
                  <a:pt x="140" y="312"/>
                  <a:pt x="139" y="312"/>
                </a:cubicBezTo>
                <a:cubicBezTo>
                  <a:pt x="138" y="307"/>
                  <a:pt x="138" y="306"/>
                  <a:pt x="137" y="300"/>
                </a:cubicBezTo>
                <a:cubicBezTo>
                  <a:pt x="137" y="299"/>
                  <a:pt x="135" y="297"/>
                  <a:pt x="135" y="296"/>
                </a:cubicBezTo>
                <a:cubicBezTo>
                  <a:pt x="135" y="295"/>
                  <a:pt x="137" y="292"/>
                  <a:pt x="137" y="292"/>
                </a:cubicBezTo>
                <a:cubicBezTo>
                  <a:pt x="138" y="290"/>
                  <a:pt x="136" y="291"/>
                  <a:pt x="137" y="289"/>
                </a:cubicBezTo>
                <a:cubicBezTo>
                  <a:pt x="136" y="289"/>
                  <a:pt x="135" y="289"/>
                  <a:pt x="135" y="289"/>
                </a:cubicBezTo>
                <a:cubicBezTo>
                  <a:pt x="134" y="289"/>
                  <a:pt x="134" y="286"/>
                  <a:pt x="133" y="286"/>
                </a:cubicBezTo>
                <a:cubicBezTo>
                  <a:pt x="131" y="285"/>
                  <a:pt x="129" y="286"/>
                  <a:pt x="128" y="286"/>
                </a:cubicBezTo>
                <a:cubicBezTo>
                  <a:pt x="127" y="284"/>
                  <a:pt x="127" y="284"/>
                  <a:pt x="127" y="284"/>
                </a:cubicBezTo>
                <a:cubicBezTo>
                  <a:pt x="124" y="284"/>
                  <a:pt x="123" y="284"/>
                  <a:pt x="120" y="283"/>
                </a:cubicBezTo>
                <a:cubicBezTo>
                  <a:pt x="120" y="283"/>
                  <a:pt x="118" y="282"/>
                  <a:pt x="118" y="282"/>
                </a:cubicBezTo>
                <a:cubicBezTo>
                  <a:pt x="119" y="281"/>
                  <a:pt x="120" y="282"/>
                  <a:pt x="121" y="282"/>
                </a:cubicBezTo>
                <a:cubicBezTo>
                  <a:pt x="122" y="279"/>
                  <a:pt x="122" y="279"/>
                  <a:pt x="122" y="279"/>
                </a:cubicBezTo>
                <a:cubicBezTo>
                  <a:pt x="121" y="279"/>
                  <a:pt x="120" y="280"/>
                  <a:pt x="118" y="280"/>
                </a:cubicBezTo>
                <a:cubicBezTo>
                  <a:pt x="117" y="279"/>
                  <a:pt x="118" y="278"/>
                  <a:pt x="117" y="278"/>
                </a:cubicBezTo>
                <a:cubicBezTo>
                  <a:pt x="117" y="276"/>
                  <a:pt x="117" y="276"/>
                  <a:pt x="117" y="276"/>
                </a:cubicBezTo>
                <a:cubicBezTo>
                  <a:pt x="122" y="273"/>
                  <a:pt x="116" y="273"/>
                  <a:pt x="113" y="274"/>
                </a:cubicBezTo>
                <a:cubicBezTo>
                  <a:pt x="117" y="273"/>
                  <a:pt x="113" y="269"/>
                  <a:pt x="111" y="267"/>
                </a:cubicBezTo>
                <a:cubicBezTo>
                  <a:pt x="110" y="267"/>
                  <a:pt x="110" y="267"/>
                  <a:pt x="110" y="267"/>
                </a:cubicBezTo>
                <a:cubicBezTo>
                  <a:pt x="110" y="266"/>
                  <a:pt x="111" y="265"/>
                  <a:pt x="111" y="265"/>
                </a:cubicBezTo>
                <a:cubicBezTo>
                  <a:pt x="112" y="265"/>
                  <a:pt x="114" y="266"/>
                  <a:pt x="115" y="267"/>
                </a:cubicBezTo>
                <a:cubicBezTo>
                  <a:pt x="116" y="267"/>
                  <a:pt x="116" y="269"/>
                  <a:pt x="118" y="271"/>
                </a:cubicBezTo>
                <a:cubicBezTo>
                  <a:pt x="121" y="272"/>
                  <a:pt x="122" y="270"/>
                  <a:pt x="124" y="271"/>
                </a:cubicBezTo>
                <a:cubicBezTo>
                  <a:pt x="125" y="271"/>
                  <a:pt x="125" y="273"/>
                  <a:pt x="126" y="274"/>
                </a:cubicBezTo>
                <a:cubicBezTo>
                  <a:pt x="127" y="274"/>
                  <a:pt x="128" y="274"/>
                  <a:pt x="129" y="274"/>
                </a:cubicBezTo>
                <a:cubicBezTo>
                  <a:pt x="129" y="275"/>
                  <a:pt x="129" y="276"/>
                  <a:pt x="129" y="276"/>
                </a:cubicBezTo>
                <a:cubicBezTo>
                  <a:pt x="130" y="276"/>
                  <a:pt x="130" y="276"/>
                  <a:pt x="130" y="276"/>
                </a:cubicBezTo>
                <a:cubicBezTo>
                  <a:pt x="130" y="276"/>
                  <a:pt x="130" y="274"/>
                  <a:pt x="130" y="273"/>
                </a:cubicBezTo>
                <a:cubicBezTo>
                  <a:pt x="132" y="272"/>
                  <a:pt x="132" y="272"/>
                  <a:pt x="132" y="272"/>
                </a:cubicBezTo>
                <a:cubicBezTo>
                  <a:pt x="132" y="274"/>
                  <a:pt x="134" y="277"/>
                  <a:pt x="134" y="278"/>
                </a:cubicBezTo>
                <a:cubicBezTo>
                  <a:pt x="136" y="278"/>
                  <a:pt x="138" y="278"/>
                  <a:pt x="140" y="278"/>
                </a:cubicBezTo>
                <a:cubicBezTo>
                  <a:pt x="141" y="280"/>
                  <a:pt x="141" y="280"/>
                  <a:pt x="141" y="280"/>
                </a:cubicBezTo>
                <a:cubicBezTo>
                  <a:pt x="142" y="280"/>
                  <a:pt x="144" y="279"/>
                  <a:pt x="146" y="280"/>
                </a:cubicBezTo>
                <a:cubicBezTo>
                  <a:pt x="147" y="280"/>
                  <a:pt x="149" y="282"/>
                  <a:pt x="150" y="282"/>
                </a:cubicBezTo>
                <a:cubicBezTo>
                  <a:pt x="156" y="284"/>
                  <a:pt x="160" y="283"/>
                  <a:pt x="166" y="284"/>
                </a:cubicBezTo>
                <a:cubicBezTo>
                  <a:pt x="166" y="284"/>
                  <a:pt x="168" y="285"/>
                  <a:pt x="169" y="284"/>
                </a:cubicBezTo>
                <a:cubicBezTo>
                  <a:pt x="170" y="284"/>
                  <a:pt x="171" y="283"/>
                  <a:pt x="171" y="282"/>
                </a:cubicBezTo>
                <a:cubicBezTo>
                  <a:pt x="173" y="282"/>
                  <a:pt x="174" y="282"/>
                  <a:pt x="176" y="281"/>
                </a:cubicBezTo>
                <a:cubicBezTo>
                  <a:pt x="177" y="281"/>
                  <a:pt x="178" y="279"/>
                  <a:pt x="179" y="278"/>
                </a:cubicBezTo>
                <a:cubicBezTo>
                  <a:pt x="180" y="278"/>
                  <a:pt x="180" y="278"/>
                  <a:pt x="180" y="278"/>
                </a:cubicBezTo>
                <a:cubicBezTo>
                  <a:pt x="180" y="278"/>
                  <a:pt x="180" y="276"/>
                  <a:pt x="181" y="276"/>
                </a:cubicBezTo>
                <a:cubicBezTo>
                  <a:pt x="181" y="275"/>
                  <a:pt x="183" y="275"/>
                  <a:pt x="184" y="274"/>
                </a:cubicBezTo>
                <a:cubicBezTo>
                  <a:pt x="186" y="272"/>
                  <a:pt x="187" y="266"/>
                  <a:pt x="185" y="263"/>
                </a:cubicBezTo>
                <a:cubicBezTo>
                  <a:pt x="178" y="256"/>
                  <a:pt x="178" y="256"/>
                  <a:pt x="178" y="256"/>
                </a:cubicBezTo>
                <a:cubicBezTo>
                  <a:pt x="177" y="256"/>
                  <a:pt x="175" y="256"/>
                  <a:pt x="175" y="256"/>
                </a:cubicBezTo>
                <a:cubicBezTo>
                  <a:pt x="173" y="255"/>
                  <a:pt x="173" y="252"/>
                  <a:pt x="172" y="251"/>
                </a:cubicBezTo>
                <a:cubicBezTo>
                  <a:pt x="172" y="251"/>
                  <a:pt x="170" y="252"/>
                  <a:pt x="170" y="253"/>
                </a:cubicBezTo>
                <a:cubicBezTo>
                  <a:pt x="167" y="250"/>
                  <a:pt x="163" y="246"/>
                  <a:pt x="160" y="245"/>
                </a:cubicBezTo>
                <a:cubicBezTo>
                  <a:pt x="158" y="244"/>
                  <a:pt x="157" y="245"/>
                  <a:pt x="156" y="244"/>
                </a:cubicBezTo>
                <a:cubicBezTo>
                  <a:pt x="155" y="244"/>
                  <a:pt x="155" y="242"/>
                  <a:pt x="154" y="241"/>
                </a:cubicBezTo>
                <a:cubicBezTo>
                  <a:pt x="152" y="241"/>
                  <a:pt x="151" y="241"/>
                  <a:pt x="149" y="241"/>
                </a:cubicBezTo>
                <a:cubicBezTo>
                  <a:pt x="148" y="240"/>
                  <a:pt x="145" y="238"/>
                  <a:pt x="143" y="237"/>
                </a:cubicBezTo>
                <a:cubicBezTo>
                  <a:pt x="142" y="237"/>
                  <a:pt x="142" y="238"/>
                  <a:pt x="141" y="238"/>
                </a:cubicBezTo>
                <a:cubicBezTo>
                  <a:pt x="140" y="237"/>
                  <a:pt x="139" y="235"/>
                  <a:pt x="138" y="235"/>
                </a:cubicBezTo>
                <a:cubicBezTo>
                  <a:pt x="136" y="234"/>
                  <a:pt x="135" y="235"/>
                  <a:pt x="135" y="235"/>
                </a:cubicBezTo>
                <a:cubicBezTo>
                  <a:pt x="134" y="235"/>
                  <a:pt x="132" y="233"/>
                  <a:pt x="132" y="233"/>
                </a:cubicBezTo>
                <a:cubicBezTo>
                  <a:pt x="129" y="231"/>
                  <a:pt x="126" y="231"/>
                  <a:pt x="123" y="231"/>
                </a:cubicBezTo>
                <a:cubicBezTo>
                  <a:pt x="123" y="231"/>
                  <a:pt x="123" y="229"/>
                  <a:pt x="123" y="229"/>
                </a:cubicBezTo>
                <a:cubicBezTo>
                  <a:pt x="122" y="229"/>
                  <a:pt x="121" y="230"/>
                  <a:pt x="120" y="230"/>
                </a:cubicBezTo>
                <a:cubicBezTo>
                  <a:pt x="121" y="230"/>
                  <a:pt x="119" y="229"/>
                  <a:pt x="118" y="229"/>
                </a:cubicBezTo>
                <a:cubicBezTo>
                  <a:pt x="115" y="229"/>
                  <a:pt x="115" y="230"/>
                  <a:pt x="111" y="229"/>
                </a:cubicBezTo>
                <a:cubicBezTo>
                  <a:pt x="111" y="229"/>
                  <a:pt x="111" y="227"/>
                  <a:pt x="111" y="227"/>
                </a:cubicBezTo>
                <a:cubicBezTo>
                  <a:pt x="114" y="226"/>
                  <a:pt x="114" y="226"/>
                  <a:pt x="117" y="225"/>
                </a:cubicBezTo>
                <a:cubicBezTo>
                  <a:pt x="116" y="224"/>
                  <a:pt x="109" y="221"/>
                  <a:pt x="109" y="221"/>
                </a:cubicBezTo>
                <a:cubicBezTo>
                  <a:pt x="109" y="221"/>
                  <a:pt x="109" y="221"/>
                  <a:pt x="108" y="221"/>
                </a:cubicBezTo>
                <a:cubicBezTo>
                  <a:pt x="108" y="221"/>
                  <a:pt x="109" y="222"/>
                  <a:pt x="109" y="223"/>
                </a:cubicBezTo>
                <a:cubicBezTo>
                  <a:pt x="108" y="223"/>
                  <a:pt x="107" y="222"/>
                  <a:pt x="106" y="223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4" y="224"/>
                  <a:pt x="105" y="222"/>
                  <a:pt x="104" y="222"/>
                </a:cubicBezTo>
                <a:cubicBezTo>
                  <a:pt x="103" y="221"/>
                  <a:pt x="105" y="224"/>
                  <a:pt x="103" y="225"/>
                </a:cubicBezTo>
                <a:cubicBezTo>
                  <a:pt x="101" y="225"/>
                  <a:pt x="100" y="223"/>
                  <a:pt x="97" y="222"/>
                </a:cubicBezTo>
                <a:cubicBezTo>
                  <a:pt x="96" y="222"/>
                  <a:pt x="97" y="225"/>
                  <a:pt x="96" y="225"/>
                </a:cubicBezTo>
                <a:cubicBezTo>
                  <a:pt x="95" y="226"/>
                  <a:pt x="92" y="227"/>
                  <a:pt x="92" y="227"/>
                </a:cubicBezTo>
                <a:cubicBezTo>
                  <a:pt x="92" y="227"/>
                  <a:pt x="90" y="229"/>
                  <a:pt x="88" y="230"/>
                </a:cubicBezTo>
                <a:cubicBezTo>
                  <a:pt x="87" y="232"/>
                  <a:pt x="84" y="234"/>
                  <a:pt x="84" y="234"/>
                </a:cubicBezTo>
                <a:cubicBezTo>
                  <a:pt x="84" y="234"/>
                  <a:pt x="82" y="236"/>
                  <a:pt x="80" y="237"/>
                </a:cubicBezTo>
                <a:cubicBezTo>
                  <a:pt x="78" y="237"/>
                  <a:pt x="81" y="239"/>
                  <a:pt x="81" y="239"/>
                </a:cubicBezTo>
                <a:cubicBezTo>
                  <a:pt x="81" y="239"/>
                  <a:pt x="78" y="242"/>
                  <a:pt x="78" y="242"/>
                </a:cubicBezTo>
                <a:cubicBezTo>
                  <a:pt x="79" y="243"/>
                  <a:pt x="82" y="242"/>
                  <a:pt x="82" y="242"/>
                </a:cubicBezTo>
                <a:cubicBezTo>
                  <a:pt x="82" y="244"/>
                  <a:pt x="81" y="247"/>
                  <a:pt x="82" y="248"/>
                </a:cubicBezTo>
                <a:cubicBezTo>
                  <a:pt x="83" y="250"/>
                  <a:pt x="87" y="251"/>
                  <a:pt x="87" y="251"/>
                </a:cubicBezTo>
                <a:cubicBezTo>
                  <a:pt x="87" y="251"/>
                  <a:pt x="87" y="255"/>
                  <a:pt x="92" y="257"/>
                </a:cubicBezTo>
                <a:cubicBezTo>
                  <a:pt x="98" y="261"/>
                  <a:pt x="86" y="266"/>
                  <a:pt x="86" y="268"/>
                </a:cubicBezTo>
                <a:cubicBezTo>
                  <a:pt x="86" y="269"/>
                  <a:pt x="87" y="274"/>
                  <a:pt x="88" y="277"/>
                </a:cubicBezTo>
                <a:cubicBezTo>
                  <a:pt x="89" y="280"/>
                  <a:pt x="91" y="282"/>
                  <a:pt x="91" y="282"/>
                </a:cubicBezTo>
                <a:cubicBezTo>
                  <a:pt x="91" y="282"/>
                  <a:pt x="95" y="287"/>
                  <a:pt x="94" y="288"/>
                </a:cubicBezTo>
                <a:cubicBezTo>
                  <a:pt x="94" y="290"/>
                  <a:pt x="92" y="287"/>
                  <a:pt x="91" y="289"/>
                </a:cubicBezTo>
                <a:cubicBezTo>
                  <a:pt x="90" y="291"/>
                  <a:pt x="90" y="295"/>
                  <a:pt x="91" y="297"/>
                </a:cubicBezTo>
                <a:cubicBezTo>
                  <a:pt x="92" y="298"/>
                  <a:pt x="93" y="302"/>
                  <a:pt x="93" y="302"/>
                </a:cubicBezTo>
                <a:cubicBezTo>
                  <a:pt x="93" y="302"/>
                  <a:pt x="93" y="303"/>
                  <a:pt x="95" y="305"/>
                </a:cubicBezTo>
                <a:cubicBezTo>
                  <a:pt x="97" y="307"/>
                  <a:pt x="99" y="309"/>
                  <a:pt x="98" y="311"/>
                </a:cubicBezTo>
                <a:cubicBezTo>
                  <a:pt x="97" y="313"/>
                  <a:pt x="95" y="312"/>
                  <a:pt x="94" y="314"/>
                </a:cubicBezTo>
                <a:cubicBezTo>
                  <a:pt x="93" y="318"/>
                  <a:pt x="99" y="319"/>
                  <a:pt x="100" y="322"/>
                </a:cubicBezTo>
                <a:cubicBezTo>
                  <a:pt x="101" y="324"/>
                  <a:pt x="104" y="324"/>
                  <a:pt x="106" y="326"/>
                </a:cubicBezTo>
                <a:cubicBezTo>
                  <a:pt x="108" y="327"/>
                  <a:pt x="107" y="330"/>
                  <a:pt x="105" y="332"/>
                </a:cubicBezTo>
                <a:cubicBezTo>
                  <a:pt x="104" y="334"/>
                  <a:pt x="97" y="340"/>
                  <a:pt x="97" y="342"/>
                </a:cubicBezTo>
                <a:cubicBezTo>
                  <a:pt x="97" y="344"/>
                  <a:pt x="81" y="354"/>
                  <a:pt x="81" y="354"/>
                </a:cubicBezTo>
                <a:cubicBezTo>
                  <a:pt x="70" y="363"/>
                  <a:pt x="70" y="363"/>
                  <a:pt x="70" y="363"/>
                </a:cubicBezTo>
                <a:cubicBezTo>
                  <a:pt x="70" y="363"/>
                  <a:pt x="70" y="363"/>
                  <a:pt x="70" y="363"/>
                </a:cubicBezTo>
                <a:cubicBezTo>
                  <a:pt x="71" y="363"/>
                  <a:pt x="71" y="363"/>
                  <a:pt x="71" y="363"/>
                </a:cubicBezTo>
                <a:cubicBezTo>
                  <a:pt x="71" y="362"/>
                  <a:pt x="71" y="362"/>
                  <a:pt x="71" y="362"/>
                </a:cubicBezTo>
                <a:cubicBezTo>
                  <a:pt x="73" y="361"/>
                  <a:pt x="75" y="360"/>
                  <a:pt x="77" y="360"/>
                </a:cubicBezTo>
                <a:cubicBezTo>
                  <a:pt x="76" y="362"/>
                  <a:pt x="76" y="361"/>
                  <a:pt x="76" y="362"/>
                </a:cubicBezTo>
                <a:cubicBezTo>
                  <a:pt x="76" y="362"/>
                  <a:pt x="76" y="362"/>
                  <a:pt x="75" y="363"/>
                </a:cubicBezTo>
                <a:cubicBezTo>
                  <a:pt x="77" y="365"/>
                  <a:pt x="80" y="367"/>
                  <a:pt x="83" y="370"/>
                </a:cubicBezTo>
                <a:cubicBezTo>
                  <a:pt x="84" y="369"/>
                  <a:pt x="88" y="368"/>
                  <a:pt x="89" y="368"/>
                </a:cubicBezTo>
                <a:cubicBezTo>
                  <a:pt x="91" y="369"/>
                  <a:pt x="92" y="372"/>
                  <a:pt x="93" y="373"/>
                </a:cubicBezTo>
                <a:cubicBezTo>
                  <a:pt x="94" y="373"/>
                  <a:pt x="96" y="373"/>
                  <a:pt x="96" y="374"/>
                </a:cubicBezTo>
                <a:cubicBezTo>
                  <a:pt x="96" y="374"/>
                  <a:pt x="94" y="375"/>
                  <a:pt x="92" y="375"/>
                </a:cubicBezTo>
                <a:cubicBezTo>
                  <a:pt x="91" y="375"/>
                  <a:pt x="90" y="373"/>
                  <a:pt x="87" y="374"/>
                </a:cubicBezTo>
                <a:cubicBezTo>
                  <a:pt x="86" y="374"/>
                  <a:pt x="85" y="376"/>
                  <a:pt x="83" y="377"/>
                </a:cubicBezTo>
                <a:cubicBezTo>
                  <a:pt x="81" y="377"/>
                  <a:pt x="81" y="376"/>
                  <a:pt x="79" y="376"/>
                </a:cubicBezTo>
                <a:cubicBezTo>
                  <a:pt x="78" y="376"/>
                  <a:pt x="78" y="377"/>
                  <a:pt x="77" y="378"/>
                </a:cubicBezTo>
                <a:cubicBezTo>
                  <a:pt x="77" y="377"/>
                  <a:pt x="77" y="376"/>
                  <a:pt x="76" y="376"/>
                </a:cubicBezTo>
                <a:cubicBezTo>
                  <a:pt x="76" y="377"/>
                  <a:pt x="75" y="380"/>
                  <a:pt x="74" y="382"/>
                </a:cubicBezTo>
                <a:cubicBezTo>
                  <a:pt x="74" y="382"/>
                  <a:pt x="76" y="384"/>
                  <a:pt x="76" y="385"/>
                </a:cubicBezTo>
                <a:cubicBezTo>
                  <a:pt x="76" y="387"/>
                  <a:pt x="74" y="389"/>
                  <a:pt x="74" y="389"/>
                </a:cubicBezTo>
                <a:cubicBezTo>
                  <a:pt x="73" y="390"/>
                  <a:pt x="73" y="390"/>
                  <a:pt x="73" y="390"/>
                </a:cubicBezTo>
                <a:cubicBezTo>
                  <a:pt x="74" y="394"/>
                  <a:pt x="74" y="396"/>
                  <a:pt x="73" y="401"/>
                </a:cubicBezTo>
                <a:cubicBezTo>
                  <a:pt x="73" y="401"/>
                  <a:pt x="71" y="401"/>
                  <a:pt x="71" y="401"/>
                </a:cubicBezTo>
                <a:cubicBezTo>
                  <a:pt x="71" y="401"/>
                  <a:pt x="69" y="404"/>
                  <a:pt x="67" y="405"/>
                </a:cubicBezTo>
                <a:cubicBezTo>
                  <a:pt x="65" y="405"/>
                  <a:pt x="65" y="410"/>
                  <a:pt x="65" y="410"/>
                </a:cubicBezTo>
                <a:cubicBezTo>
                  <a:pt x="65" y="410"/>
                  <a:pt x="66" y="411"/>
                  <a:pt x="66" y="413"/>
                </a:cubicBezTo>
                <a:cubicBezTo>
                  <a:pt x="67" y="415"/>
                  <a:pt x="71" y="413"/>
                  <a:pt x="71" y="413"/>
                </a:cubicBezTo>
                <a:cubicBezTo>
                  <a:pt x="71" y="413"/>
                  <a:pt x="72" y="418"/>
                  <a:pt x="72" y="420"/>
                </a:cubicBezTo>
                <a:cubicBezTo>
                  <a:pt x="72" y="422"/>
                  <a:pt x="74" y="420"/>
                  <a:pt x="75" y="422"/>
                </a:cubicBezTo>
                <a:cubicBezTo>
                  <a:pt x="76" y="424"/>
                  <a:pt x="78" y="426"/>
                  <a:pt x="78" y="426"/>
                </a:cubicBezTo>
                <a:cubicBezTo>
                  <a:pt x="79" y="430"/>
                  <a:pt x="79" y="430"/>
                  <a:pt x="79" y="430"/>
                </a:cubicBezTo>
                <a:cubicBezTo>
                  <a:pt x="80" y="427"/>
                  <a:pt x="79" y="434"/>
                  <a:pt x="81" y="432"/>
                </a:cubicBezTo>
                <a:cubicBezTo>
                  <a:pt x="83" y="431"/>
                  <a:pt x="85" y="431"/>
                  <a:pt x="85" y="431"/>
                </a:cubicBezTo>
                <a:cubicBezTo>
                  <a:pt x="85" y="431"/>
                  <a:pt x="87" y="431"/>
                  <a:pt x="89" y="432"/>
                </a:cubicBezTo>
                <a:cubicBezTo>
                  <a:pt x="91" y="433"/>
                  <a:pt x="94" y="433"/>
                  <a:pt x="94" y="436"/>
                </a:cubicBezTo>
                <a:cubicBezTo>
                  <a:pt x="94" y="438"/>
                  <a:pt x="97" y="436"/>
                  <a:pt x="97" y="440"/>
                </a:cubicBezTo>
                <a:cubicBezTo>
                  <a:pt x="97" y="443"/>
                  <a:pt x="99" y="443"/>
                  <a:pt x="99" y="447"/>
                </a:cubicBezTo>
                <a:cubicBezTo>
                  <a:pt x="99" y="451"/>
                  <a:pt x="98" y="453"/>
                  <a:pt x="100" y="454"/>
                </a:cubicBezTo>
                <a:cubicBezTo>
                  <a:pt x="102" y="456"/>
                  <a:pt x="105" y="456"/>
                  <a:pt x="106" y="459"/>
                </a:cubicBezTo>
                <a:cubicBezTo>
                  <a:pt x="107" y="462"/>
                  <a:pt x="108" y="465"/>
                  <a:pt x="106" y="466"/>
                </a:cubicBezTo>
                <a:cubicBezTo>
                  <a:pt x="103" y="466"/>
                  <a:pt x="102" y="463"/>
                  <a:pt x="100" y="466"/>
                </a:cubicBezTo>
                <a:cubicBezTo>
                  <a:pt x="99" y="469"/>
                  <a:pt x="103" y="469"/>
                  <a:pt x="103" y="471"/>
                </a:cubicBezTo>
                <a:cubicBezTo>
                  <a:pt x="103" y="482"/>
                  <a:pt x="103" y="482"/>
                  <a:pt x="103" y="482"/>
                </a:cubicBezTo>
                <a:cubicBezTo>
                  <a:pt x="103" y="482"/>
                  <a:pt x="106" y="487"/>
                  <a:pt x="109" y="482"/>
                </a:cubicBezTo>
                <a:cubicBezTo>
                  <a:pt x="110" y="480"/>
                  <a:pt x="110" y="482"/>
                  <a:pt x="112" y="483"/>
                </a:cubicBezTo>
                <a:cubicBezTo>
                  <a:pt x="115" y="484"/>
                  <a:pt x="117" y="482"/>
                  <a:pt x="117" y="484"/>
                </a:cubicBezTo>
                <a:cubicBezTo>
                  <a:pt x="117" y="486"/>
                  <a:pt x="118" y="488"/>
                  <a:pt x="118" y="488"/>
                </a:cubicBezTo>
                <a:cubicBezTo>
                  <a:pt x="118" y="488"/>
                  <a:pt x="118" y="492"/>
                  <a:pt x="120" y="492"/>
                </a:cubicBezTo>
                <a:cubicBezTo>
                  <a:pt x="121" y="492"/>
                  <a:pt x="120" y="496"/>
                  <a:pt x="122" y="496"/>
                </a:cubicBezTo>
                <a:cubicBezTo>
                  <a:pt x="124" y="496"/>
                  <a:pt x="127" y="495"/>
                  <a:pt x="128" y="496"/>
                </a:cubicBezTo>
                <a:cubicBezTo>
                  <a:pt x="131" y="498"/>
                  <a:pt x="132" y="498"/>
                  <a:pt x="134" y="497"/>
                </a:cubicBezTo>
                <a:cubicBezTo>
                  <a:pt x="136" y="497"/>
                  <a:pt x="136" y="500"/>
                  <a:pt x="137" y="501"/>
                </a:cubicBezTo>
                <a:cubicBezTo>
                  <a:pt x="140" y="502"/>
                  <a:pt x="139" y="502"/>
                  <a:pt x="141" y="502"/>
                </a:cubicBezTo>
                <a:cubicBezTo>
                  <a:pt x="143" y="503"/>
                  <a:pt x="143" y="508"/>
                  <a:pt x="143" y="508"/>
                </a:cubicBezTo>
                <a:cubicBezTo>
                  <a:pt x="143" y="508"/>
                  <a:pt x="146" y="507"/>
                  <a:pt x="148" y="507"/>
                </a:cubicBezTo>
                <a:cubicBezTo>
                  <a:pt x="150" y="506"/>
                  <a:pt x="151" y="505"/>
                  <a:pt x="151" y="505"/>
                </a:cubicBezTo>
                <a:cubicBezTo>
                  <a:pt x="151" y="505"/>
                  <a:pt x="155" y="505"/>
                  <a:pt x="156" y="506"/>
                </a:cubicBezTo>
                <a:cubicBezTo>
                  <a:pt x="157" y="508"/>
                  <a:pt x="155" y="508"/>
                  <a:pt x="158" y="508"/>
                </a:cubicBezTo>
                <a:cubicBezTo>
                  <a:pt x="161" y="508"/>
                  <a:pt x="160" y="510"/>
                  <a:pt x="163" y="511"/>
                </a:cubicBezTo>
                <a:cubicBezTo>
                  <a:pt x="165" y="511"/>
                  <a:pt x="172" y="514"/>
                  <a:pt x="174" y="516"/>
                </a:cubicBezTo>
                <a:cubicBezTo>
                  <a:pt x="177" y="518"/>
                  <a:pt x="173" y="519"/>
                  <a:pt x="175" y="520"/>
                </a:cubicBezTo>
                <a:cubicBezTo>
                  <a:pt x="176" y="522"/>
                  <a:pt x="179" y="521"/>
                  <a:pt x="178" y="523"/>
                </a:cubicBezTo>
                <a:cubicBezTo>
                  <a:pt x="177" y="525"/>
                  <a:pt x="175" y="526"/>
                  <a:pt x="177" y="526"/>
                </a:cubicBezTo>
                <a:cubicBezTo>
                  <a:pt x="181" y="527"/>
                  <a:pt x="177" y="531"/>
                  <a:pt x="178" y="533"/>
                </a:cubicBezTo>
                <a:cubicBezTo>
                  <a:pt x="179" y="534"/>
                  <a:pt x="179" y="535"/>
                  <a:pt x="179" y="537"/>
                </a:cubicBezTo>
                <a:cubicBezTo>
                  <a:pt x="179" y="539"/>
                  <a:pt x="178" y="541"/>
                  <a:pt x="178" y="543"/>
                </a:cubicBezTo>
                <a:cubicBezTo>
                  <a:pt x="177" y="545"/>
                  <a:pt x="173" y="546"/>
                  <a:pt x="171" y="546"/>
                </a:cubicBezTo>
                <a:cubicBezTo>
                  <a:pt x="169" y="548"/>
                  <a:pt x="169" y="548"/>
                  <a:pt x="169" y="548"/>
                </a:cubicBezTo>
                <a:cubicBezTo>
                  <a:pt x="168" y="551"/>
                  <a:pt x="168" y="551"/>
                  <a:pt x="168" y="551"/>
                </a:cubicBezTo>
                <a:cubicBezTo>
                  <a:pt x="168" y="552"/>
                  <a:pt x="170" y="551"/>
                  <a:pt x="171" y="551"/>
                </a:cubicBezTo>
                <a:cubicBezTo>
                  <a:pt x="171" y="550"/>
                  <a:pt x="171" y="550"/>
                  <a:pt x="171" y="550"/>
                </a:cubicBezTo>
                <a:cubicBezTo>
                  <a:pt x="172" y="549"/>
                  <a:pt x="172" y="551"/>
                  <a:pt x="173" y="550"/>
                </a:cubicBezTo>
                <a:cubicBezTo>
                  <a:pt x="173" y="552"/>
                  <a:pt x="173" y="552"/>
                  <a:pt x="173" y="552"/>
                </a:cubicBezTo>
                <a:cubicBezTo>
                  <a:pt x="171" y="553"/>
                  <a:pt x="170" y="553"/>
                  <a:pt x="168" y="554"/>
                </a:cubicBezTo>
                <a:cubicBezTo>
                  <a:pt x="167" y="554"/>
                  <a:pt x="166" y="556"/>
                  <a:pt x="165" y="556"/>
                </a:cubicBezTo>
                <a:cubicBezTo>
                  <a:pt x="164" y="556"/>
                  <a:pt x="165" y="555"/>
                  <a:pt x="163" y="556"/>
                </a:cubicBezTo>
                <a:cubicBezTo>
                  <a:pt x="163" y="557"/>
                  <a:pt x="163" y="560"/>
                  <a:pt x="163" y="560"/>
                </a:cubicBezTo>
                <a:cubicBezTo>
                  <a:pt x="162" y="560"/>
                  <a:pt x="157" y="560"/>
                  <a:pt x="156" y="560"/>
                </a:cubicBezTo>
                <a:cubicBezTo>
                  <a:pt x="156" y="561"/>
                  <a:pt x="157" y="563"/>
                  <a:pt x="158" y="563"/>
                </a:cubicBezTo>
                <a:cubicBezTo>
                  <a:pt x="159" y="563"/>
                  <a:pt x="161" y="563"/>
                  <a:pt x="161" y="564"/>
                </a:cubicBezTo>
                <a:cubicBezTo>
                  <a:pt x="161" y="565"/>
                  <a:pt x="162" y="566"/>
                  <a:pt x="161" y="568"/>
                </a:cubicBezTo>
                <a:cubicBezTo>
                  <a:pt x="160" y="568"/>
                  <a:pt x="158" y="569"/>
                  <a:pt x="158" y="569"/>
                </a:cubicBezTo>
                <a:cubicBezTo>
                  <a:pt x="158" y="570"/>
                  <a:pt x="158" y="571"/>
                  <a:pt x="158" y="572"/>
                </a:cubicBezTo>
                <a:cubicBezTo>
                  <a:pt x="157" y="572"/>
                  <a:pt x="153" y="572"/>
                  <a:pt x="153" y="572"/>
                </a:cubicBezTo>
                <a:cubicBezTo>
                  <a:pt x="152" y="572"/>
                  <a:pt x="153" y="575"/>
                  <a:pt x="153" y="575"/>
                </a:cubicBezTo>
                <a:cubicBezTo>
                  <a:pt x="151" y="576"/>
                  <a:pt x="150" y="575"/>
                  <a:pt x="149" y="576"/>
                </a:cubicBezTo>
                <a:cubicBezTo>
                  <a:pt x="149" y="576"/>
                  <a:pt x="149" y="578"/>
                  <a:pt x="149" y="578"/>
                </a:cubicBezTo>
                <a:cubicBezTo>
                  <a:pt x="151" y="577"/>
                  <a:pt x="152" y="576"/>
                  <a:pt x="155" y="576"/>
                </a:cubicBezTo>
                <a:cubicBezTo>
                  <a:pt x="155" y="576"/>
                  <a:pt x="154" y="578"/>
                  <a:pt x="155" y="578"/>
                </a:cubicBezTo>
                <a:cubicBezTo>
                  <a:pt x="155" y="579"/>
                  <a:pt x="157" y="581"/>
                  <a:pt x="157" y="582"/>
                </a:cubicBezTo>
                <a:cubicBezTo>
                  <a:pt x="158" y="582"/>
                  <a:pt x="159" y="581"/>
                  <a:pt x="160" y="582"/>
                </a:cubicBezTo>
                <a:cubicBezTo>
                  <a:pt x="160" y="582"/>
                  <a:pt x="161" y="584"/>
                  <a:pt x="161" y="585"/>
                </a:cubicBezTo>
                <a:cubicBezTo>
                  <a:pt x="162" y="586"/>
                  <a:pt x="164" y="586"/>
                  <a:pt x="165" y="586"/>
                </a:cubicBezTo>
                <a:cubicBezTo>
                  <a:pt x="165" y="587"/>
                  <a:pt x="165" y="589"/>
                  <a:pt x="166" y="590"/>
                </a:cubicBezTo>
                <a:cubicBezTo>
                  <a:pt x="167" y="591"/>
                  <a:pt x="168" y="590"/>
                  <a:pt x="169" y="591"/>
                </a:cubicBezTo>
                <a:cubicBezTo>
                  <a:pt x="171" y="592"/>
                  <a:pt x="172" y="595"/>
                  <a:pt x="174" y="597"/>
                </a:cubicBezTo>
                <a:cubicBezTo>
                  <a:pt x="174" y="597"/>
                  <a:pt x="174" y="597"/>
                  <a:pt x="175" y="598"/>
                </a:cubicBezTo>
                <a:cubicBezTo>
                  <a:pt x="176" y="598"/>
                  <a:pt x="176" y="593"/>
                  <a:pt x="178" y="592"/>
                </a:cubicBezTo>
                <a:cubicBezTo>
                  <a:pt x="180" y="591"/>
                  <a:pt x="183" y="590"/>
                  <a:pt x="184" y="592"/>
                </a:cubicBezTo>
                <a:cubicBezTo>
                  <a:pt x="185" y="593"/>
                  <a:pt x="187" y="593"/>
                  <a:pt x="190" y="594"/>
                </a:cubicBezTo>
                <a:cubicBezTo>
                  <a:pt x="193" y="595"/>
                  <a:pt x="195" y="594"/>
                  <a:pt x="197" y="594"/>
                </a:cubicBezTo>
                <a:cubicBezTo>
                  <a:pt x="199" y="594"/>
                  <a:pt x="199" y="595"/>
                  <a:pt x="201" y="597"/>
                </a:cubicBezTo>
                <a:cubicBezTo>
                  <a:pt x="204" y="598"/>
                  <a:pt x="205" y="602"/>
                  <a:pt x="208" y="602"/>
                </a:cubicBezTo>
                <a:cubicBezTo>
                  <a:pt x="211" y="602"/>
                  <a:pt x="213" y="599"/>
                  <a:pt x="215" y="601"/>
                </a:cubicBezTo>
                <a:cubicBezTo>
                  <a:pt x="216" y="603"/>
                  <a:pt x="216" y="601"/>
                  <a:pt x="218" y="600"/>
                </a:cubicBezTo>
                <a:cubicBezTo>
                  <a:pt x="221" y="599"/>
                  <a:pt x="222" y="599"/>
                  <a:pt x="223" y="601"/>
                </a:cubicBezTo>
                <a:cubicBezTo>
                  <a:pt x="224" y="602"/>
                  <a:pt x="224" y="604"/>
                  <a:pt x="226" y="605"/>
                </a:cubicBezTo>
                <a:cubicBezTo>
                  <a:pt x="228" y="606"/>
                  <a:pt x="228" y="606"/>
                  <a:pt x="230" y="607"/>
                </a:cubicBezTo>
                <a:cubicBezTo>
                  <a:pt x="231" y="607"/>
                  <a:pt x="228" y="610"/>
                  <a:pt x="230" y="611"/>
                </a:cubicBezTo>
                <a:cubicBezTo>
                  <a:pt x="232" y="611"/>
                  <a:pt x="234" y="610"/>
                  <a:pt x="235" y="611"/>
                </a:cubicBezTo>
                <a:cubicBezTo>
                  <a:pt x="236" y="613"/>
                  <a:pt x="238" y="615"/>
                  <a:pt x="238" y="615"/>
                </a:cubicBezTo>
                <a:cubicBezTo>
                  <a:pt x="238" y="615"/>
                  <a:pt x="240" y="616"/>
                  <a:pt x="241" y="618"/>
                </a:cubicBezTo>
                <a:cubicBezTo>
                  <a:pt x="243" y="620"/>
                  <a:pt x="244" y="620"/>
                  <a:pt x="245" y="622"/>
                </a:cubicBezTo>
                <a:cubicBezTo>
                  <a:pt x="246" y="625"/>
                  <a:pt x="247" y="626"/>
                  <a:pt x="249" y="626"/>
                </a:cubicBezTo>
                <a:cubicBezTo>
                  <a:pt x="250" y="626"/>
                  <a:pt x="253" y="620"/>
                  <a:pt x="253" y="620"/>
                </a:cubicBezTo>
                <a:cubicBezTo>
                  <a:pt x="253" y="619"/>
                  <a:pt x="252" y="618"/>
                  <a:pt x="252" y="617"/>
                </a:cubicBezTo>
                <a:cubicBezTo>
                  <a:pt x="251" y="616"/>
                  <a:pt x="247" y="613"/>
                  <a:pt x="246" y="613"/>
                </a:cubicBezTo>
                <a:cubicBezTo>
                  <a:pt x="245" y="611"/>
                  <a:pt x="246" y="610"/>
                  <a:pt x="245" y="608"/>
                </a:cubicBezTo>
                <a:cubicBezTo>
                  <a:pt x="244" y="606"/>
                  <a:pt x="241" y="605"/>
                  <a:pt x="240" y="602"/>
                </a:cubicBezTo>
                <a:cubicBezTo>
                  <a:pt x="240" y="601"/>
                  <a:pt x="240" y="594"/>
                  <a:pt x="240" y="594"/>
                </a:cubicBezTo>
                <a:cubicBezTo>
                  <a:pt x="238" y="593"/>
                  <a:pt x="238" y="593"/>
                  <a:pt x="238" y="593"/>
                </a:cubicBezTo>
                <a:cubicBezTo>
                  <a:pt x="239" y="590"/>
                  <a:pt x="239" y="589"/>
                  <a:pt x="239" y="586"/>
                </a:cubicBezTo>
                <a:cubicBezTo>
                  <a:pt x="238" y="586"/>
                  <a:pt x="234" y="586"/>
                  <a:pt x="232" y="586"/>
                </a:cubicBezTo>
                <a:cubicBezTo>
                  <a:pt x="234" y="584"/>
                  <a:pt x="232" y="584"/>
                  <a:pt x="232" y="581"/>
                </a:cubicBezTo>
                <a:cubicBezTo>
                  <a:pt x="232" y="581"/>
                  <a:pt x="234" y="580"/>
                  <a:pt x="234" y="580"/>
                </a:cubicBezTo>
                <a:cubicBezTo>
                  <a:pt x="235" y="579"/>
                  <a:pt x="234" y="577"/>
                  <a:pt x="234" y="576"/>
                </a:cubicBezTo>
                <a:cubicBezTo>
                  <a:pt x="235" y="574"/>
                  <a:pt x="236" y="571"/>
                  <a:pt x="237" y="569"/>
                </a:cubicBezTo>
                <a:cubicBezTo>
                  <a:pt x="237" y="569"/>
                  <a:pt x="239" y="567"/>
                  <a:pt x="239" y="566"/>
                </a:cubicBezTo>
                <a:cubicBezTo>
                  <a:pt x="239" y="566"/>
                  <a:pt x="238" y="565"/>
                  <a:pt x="238" y="566"/>
                </a:cubicBezTo>
                <a:cubicBezTo>
                  <a:pt x="238" y="564"/>
                  <a:pt x="238" y="564"/>
                  <a:pt x="238" y="564"/>
                </a:cubicBezTo>
                <a:cubicBezTo>
                  <a:pt x="238" y="564"/>
                  <a:pt x="238" y="564"/>
                  <a:pt x="238" y="564"/>
                </a:cubicBezTo>
                <a:cubicBezTo>
                  <a:pt x="237" y="564"/>
                  <a:pt x="238" y="562"/>
                  <a:pt x="238" y="562"/>
                </a:cubicBezTo>
                <a:cubicBezTo>
                  <a:pt x="238" y="562"/>
                  <a:pt x="239" y="562"/>
                  <a:pt x="240" y="563"/>
                </a:cubicBezTo>
                <a:cubicBezTo>
                  <a:pt x="241" y="563"/>
                  <a:pt x="241" y="562"/>
                  <a:pt x="242" y="562"/>
                </a:cubicBezTo>
                <a:cubicBezTo>
                  <a:pt x="242" y="562"/>
                  <a:pt x="242" y="560"/>
                  <a:pt x="242" y="560"/>
                </a:cubicBezTo>
                <a:cubicBezTo>
                  <a:pt x="244" y="560"/>
                  <a:pt x="244" y="560"/>
                  <a:pt x="244" y="560"/>
                </a:cubicBezTo>
                <a:cubicBezTo>
                  <a:pt x="244" y="560"/>
                  <a:pt x="243" y="562"/>
                  <a:pt x="244" y="563"/>
                </a:cubicBezTo>
                <a:cubicBezTo>
                  <a:pt x="244" y="563"/>
                  <a:pt x="246" y="563"/>
                  <a:pt x="246" y="563"/>
                </a:cubicBezTo>
                <a:cubicBezTo>
                  <a:pt x="245" y="564"/>
                  <a:pt x="246" y="564"/>
                  <a:pt x="246" y="565"/>
                </a:cubicBezTo>
                <a:cubicBezTo>
                  <a:pt x="247" y="565"/>
                  <a:pt x="249" y="563"/>
                  <a:pt x="250" y="562"/>
                </a:cubicBezTo>
                <a:cubicBezTo>
                  <a:pt x="250" y="562"/>
                  <a:pt x="249" y="561"/>
                  <a:pt x="250" y="560"/>
                </a:cubicBezTo>
                <a:cubicBezTo>
                  <a:pt x="249" y="560"/>
                  <a:pt x="248" y="560"/>
                  <a:pt x="247" y="560"/>
                </a:cubicBezTo>
                <a:cubicBezTo>
                  <a:pt x="247" y="560"/>
                  <a:pt x="246" y="559"/>
                  <a:pt x="246" y="559"/>
                </a:cubicBezTo>
                <a:cubicBezTo>
                  <a:pt x="247" y="559"/>
                  <a:pt x="247" y="558"/>
                  <a:pt x="247" y="558"/>
                </a:cubicBezTo>
                <a:cubicBezTo>
                  <a:pt x="248" y="558"/>
                  <a:pt x="248" y="558"/>
                  <a:pt x="248" y="560"/>
                </a:cubicBezTo>
                <a:cubicBezTo>
                  <a:pt x="249" y="559"/>
                  <a:pt x="250" y="560"/>
                  <a:pt x="250" y="560"/>
                </a:cubicBezTo>
                <a:cubicBezTo>
                  <a:pt x="251" y="559"/>
                  <a:pt x="250" y="558"/>
                  <a:pt x="251" y="558"/>
                </a:cubicBezTo>
                <a:cubicBezTo>
                  <a:pt x="251" y="558"/>
                  <a:pt x="249" y="554"/>
                  <a:pt x="250" y="553"/>
                </a:cubicBezTo>
                <a:cubicBezTo>
                  <a:pt x="251" y="552"/>
                  <a:pt x="250" y="549"/>
                  <a:pt x="250" y="549"/>
                </a:cubicBezTo>
                <a:cubicBezTo>
                  <a:pt x="246" y="541"/>
                  <a:pt x="246" y="541"/>
                  <a:pt x="246" y="541"/>
                </a:cubicBezTo>
                <a:cubicBezTo>
                  <a:pt x="246" y="541"/>
                  <a:pt x="242" y="543"/>
                  <a:pt x="242" y="541"/>
                </a:cubicBezTo>
                <a:cubicBezTo>
                  <a:pt x="241" y="539"/>
                  <a:pt x="243" y="535"/>
                  <a:pt x="240" y="534"/>
                </a:cubicBezTo>
                <a:cubicBezTo>
                  <a:pt x="238" y="533"/>
                  <a:pt x="236" y="531"/>
                  <a:pt x="237" y="530"/>
                </a:cubicBezTo>
                <a:cubicBezTo>
                  <a:pt x="239" y="528"/>
                  <a:pt x="241" y="524"/>
                  <a:pt x="241" y="524"/>
                </a:cubicBezTo>
                <a:cubicBezTo>
                  <a:pt x="241" y="524"/>
                  <a:pt x="243" y="523"/>
                  <a:pt x="243" y="521"/>
                </a:cubicBezTo>
                <a:cubicBezTo>
                  <a:pt x="242" y="519"/>
                  <a:pt x="240" y="518"/>
                  <a:pt x="240" y="518"/>
                </a:cubicBezTo>
                <a:cubicBezTo>
                  <a:pt x="240" y="518"/>
                  <a:pt x="244" y="514"/>
                  <a:pt x="243" y="510"/>
                </a:cubicBezTo>
                <a:cubicBezTo>
                  <a:pt x="242" y="509"/>
                  <a:pt x="246" y="510"/>
                  <a:pt x="247" y="508"/>
                </a:cubicBezTo>
                <a:cubicBezTo>
                  <a:pt x="247" y="506"/>
                  <a:pt x="250" y="503"/>
                  <a:pt x="251" y="505"/>
                </a:cubicBezTo>
                <a:cubicBezTo>
                  <a:pt x="252" y="507"/>
                  <a:pt x="254" y="511"/>
                  <a:pt x="254" y="511"/>
                </a:cubicBezTo>
                <a:cubicBezTo>
                  <a:pt x="260" y="508"/>
                  <a:pt x="260" y="508"/>
                  <a:pt x="260" y="508"/>
                </a:cubicBezTo>
                <a:cubicBezTo>
                  <a:pt x="260" y="508"/>
                  <a:pt x="255" y="505"/>
                  <a:pt x="256" y="503"/>
                </a:cubicBezTo>
                <a:cubicBezTo>
                  <a:pt x="256" y="501"/>
                  <a:pt x="256" y="497"/>
                  <a:pt x="258" y="497"/>
                </a:cubicBezTo>
                <a:cubicBezTo>
                  <a:pt x="260" y="497"/>
                  <a:pt x="260" y="493"/>
                  <a:pt x="262" y="494"/>
                </a:cubicBezTo>
                <a:cubicBezTo>
                  <a:pt x="264" y="495"/>
                  <a:pt x="268" y="494"/>
                  <a:pt x="268" y="494"/>
                </a:cubicBezTo>
                <a:cubicBezTo>
                  <a:pt x="268" y="494"/>
                  <a:pt x="274" y="489"/>
                  <a:pt x="275" y="487"/>
                </a:cubicBezTo>
                <a:cubicBezTo>
                  <a:pt x="276" y="485"/>
                  <a:pt x="274" y="484"/>
                  <a:pt x="274" y="484"/>
                </a:cubicBezTo>
                <a:cubicBezTo>
                  <a:pt x="281" y="483"/>
                  <a:pt x="281" y="483"/>
                  <a:pt x="281" y="483"/>
                </a:cubicBezTo>
                <a:cubicBezTo>
                  <a:pt x="281" y="485"/>
                  <a:pt x="281" y="485"/>
                  <a:pt x="281" y="485"/>
                </a:cubicBezTo>
                <a:cubicBezTo>
                  <a:pt x="286" y="485"/>
                  <a:pt x="286" y="485"/>
                  <a:pt x="286" y="485"/>
                </a:cubicBezTo>
                <a:cubicBezTo>
                  <a:pt x="286" y="485"/>
                  <a:pt x="284" y="483"/>
                  <a:pt x="286" y="483"/>
                </a:cubicBezTo>
                <a:cubicBezTo>
                  <a:pt x="287" y="483"/>
                  <a:pt x="289" y="483"/>
                  <a:pt x="290" y="485"/>
                </a:cubicBezTo>
                <a:cubicBezTo>
                  <a:pt x="291" y="487"/>
                  <a:pt x="291" y="489"/>
                  <a:pt x="291" y="489"/>
                </a:cubicBezTo>
                <a:cubicBezTo>
                  <a:pt x="291" y="489"/>
                  <a:pt x="294" y="489"/>
                  <a:pt x="296" y="490"/>
                </a:cubicBezTo>
                <a:cubicBezTo>
                  <a:pt x="298" y="491"/>
                  <a:pt x="299" y="492"/>
                  <a:pt x="301" y="494"/>
                </a:cubicBezTo>
                <a:cubicBezTo>
                  <a:pt x="302" y="496"/>
                  <a:pt x="302" y="498"/>
                  <a:pt x="304" y="498"/>
                </a:cubicBezTo>
                <a:cubicBezTo>
                  <a:pt x="306" y="498"/>
                  <a:pt x="308" y="497"/>
                  <a:pt x="309" y="499"/>
                </a:cubicBezTo>
                <a:cubicBezTo>
                  <a:pt x="310" y="501"/>
                  <a:pt x="307" y="504"/>
                  <a:pt x="307" y="504"/>
                </a:cubicBezTo>
                <a:cubicBezTo>
                  <a:pt x="312" y="505"/>
                  <a:pt x="312" y="505"/>
                  <a:pt x="312" y="505"/>
                </a:cubicBezTo>
                <a:cubicBezTo>
                  <a:pt x="312" y="505"/>
                  <a:pt x="312" y="499"/>
                  <a:pt x="313" y="499"/>
                </a:cubicBezTo>
                <a:cubicBezTo>
                  <a:pt x="314" y="499"/>
                  <a:pt x="314" y="497"/>
                  <a:pt x="317" y="498"/>
                </a:cubicBezTo>
                <a:cubicBezTo>
                  <a:pt x="321" y="500"/>
                  <a:pt x="323" y="502"/>
                  <a:pt x="325" y="500"/>
                </a:cubicBezTo>
                <a:cubicBezTo>
                  <a:pt x="327" y="499"/>
                  <a:pt x="329" y="497"/>
                  <a:pt x="332" y="496"/>
                </a:cubicBezTo>
                <a:cubicBezTo>
                  <a:pt x="335" y="495"/>
                  <a:pt x="335" y="499"/>
                  <a:pt x="337" y="499"/>
                </a:cubicBezTo>
                <a:cubicBezTo>
                  <a:pt x="339" y="498"/>
                  <a:pt x="338" y="496"/>
                  <a:pt x="340" y="498"/>
                </a:cubicBezTo>
                <a:cubicBezTo>
                  <a:pt x="342" y="499"/>
                  <a:pt x="345" y="504"/>
                  <a:pt x="345" y="504"/>
                </a:cubicBezTo>
                <a:cubicBezTo>
                  <a:pt x="350" y="506"/>
                  <a:pt x="350" y="506"/>
                  <a:pt x="350" y="506"/>
                </a:cubicBezTo>
                <a:cubicBezTo>
                  <a:pt x="354" y="506"/>
                  <a:pt x="354" y="506"/>
                  <a:pt x="354" y="506"/>
                </a:cubicBezTo>
                <a:cubicBezTo>
                  <a:pt x="354" y="506"/>
                  <a:pt x="358" y="504"/>
                  <a:pt x="358" y="500"/>
                </a:cubicBezTo>
                <a:cubicBezTo>
                  <a:pt x="355" y="498"/>
                  <a:pt x="352" y="497"/>
                  <a:pt x="352" y="497"/>
                </a:cubicBezTo>
                <a:cubicBezTo>
                  <a:pt x="349" y="494"/>
                  <a:pt x="349" y="494"/>
                  <a:pt x="349" y="494"/>
                </a:cubicBezTo>
                <a:cubicBezTo>
                  <a:pt x="352" y="488"/>
                  <a:pt x="352" y="488"/>
                  <a:pt x="352" y="488"/>
                </a:cubicBezTo>
                <a:cubicBezTo>
                  <a:pt x="352" y="485"/>
                  <a:pt x="352" y="485"/>
                  <a:pt x="352" y="485"/>
                </a:cubicBezTo>
                <a:cubicBezTo>
                  <a:pt x="348" y="480"/>
                  <a:pt x="348" y="480"/>
                  <a:pt x="348" y="480"/>
                </a:cubicBezTo>
                <a:cubicBezTo>
                  <a:pt x="348" y="476"/>
                  <a:pt x="348" y="476"/>
                  <a:pt x="348" y="476"/>
                </a:cubicBezTo>
                <a:cubicBezTo>
                  <a:pt x="349" y="472"/>
                  <a:pt x="349" y="472"/>
                  <a:pt x="349" y="472"/>
                </a:cubicBezTo>
                <a:cubicBezTo>
                  <a:pt x="349" y="467"/>
                  <a:pt x="349" y="467"/>
                  <a:pt x="349" y="467"/>
                </a:cubicBezTo>
                <a:cubicBezTo>
                  <a:pt x="354" y="463"/>
                  <a:pt x="354" y="463"/>
                  <a:pt x="354" y="463"/>
                </a:cubicBezTo>
                <a:cubicBezTo>
                  <a:pt x="354" y="459"/>
                  <a:pt x="354" y="459"/>
                  <a:pt x="354" y="459"/>
                </a:cubicBezTo>
                <a:cubicBezTo>
                  <a:pt x="353" y="456"/>
                  <a:pt x="353" y="456"/>
                  <a:pt x="353" y="456"/>
                </a:cubicBezTo>
                <a:cubicBezTo>
                  <a:pt x="357" y="454"/>
                  <a:pt x="357" y="454"/>
                  <a:pt x="357" y="454"/>
                </a:cubicBezTo>
                <a:cubicBezTo>
                  <a:pt x="361" y="456"/>
                  <a:pt x="361" y="456"/>
                  <a:pt x="361" y="456"/>
                </a:cubicBezTo>
                <a:cubicBezTo>
                  <a:pt x="367" y="456"/>
                  <a:pt x="367" y="456"/>
                  <a:pt x="367" y="456"/>
                </a:cubicBezTo>
                <a:cubicBezTo>
                  <a:pt x="370" y="458"/>
                  <a:pt x="370" y="458"/>
                  <a:pt x="370" y="458"/>
                </a:cubicBezTo>
                <a:cubicBezTo>
                  <a:pt x="378" y="457"/>
                  <a:pt x="378" y="457"/>
                  <a:pt x="378" y="457"/>
                </a:cubicBezTo>
                <a:cubicBezTo>
                  <a:pt x="384" y="455"/>
                  <a:pt x="384" y="455"/>
                  <a:pt x="384" y="455"/>
                </a:cubicBezTo>
                <a:cubicBezTo>
                  <a:pt x="393" y="455"/>
                  <a:pt x="393" y="455"/>
                  <a:pt x="393" y="455"/>
                </a:cubicBezTo>
                <a:cubicBezTo>
                  <a:pt x="401" y="453"/>
                  <a:pt x="401" y="453"/>
                  <a:pt x="401" y="453"/>
                </a:cubicBezTo>
                <a:cubicBezTo>
                  <a:pt x="404" y="453"/>
                  <a:pt x="404" y="453"/>
                  <a:pt x="404" y="453"/>
                </a:cubicBezTo>
                <a:cubicBezTo>
                  <a:pt x="412" y="448"/>
                  <a:pt x="412" y="448"/>
                  <a:pt x="412" y="448"/>
                </a:cubicBezTo>
                <a:cubicBezTo>
                  <a:pt x="418" y="446"/>
                  <a:pt x="418" y="446"/>
                  <a:pt x="418" y="446"/>
                </a:cubicBezTo>
                <a:cubicBezTo>
                  <a:pt x="422" y="446"/>
                  <a:pt x="422" y="446"/>
                  <a:pt x="422" y="446"/>
                </a:cubicBezTo>
                <a:cubicBezTo>
                  <a:pt x="424" y="448"/>
                  <a:pt x="424" y="448"/>
                  <a:pt x="424" y="448"/>
                </a:cubicBezTo>
                <a:cubicBezTo>
                  <a:pt x="427" y="449"/>
                  <a:pt x="427" y="449"/>
                  <a:pt x="427" y="449"/>
                </a:cubicBezTo>
                <a:cubicBezTo>
                  <a:pt x="427" y="452"/>
                  <a:pt x="427" y="452"/>
                  <a:pt x="427" y="452"/>
                </a:cubicBezTo>
                <a:cubicBezTo>
                  <a:pt x="426" y="456"/>
                  <a:pt x="426" y="456"/>
                  <a:pt x="426" y="456"/>
                </a:cubicBezTo>
                <a:cubicBezTo>
                  <a:pt x="429" y="456"/>
                  <a:pt x="429" y="456"/>
                  <a:pt x="429" y="456"/>
                </a:cubicBezTo>
                <a:cubicBezTo>
                  <a:pt x="433" y="461"/>
                  <a:pt x="433" y="461"/>
                  <a:pt x="433" y="461"/>
                </a:cubicBezTo>
                <a:cubicBezTo>
                  <a:pt x="436" y="459"/>
                  <a:pt x="436" y="459"/>
                  <a:pt x="436" y="459"/>
                </a:cubicBezTo>
                <a:cubicBezTo>
                  <a:pt x="440" y="455"/>
                  <a:pt x="440" y="455"/>
                  <a:pt x="440" y="455"/>
                </a:cubicBezTo>
                <a:cubicBezTo>
                  <a:pt x="446" y="458"/>
                  <a:pt x="446" y="458"/>
                  <a:pt x="446" y="458"/>
                </a:cubicBezTo>
                <a:cubicBezTo>
                  <a:pt x="447" y="460"/>
                  <a:pt x="447" y="460"/>
                  <a:pt x="447" y="460"/>
                </a:cubicBezTo>
                <a:cubicBezTo>
                  <a:pt x="450" y="458"/>
                  <a:pt x="450" y="458"/>
                  <a:pt x="450" y="458"/>
                </a:cubicBezTo>
                <a:cubicBezTo>
                  <a:pt x="450" y="458"/>
                  <a:pt x="452" y="457"/>
                  <a:pt x="453" y="460"/>
                </a:cubicBezTo>
                <a:cubicBezTo>
                  <a:pt x="454" y="463"/>
                  <a:pt x="453" y="463"/>
                  <a:pt x="453" y="463"/>
                </a:cubicBezTo>
                <a:cubicBezTo>
                  <a:pt x="461" y="464"/>
                  <a:pt x="461" y="464"/>
                  <a:pt x="461" y="464"/>
                </a:cubicBezTo>
                <a:cubicBezTo>
                  <a:pt x="468" y="461"/>
                  <a:pt x="468" y="461"/>
                  <a:pt x="468" y="461"/>
                </a:cubicBezTo>
                <a:cubicBezTo>
                  <a:pt x="476" y="457"/>
                  <a:pt x="476" y="457"/>
                  <a:pt x="476" y="457"/>
                </a:cubicBezTo>
                <a:cubicBezTo>
                  <a:pt x="483" y="454"/>
                  <a:pt x="483" y="454"/>
                  <a:pt x="483" y="454"/>
                </a:cubicBezTo>
                <a:cubicBezTo>
                  <a:pt x="490" y="453"/>
                  <a:pt x="490" y="453"/>
                  <a:pt x="490" y="453"/>
                </a:cubicBezTo>
                <a:cubicBezTo>
                  <a:pt x="491" y="454"/>
                  <a:pt x="491" y="454"/>
                  <a:pt x="491" y="454"/>
                </a:cubicBezTo>
                <a:cubicBezTo>
                  <a:pt x="491" y="459"/>
                  <a:pt x="491" y="459"/>
                  <a:pt x="491" y="459"/>
                </a:cubicBezTo>
                <a:cubicBezTo>
                  <a:pt x="497" y="468"/>
                  <a:pt x="497" y="468"/>
                  <a:pt x="497" y="468"/>
                </a:cubicBezTo>
                <a:cubicBezTo>
                  <a:pt x="503" y="483"/>
                  <a:pt x="503" y="483"/>
                  <a:pt x="503" y="483"/>
                </a:cubicBezTo>
                <a:cubicBezTo>
                  <a:pt x="508" y="493"/>
                  <a:pt x="508" y="493"/>
                  <a:pt x="508" y="493"/>
                </a:cubicBezTo>
                <a:cubicBezTo>
                  <a:pt x="508" y="493"/>
                  <a:pt x="511" y="499"/>
                  <a:pt x="514" y="499"/>
                </a:cubicBezTo>
                <a:cubicBezTo>
                  <a:pt x="516" y="499"/>
                  <a:pt x="522" y="497"/>
                  <a:pt x="522" y="497"/>
                </a:cubicBezTo>
                <a:cubicBezTo>
                  <a:pt x="531" y="497"/>
                  <a:pt x="531" y="497"/>
                  <a:pt x="531" y="497"/>
                </a:cubicBezTo>
                <a:cubicBezTo>
                  <a:pt x="534" y="497"/>
                  <a:pt x="539" y="504"/>
                  <a:pt x="539" y="504"/>
                </a:cubicBezTo>
                <a:cubicBezTo>
                  <a:pt x="541" y="510"/>
                  <a:pt x="541" y="510"/>
                  <a:pt x="541" y="510"/>
                </a:cubicBezTo>
                <a:cubicBezTo>
                  <a:pt x="543" y="516"/>
                  <a:pt x="543" y="516"/>
                  <a:pt x="543" y="516"/>
                </a:cubicBezTo>
                <a:cubicBezTo>
                  <a:pt x="544" y="519"/>
                  <a:pt x="544" y="519"/>
                  <a:pt x="544" y="519"/>
                </a:cubicBezTo>
                <a:cubicBezTo>
                  <a:pt x="549" y="521"/>
                  <a:pt x="549" y="521"/>
                  <a:pt x="549" y="521"/>
                </a:cubicBezTo>
                <a:cubicBezTo>
                  <a:pt x="555" y="520"/>
                  <a:pt x="555" y="520"/>
                  <a:pt x="555" y="520"/>
                </a:cubicBezTo>
                <a:cubicBezTo>
                  <a:pt x="566" y="515"/>
                  <a:pt x="566" y="515"/>
                  <a:pt x="566" y="515"/>
                </a:cubicBezTo>
                <a:cubicBezTo>
                  <a:pt x="572" y="514"/>
                  <a:pt x="572" y="514"/>
                  <a:pt x="572" y="514"/>
                </a:cubicBezTo>
                <a:cubicBezTo>
                  <a:pt x="577" y="514"/>
                  <a:pt x="577" y="514"/>
                  <a:pt x="577" y="514"/>
                </a:cubicBezTo>
                <a:cubicBezTo>
                  <a:pt x="579" y="518"/>
                  <a:pt x="579" y="518"/>
                  <a:pt x="579" y="518"/>
                </a:cubicBezTo>
                <a:cubicBezTo>
                  <a:pt x="582" y="522"/>
                  <a:pt x="582" y="522"/>
                  <a:pt x="582" y="522"/>
                </a:cubicBezTo>
                <a:cubicBezTo>
                  <a:pt x="584" y="524"/>
                  <a:pt x="584" y="524"/>
                  <a:pt x="584" y="524"/>
                </a:cubicBezTo>
                <a:cubicBezTo>
                  <a:pt x="590" y="525"/>
                  <a:pt x="590" y="525"/>
                  <a:pt x="590" y="525"/>
                </a:cubicBezTo>
                <a:cubicBezTo>
                  <a:pt x="593" y="523"/>
                  <a:pt x="593" y="523"/>
                  <a:pt x="593" y="523"/>
                </a:cubicBezTo>
                <a:cubicBezTo>
                  <a:pt x="598" y="522"/>
                  <a:pt x="598" y="522"/>
                  <a:pt x="598" y="522"/>
                </a:cubicBezTo>
                <a:cubicBezTo>
                  <a:pt x="601" y="520"/>
                  <a:pt x="601" y="520"/>
                  <a:pt x="601" y="520"/>
                </a:cubicBezTo>
                <a:cubicBezTo>
                  <a:pt x="603" y="517"/>
                  <a:pt x="603" y="517"/>
                  <a:pt x="603" y="517"/>
                </a:cubicBezTo>
                <a:cubicBezTo>
                  <a:pt x="603" y="515"/>
                  <a:pt x="603" y="515"/>
                  <a:pt x="603" y="515"/>
                </a:cubicBezTo>
                <a:cubicBezTo>
                  <a:pt x="605" y="512"/>
                  <a:pt x="605" y="512"/>
                  <a:pt x="605" y="512"/>
                </a:cubicBezTo>
                <a:cubicBezTo>
                  <a:pt x="609" y="510"/>
                  <a:pt x="609" y="510"/>
                  <a:pt x="609" y="510"/>
                </a:cubicBezTo>
                <a:cubicBezTo>
                  <a:pt x="613" y="508"/>
                  <a:pt x="613" y="508"/>
                  <a:pt x="613" y="508"/>
                </a:cubicBezTo>
                <a:cubicBezTo>
                  <a:pt x="619" y="506"/>
                  <a:pt x="619" y="506"/>
                  <a:pt x="619" y="506"/>
                </a:cubicBezTo>
                <a:cubicBezTo>
                  <a:pt x="622" y="503"/>
                  <a:pt x="622" y="503"/>
                  <a:pt x="622" y="503"/>
                </a:cubicBezTo>
                <a:cubicBezTo>
                  <a:pt x="627" y="503"/>
                  <a:pt x="627" y="503"/>
                  <a:pt x="627" y="503"/>
                </a:cubicBezTo>
                <a:cubicBezTo>
                  <a:pt x="632" y="504"/>
                  <a:pt x="632" y="504"/>
                  <a:pt x="632" y="504"/>
                </a:cubicBezTo>
                <a:cubicBezTo>
                  <a:pt x="634" y="507"/>
                  <a:pt x="634" y="507"/>
                  <a:pt x="634" y="507"/>
                </a:cubicBezTo>
                <a:cubicBezTo>
                  <a:pt x="639" y="504"/>
                  <a:pt x="639" y="504"/>
                  <a:pt x="639" y="504"/>
                </a:cubicBezTo>
                <a:cubicBezTo>
                  <a:pt x="645" y="508"/>
                  <a:pt x="645" y="508"/>
                  <a:pt x="645" y="508"/>
                </a:cubicBezTo>
                <a:cubicBezTo>
                  <a:pt x="650" y="510"/>
                  <a:pt x="650" y="510"/>
                  <a:pt x="650" y="510"/>
                </a:cubicBezTo>
                <a:cubicBezTo>
                  <a:pt x="656" y="511"/>
                  <a:pt x="656" y="511"/>
                  <a:pt x="656" y="511"/>
                </a:cubicBezTo>
                <a:cubicBezTo>
                  <a:pt x="662" y="512"/>
                  <a:pt x="662" y="512"/>
                  <a:pt x="662" y="512"/>
                </a:cubicBezTo>
                <a:cubicBezTo>
                  <a:pt x="670" y="511"/>
                  <a:pt x="670" y="511"/>
                  <a:pt x="670" y="511"/>
                </a:cubicBezTo>
                <a:cubicBezTo>
                  <a:pt x="677" y="511"/>
                  <a:pt x="677" y="511"/>
                  <a:pt x="677" y="511"/>
                </a:cubicBezTo>
                <a:cubicBezTo>
                  <a:pt x="679" y="509"/>
                  <a:pt x="679" y="509"/>
                  <a:pt x="679" y="509"/>
                </a:cubicBezTo>
                <a:cubicBezTo>
                  <a:pt x="678" y="503"/>
                  <a:pt x="678" y="503"/>
                  <a:pt x="678" y="503"/>
                </a:cubicBezTo>
                <a:cubicBezTo>
                  <a:pt x="676" y="499"/>
                  <a:pt x="676" y="499"/>
                  <a:pt x="676" y="499"/>
                </a:cubicBezTo>
                <a:cubicBezTo>
                  <a:pt x="671" y="497"/>
                  <a:pt x="671" y="497"/>
                  <a:pt x="671" y="497"/>
                </a:cubicBezTo>
                <a:cubicBezTo>
                  <a:pt x="673" y="493"/>
                  <a:pt x="673" y="493"/>
                  <a:pt x="673" y="493"/>
                </a:cubicBezTo>
                <a:cubicBezTo>
                  <a:pt x="675" y="490"/>
                  <a:pt x="675" y="490"/>
                  <a:pt x="675" y="490"/>
                </a:cubicBezTo>
                <a:cubicBezTo>
                  <a:pt x="677" y="486"/>
                  <a:pt x="677" y="486"/>
                  <a:pt x="677" y="486"/>
                </a:cubicBezTo>
                <a:cubicBezTo>
                  <a:pt x="683" y="487"/>
                  <a:pt x="683" y="487"/>
                  <a:pt x="683" y="487"/>
                </a:cubicBezTo>
                <a:cubicBezTo>
                  <a:pt x="687" y="488"/>
                  <a:pt x="687" y="488"/>
                  <a:pt x="687" y="488"/>
                </a:cubicBezTo>
                <a:cubicBezTo>
                  <a:pt x="693" y="488"/>
                  <a:pt x="693" y="488"/>
                  <a:pt x="693" y="488"/>
                </a:cubicBezTo>
                <a:cubicBezTo>
                  <a:pt x="696" y="491"/>
                  <a:pt x="696" y="491"/>
                  <a:pt x="696" y="491"/>
                </a:cubicBezTo>
                <a:cubicBezTo>
                  <a:pt x="702" y="491"/>
                  <a:pt x="702" y="491"/>
                  <a:pt x="702" y="491"/>
                </a:cubicBezTo>
                <a:cubicBezTo>
                  <a:pt x="710" y="498"/>
                  <a:pt x="710" y="498"/>
                  <a:pt x="710" y="498"/>
                </a:cubicBezTo>
                <a:cubicBezTo>
                  <a:pt x="715" y="502"/>
                  <a:pt x="715" y="502"/>
                  <a:pt x="715" y="502"/>
                </a:cubicBezTo>
                <a:cubicBezTo>
                  <a:pt x="718" y="508"/>
                  <a:pt x="718" y="508"/>
                  <a:pt x="718" y="508"/>
                </a:cubicBezTo>
                <a:cubicBezTo>
                  <a:pt x="721" y="510"/>
                  <a:pt x="721" y="510"/>
                  <a:pt x="721" y="510"/>
                </a:cubicBezTo>
                <a:cubicBezTo>
                  <a:pt x="727" y="514"/>
                  <a:pt x="727" y="514"/>
                  <a:pt x="727" y="514"/>
                </a:cubicBezTo>
                <a:cubicBezTo>
                  <a:pt x="731" y="513"/>
                  <a:pt x="731" y="513"/>
                  <a:pt x="731" y="513"/>
                </a:cubicBezTo>
                <a:cubicBezTo>
                  <a:pt x="734" y="513"/>
                  <a:pt x="734" y="513"/>
                  <a:pt x="734" y="513"/>
                </a:cubicBezTo>
                <a:cubicBezTo>
                  <a:pt x="739" y="512"/>
                  <a:pt x="739" y="512"/>
                  <a:pt x="739" y="512"/>
                </a:cubicBezTo>
                <a:cubicBezTo>
                  <a:pt x="742" y="509"/>
                  <a:pt x="742" y="509"/>
                  <a:pt x="742" y="509"/>
                </a:cubicBezTo>
                <a:cubicBezTo>
                  <a:pt x="748" y="511"/>
                  <a:pt x="748" y="511"/>
                  <a:pt x="748" y="511"/>
                </a:cubicBezTo>
                <a:cubicBezTo>
                  <a:pt x="756" y="513"/>
                  <a:pt x="756" y="513"/>
                  <a:pt x="756" y="513"/>
                </a:cubicBezTo>
                <a:cubicBezTo>
                  <a:pt x="759" y="514"/>
                  <a:pt x="759" y="514"/>
                  <a:pt x="759" y="514"/>
                </a:cubicBezTo>
                <a:cubicBezTo>
                  <a:pt x="759" y="517"/>
                  <a:pt x="759" y="517"/>
                  <a:pt x="759" y="517"/>
                </a:cubicBezTo>
                <a:cubicBezTo>
                  <a:pt x="762" y="520"/>
                  <a:pt x="762" y="520"/>
                  <a:pt x="762" y="520"/>
                </a:cubicBezTo>
                <a:cubicBezTo>
                  <a:pt x="767" y="520"/>
                  <a:pt x="767" y="520"/>
                  <a:pt x="767" y="520"/>
                </a:cubicBezTo>
                <a:cubicBezTo>
                  <a:pt x="771" y="523"/>
                  <a:pt x="771" y="523"/>
                  <a:pt x="771" y="523"/>
                </a:cubicBezTo>
                <a:cubicBezTo>
                  <a:pt x="775" y="523"/>
                  <a:pt x="775" y="523"/>
                  <a:pt x="775" y="523"/>
                </a:cubicBezTo>
                <a:cubicBezTo>
                  <a:pt x="779" y="521"/>
                  <a:pt x="779" y="521"/>
                  <a:pt x="779" y="521"/>
                </a:cubicBezTo>
                <a:cubicBezTo>
                  <a:pt x="783" y="522"/>
                  <a:pt x="783" y="522"/>
                  <a:pt x="783" y="522"/>
                </a:cubicBezTo>
                <a:cubicBezTo>
                  <a:pt x="788" y="524"/>
                  <a:pt x="788" y="524"/>
                  <a:pt x="788" y="524"/>
                </a:cubicBezTo>
                <a:cubicBezTo>
                  <a:pt x="795" y="522"/>
                  <a:pt x="795" y="522"/>
                  <a:pt x="795" y="522"/>
                </a:cubicBezTo>
                <a:cubicBezTo>
                  <a:pt x="799" y="520"/>
                  <a:pt x="799" y="520"/>
                  <a:pt x="799" y="520"/>
                </a:cubicBezTo>
                <a:cubicBezTo>
                  <a:pt x="807" y="519"/>
                  <a:pt x="807" y="519"/>
                  <a:pt x="807" y="519"/>
                </a:cubicBezTo>
                <a:cubicBezTo>
                  <a:pt x="815" y="513"/>
                  <a:pt x="815" y="513"/>
                  <a:pt x="815" y="513"/>
                </a:cubicBezTo>
                <a:cubicBezTo>
                  <a:pt x="817" y="512"/>
                  <a:pt x="817" y="512"/>
                  <a:pt x="817" y="512"/>
                </a:cubicBezTo>
                <a:cubicBezTo>
                  <a:pt x="823" y="517"/>
                  <a:pt x="823" y="517"/>
                  <a:pt x="823" y="517"/>
                </a:cubicBezTo>
                <a:cubicBezTo>
                  <a:pt x="828" y="516"/>
                  <a:pt x="828" y="516"/>
                  <a:pt x="828" y="516"/>
                </a:cubicBezTo>
                <a:cubicBezTo>
                  <a:pt x="834" y="518"/>
                  <a:pt x="834" y="518"/>
                  <a:pt x="834" y="518"/>
                </a:cubicBezTo>
                <a:cubicBezTo>
                  <a:pt x="838" y="516"/>
                  <a:pt x="838" y="516"/>
                  <a:pt x="838" y="516"/>
                </a:cubicBezTo>
                <a:cubicBezTo>
                  <a:pt x="844" y="519"/>
                  <a:pt x="844" y="519"/>
                  <a:pt x="844" y="519"/>
                </a:cubicBezTo>
                <a:cubicBezTo>
                  <a:pt x="847" y="522"/>
                  <a:pt x="847" y="522"/>
                  <a:pt x="847" y="522"/>
                </a:cubicBezTo>
                <a:cubicBezTo>
                  <a:pt x="853" y="517"/>
                  <a:pt x="853" y="517"/>
                  <a:pt x="853" y="517"/>
                </a:cubicBezTo>
                <a:cubicBezTo>
                  <a:pt x="853" y="517"/>
                  <a:pt x="859" y="515"/>
                  <a:pt x="859" y="513"/>
                </a:cubicBezTo>
                <a:cubicBezTo>
                  <a:pt x="856" y="512"/>
                  <a:pt x="863" y="507"/>
                  <a:pt x="863" y="507"/>
                </a:cubicBezTo>
                <a:cubicBezTo>
                  <a:pt x="865" y="503"/>
                  <a:pt x="865" y="503"/>
                  <a:pt x="865" y="503"/>
                </a:cubicBezTo>
                <a:cubicBezTo>
                  <a:pt x="868" y="499"/>
                  <a:pt x="868" y="499"/>
                  <a:pt x="868" y="499"/>
                </a:cubicBezTo>
                <a:cubicBezTo>
                  <a:pt x="867" y="494"/>
                  <a:pt x="867" y="494"/>
                  <a:pt x="867" y="494"/>
                </a:cubicBezTo>
                <a:cubicBezTo>
                  <a:pt x="869" y="492"/>
                  <a:pt x="869" y="492"/>
                  <a:pt x="869" y="492"/>
                </a:cubicBezTo>
                <a:cubicBezTo>
                  <a:pt x="870" y="488"/>
                  <a:pt x="870" y="488"/>
                  <a:pt x="870" y="488"/>
                </a:cubicBezTo>
                <a:cubicBezTo>
                  <a:pt x="869" y="483"/>
                  <a:pt x="869" y="483"/>
                  <a:pt x="869" y="483"/>
                </a:cubicBezTo>
                <a:cubicBezTo>
                  <a:pt x="867" y="484"/>
                  <a:pt x="867" y="484"/>
                  <a:pt x="867" y="484"/>
                </a:cubicBezTo>
                <a:cubicBezTo>
                  <a:pt x="867" y="481"/>
                  <a:pt x="867" y="481"/>
                  <a:pt x="867" y="481"/>
                </a:cubicBezTo>
                <a:cubicBezTo>
                  <a:pt x="869" y="480"/>
                  <a:pt x="869" y="480"/>
                  <a:pt x="869" y="480"/>
                </a:cubicBezTo>
                <a:cubicBezTo>
                  <a:pt x="872" y="476"/>
                  <a:pt x="872" y="476"/>
                  <a:pt x="872" y="476"/>
                </a:cubicBezTo>
                <a:cubicBezTo>
                  <a:pt x="876" y="473"/>
                  <a:pt x="876" y="473"/>
                  <a:pt x="876" y="473"/>
                </a:cubicBezTo>
                <a:cubicBezTo>
                  <a:pt x="879" y="470"/>
                  <a:pt x="879" y="470"/>
                  <a:pt x="879" y="470"/>
                </a:cubicBezTo>
                <a:cubicBezTo>
                  <a:pt x="884" y="470"/>
                  <a:pt x="884" y="470"/>
                  <a:pt x="884" y="470"/>
                </a:cubicBezTo>
                <a:cubicBezTo>
                  <a:pt x="889" y="468"/>
                  <a:pt x="889" y="468"/>
                  <a:pt x="889" y="468"/>
                </a:cubicBezTo>
                <a:cubicBezTo>
                  <a:pt x="891" y="467"/>
                  <a:pt x="891" y="467"/>
                  <a:pt x="891" y="467"/>
                </a:cubicBezTo>
                <a:cubicBezTo>
                  <a:pt x="897" y="468"/>
                  <a:pt x="897" y="468"/>
                  <a:pt x="897" y="468"/>
                </a:cubicBezTo>
                <a:cubicBezTo>
                  <a:pt x="900" y="471"/>
                  <a:pt x="900" y="471"/>
                  <a:pt x="900" y="471"/>
                </a:cubicBezTo>
                <a:cubicBezTo>
                  <a:pt x="903" y="474"/>
                  <a:pt x="903" y="474"/>
                  <a:pt x="903" y="474"/>
                </a:cubicBezTo>
                <a:cubicBezTo>
                  <a:pt x="907" y="477"/>
                  <a:pt x="907" y="477"/>
                  <a:pt x="907" y="477"/>
                </a:cubicBezTo>
                <a:cubicBezTo>
                  <a:pt x="913" y="478"/>
                  <a:pt x="913" y="478"/>
                  <a:pt x="913" y="478"/>
                </a:cubicBezTo>
                <a:cubicBezTo>
                  <a:pt x="917" y="482"/>
                  <a:pt x="917" y="482"/>
                  <a:pt x="917" y="482"/>
                </a:cubicBezTo>
                <a:cubicBezTo>
                  <a:pt x="920" y="485"/>
                  <a:pt x="920" y="485"/>
                  <a:pt x="920" y="485"/>
                </a:cubicBezTo>
                <a:cubicBezTo>
                  <a:pt x="923" y="490"/>
                  <a:pt x="923" y="490"/>
                  <a:pt x="923" y="490"/>
                </a:cubicBezTo>
                <a:cubicBezTo>
                  <a:pt x="923" y="493"/>
                  <a:pt x="923" y="493"/>
                  <a:pt x="923" y="493"/>
                </a:cubicBezTo>
                <a:cubicBezTo>
                  <a:pt x="924" y="499"/>
                  <a:pt x="924" y="499"/>
                  <a:pt x="924" y="499"/>
                </a:cubicBezTo>
                <a:cubicBezTo>
                  <a:pt x="928" y="505"/>
                  <a:pt x="928" y="505"/>
                  <a:pt x="928" y="505"/>
                </a:cubicBezTo>
                <a:cubicBezTo>
                  <a:pt x="931" y="510"/>
                  <a:pt x="931" y="510"/>
                  <a:pt x="931" y="510"/>
                </a:cubicBezTo>
                <a:cubicBezTo>
                  <a:pt x="934" y="513"/>
                  <a:pt x="934" y="513"/>
                  <a:pt x="934" y="513"/>
                </a:cubicBezTo>
                <a:cubicBezTo>
                  <a:pt x="937" y="513"/>
                  <a:pt x="937" y="513"/>
                  <a:pt x="937" y="513"/>
                </a:cubicBezTo>
                <a:cubicBezTo>
                  <a:pt x="941" y="513"/>
                  <a:pt x="941" y="513"/>
                  <a:pt x="941" y="513"/>
                </a:cubicBezTo>
                <a:cubicBezTo>
                  <a:pt x="946" y="515"/>
                  <a:pt x="946" y="515"/>
                  <a:pt x="946" y="515"/>
                </a:cubicBezTo>
                <a:cubicBezTo>
                  <a:pt x="949" y="518"/>
                  <a:pt x="949" y="518"/>
                  <a:pt x="949" y="518"/>
                </a:cubicBezTo>
                <a:cubicBezTo>
                  <a:pt x="950" y="521"/>
                  <a:pt x="950" y="521"/>
                  <a:pt x="950" y="521"/>
                </a:cubicBezTo>
                <a:cubicBezTo>
                  <a:pt x="952" y="526"/>
                  <a:pt x="952" y="526"/>
                  <a:pt x="952" y="526"/>
                </a:cubicBezTo>
                <a:cubicBezTo>
                  <a:pt x="955" y="530"/>
                  <a:pt x="955" y="530"/>
                  <a:pt x="955" y="530"/>
                </a:cubicBezTo>
                <a:cubicBezTo>
                  <a:pt x="957" y="533"/>
                  <a:pt x="957" y="533"/>
                  <a:pt x="957" y="533"/>
                </a:cubicBezTo>
                <a:cubicBezTo>
                  <a:pt x="956" y="537"/>
                  <a:pt x="956" y="537"/>
                  <a:pt x="956" y="537"/>
                </a:cubicBezTo>
                <a:cubicBezTo>
                  <a:pt x="958" y="541"/>
                  <a:pt x="958" y="541"/>
                  <a:pt x="958" y="541"/>
                </a:cubicBezTo>
                <a:cubicBezTo>
                  <a:pt x="962" y="543"/>
                  <a:pt x="962" y="543"/>
                  <a:pt x="962" y="543"/>
                </a:cubicBezTo>
                <a:cubicBezTo>
                  <a:pt x="966" y="545"/>
                  <a:pt x="966" y="545"/>
                  <a:pt x="966" y="545"/>
                </a:cubicBezTo>
                <a:cubicBezTo>
                  <a:pt x="969" y="544"/>
                  <a:pt x="969" y="544"/>
                  <a:pt x="969" y="544"/>
                </a:cubicBezTo>
                <a:cubicBezTo>
                  <a:pt x="972" y="542"/>
                  <a:pt x="972" y="542"/>
                  <a:pt x="972" y="542"/>
                </a:cubicBezTo>
                <a:cubicBezTo>
                  <a:pt x="975" y="539"/>
                  <a:pt x="975" y="539"/>
                  <a:pt x="975" y="539"/>
                </a:cubicBezTo>
                <a:cubicBezTo>
                  <a:pt x="978" y="537"/>
                  <a:pt x="978" y="537"/>
                  <a:pt x="978" y="537"/>
                </a:cubicBezTo>
                <a:cubicBezTo>
                  <a:pt x="981" y="537"/>
                  <a:pt x="981" y="537"/>
                  <a:pt x="981" y="537"/>
                </a:cubicBezTo>
                <a:cubicBezTo>
                  <a:pt x="985" y="536"/>
                  <a:pt x="985" y="536"/>
                  <a:pt x="985" y="536"/>
                </a:cubicBezTo>
                <a:cubicBezTo>
                  <a:pt x="987" y="533"/>
                  <a:pt x="987" y="533"/>
                  <a:pt x="987" y="533"/>
                </a:cubicBezTo>
                <a:cubicBezTo>
                  <a:pt x="991" y="531"/>
                  <a:pt x="991" y="531"/>
                  <a:pt x="991" y="531"/>
                </a:cubicBezTo>
                <a:cubicBezTo>
                  <a:pt x="989" y="537"/>
                  <a:pt x="989" y="537"/>
                  <a:pt x="989" y="537"/>
                </a:cubicBezTo>
                <a:cubicBezTo>
                  <a:pt x="989" y="540"/>
                  <a:pt x="989" y="540"/>
                  <a:pt x="989" y="540"/>
                </a:cubicBezTo>
                <a:cubicBezTo>
                  <a:pt x="991" y="542"/>
                  <a:pt x="991" y="542"/>
                  <a:pt x="991" y="542"/>
                </a:cubicBezTo>
                <a:cubicBezTo>
                  <a:pt x="991" y="547"/>
                  <a:pt x="991" y="547"/>
                  <a:pt x="991" y="547"/>
                </a:cubicBezTo>
                <a:cubicBezTo>
                  <a:pt x="988" y="549"/>
                  <a:pt x="988" y="549"/>
                  <a:pt x="988" y="549"/>
                </a:cubicBezTo>
                <a:cubicBezTo>
                  <a:pt x="989" y="552"/>
                  <a:pt x="989" y="552"/>
                  <a:pt x="989" y="552"/>
                </a:cubicBezTo>
                <a:cubicBezTo>
                  <a:pt x="988" y="559"/>
                  <a:pt x="988" y="559"/>
                  <a:pt x="988" y="559"/>
                </a:cubicBezTo>
                <a:cubicBezTo>
                  <a:pt x="986" y="563"/>
                  <a:pt x="986" y="563"/>
                  <a:pt x="986" y="563"/>
                </a:cubicBezTo>
                <a:cubicBezTo>
                  <a:pt x="982" y="566"/>
                  <a:pt x="982" y="566"/>
                  <a:pt x="982" y="566"/>
                </a:cubicBezTo>
                <a:cubicBezTo>
                  <a:pt x="979" y="568"/>
                  <a:pt x="979" y="568"/>
                  <a:pt x="979" y="568"/>
                </a:cubicBezTo>
                <a:cubicBezTo>
                  <a:pt x="978" y="571"/>
                  <a:pt x="978" y="571"/>
                  <a:pt x="978" y="571"/>
                </a:cubicBezTo>
                <a:cubicBezTo>
                  <a:pt x="974" y="573"/>
                  <a:pt x="974" y="573"/>
                  <a:pt x="974" y="573"/>
                </a:cubicBezTo>
                <a:cubicBezTo>
                  <a:pt x="974" y="574"/>
                  <a:pt x="972" y="576"/>
                  <a:pt x="972" y="576"/>
                </a:cubicBezTo>
                <a:cubicBezTo>
                  <a:pt x="972" y="578"/>
                  <a:pt x="972" y="581"/>
                  <a:pt x="971" y="584"/>
                </a:cubicBezTo>
                <a:cubicBezTo>
                  <a:pt x="971" y="584"/>
                  <a:pt x="969" y="583"/>
                  <a:pt x="969" y="584"/>
                </a:cubicBezTo>
                <a:cubicBezTo>
                  <a:pt x="969" y="582"/>
                  <a:pt x="967" y="582"/>
                  <a:pt x="967" y="580"/>
                </a:cubicBezTo>
                <a:cubicBezTo>
                  <a:pt x="968" y="579"/>
                  <a:pt x="969" y="578"/>
                  <a:pt x="969" y="576"/>
                </a:cubicBezTo>
                <a:cubicBezTo>
                  <a:pt x="969" y="576"/>
                  <a:pt x="967" y="574"/>
                  <a:pt x="967" y="574"/>
                </a:cubicBezTo>
                <a:cubicBezTo>
                  <a:pt x="965" y="576"/>
                  <a:pt x="965" y="576"/>
                  <a:pt x="965" y="576"/>
                </a:cubicBezTo>
                <a:cubicBezTo>
                  <a:pt x="962" y="578"/>
                  <a:pt x="962" y="578"/>
                  <a:pt x="962" y="578"/>
                </a:cubicBezTo>
                <a:cubicBezTo>
                  <a:pt x="962" y="582"/>
                  <a:pt x="962" y="582"/>
                  <a:pt x="962" y="582"/>
                </a:cubicBezTo>
                <a:cubicBezTo>
                  <a:pt x="961" y="586"/>
                  <a:pt x="961" y="586"/>
                  <a:pt x="961" y="586"/>
                </a:cubicBezTo>
                <a:cubicBezTo>
                  <a:pt x="961" y="592"/>
                  <a:pt x="961" y="592"/>
                  <a:pt x="961" y="592"/>
                </a:cubicBezTo>
                <a:cubicBezTo>
                  <a:pt x="961" y="596"/>
                  <a:pt x="961" y="596"/>
                  <a:pt x="961" y="596"/>
                </a:cubicBezTo>
                <a:cubicBezTo>
                  <a:pt x="958" y="598"/>
                  <a:pt x="958" y="598"/>
                  <a:pt x="958" y="598"/>
                </a:cubicBezTo>
                <a:cubicBezTo>
                  <a:pt x="959" y="601"/>
                  <a:pt x="959" y="601"/>
                  <a:pt x="959" y="601"/>
                </a:cubicBezTo>
                <a:cubicBezTo>
                  <a:pt x="957" y="604"/>
                  <a:pt x="957" y="604"/>
                  <a:pt x="957" y="604"/>
                </a:cubicBezTo>
                <a:cubicBezTo>
                  <a:pt x="958" y="605"/>
                  <a:pt x="958" y="605"/>
                  <a:pt x="958" y="605"/>
                </a:cubicBezTo>
                <a:cubicBezTo>
                  <a:pt x="958" y="605"/>
                  <a:pt x="960" y="605"/>
                  <a:pt x="961" y="605"/>
                </a:cubicBezTo>
                <a:cubicBezTo>
                  <a:pt x="961" y="604"/>
                  <a:pt x="961" y="602"/>
                  <a:pt x="961" y="602"/>
                </a:cubicBezTo>
                <a:cubicBezTo>
                  <a:pt x="962" y="601"/>
                  <a:pt x="963" y="602"/>
                  <a:pt x="963" y="602"/>
                </a:cubicBezTo>
                <a:cubicBezTo>
                  <a:pt x="965" y="601"/>
                  <a:pt x="967" y="598"/>
                  <a:pt x="967" y="596"/>
                </a:cubicBezTo>
                <a:cubicBezTo>
                  <a:pt x="968" y="596"/>
                  <a:pt x="969" y="595"/>
                  <a:pt x="969" y="596"/>
                </a:cubicBezTo>
                <a:cubicBezTo>
                  <a:pt x="971" y="596"/>
                  <a:pt x="968" y="600"/>
                  <a:pt x="972" y="598"/>
                </a:cubicBezTo>
                <a:cubicBezTo>
                  <a:pt x="973" y="597"/>
                  <a:pt x="973" y="597"/>
                  <a:pt x="974" y="596"/>
                </a:cubicBezTo>
                <a:cubicBezTo>
                  <a:pt x="973" y="600"/>
                  <a:pt x="973" y="600"/>
                  <a:pt x="975" y="603"/>
                </a:cubicBezTo>
                <a:cubicBezTo>
                  <a:pt x="976" y="603"/>
                  <a:pt x="976" y="603"/>
                  <a:pt x="976" y="603"/>
                </a:cubicBezTo>
                <a:cubicBezTo>
                  <a:pt x="977" y="604"/>
                  <a:pt x="976" y="605"/>
                  <a:pt x="977" y="606"/>
                </a:cubicBezTo>
                <a:cubicBezTo>
                  <a:pt x="979" y="605"/>
                  <a:pt x="979" y="605"/>
                  <a:pt x="979" y="605"/>
                </a:cubicBezTo>
                <a:cubicBezTo>
                  <a:pt x="982" y="606"/>
                  <a:pt x="981" y="609"/>
                  <a:pt x="985" y="607"/>
                </a:cubicBezTo>
                <a:cubicBezTo>
                  <a:pt x="987" y="606"/>
                  <a:pt x="991" y="598"/>
                  <a:pt x="993" y="597"/>
                </a:cubicBezTo>
                <a:cubicBezTo>
                  <a:pt x="994" y="597"/>
                  <a:pt x="994" y="597"/>
                  <a:pt x="994" y="597"/>
                </a:cubicBezTo>
                <a:cubicBezTo>
                  <a:pt x="994" y="596"/>
                  <a:pt x="994" y="594"/>
                  <a:pt x="995" y="594"/>
                </a:cubicBezTo>
                <a:cubicBezTo>
                  <a:pt x="995" y="594"/>
                  <a:pt x="998" y="594"/>
                  <a:pt x="998" y="594"/>
                </a:cubicBezTo>
                <a:cubicBezTo>
                  <a:pt x="999" y="591"/>
                  <a:pt x="998" y="589"/>
                  <a:pt x="999" y="587"/>
                </a:cubicBezTo>
                <a:cubicBezTo>
                  <a:pt x="1000" y="586"/>
                  <a:pt x="1001" y="586"/>
                  <a:pt x="1001" y="586"/>
                </a:cubicBezTo>
                <a:cubicBezTo>
                  <a:pt x="1002" y="585"/>
                  <a:pt x="1002" y="583"/>
                  <a:pt x="1002" y="583"/>
                </a:cubicBezTo>
                <a:cubicBezTo>
                  <a:pt x="1003" y="582"/>
                  <a:pt x="1003" y="584"/>
                  <a:pt x="1004" y="582"/>
                </a:cubicBezTo>
                <a:cubicBezTo>
                  <a:pt x="1005" y="582"/>
                  <a:pt x="1006" y="579"/>
                  <a:pt x="1006" y="578"/>
                </a:cubicBezTo>
                <a:cubicBezTo>
                  <a:pt x="1011" y="572"/>
                  <a:pt x="1011" y="572"/>
                  <a:pt x="1011" y="572"/>
                </a:cubicBezTo>
                <a:cubicBezTo>
                  <a:pt x="1012" y="572"/>
                  <a:pt x="1013" y="572"/>
                  <a:pt x="1014" y="572"/>
                </a:cubicBezTo>
                <a:cubicBezTo>
                  <a:pt x="1015" y="571"/>
                  <a:pt x="1015" y="569"/>
                  <a:pt x="1015" y="568"/>
                </a:cubicBezTo>
                <a:cubicBezTo>
                  <a:pt x="1016" y="567"/>
                  <a:pt x="1019" y="566"/>
                  <a:pt x="1019" y="565"/>
                </a:cubicBezTo>
                <a:cubicBezTo>
                  <a:pt x="1023" y="558"/>
                  <a:pt x="1023" y="558"/>
                  <a:pt x="1023" y="558"/>
                </a:cubicBezTo>
                <a:cubicBezTo>
                  <a:pt x="1023" y="557"/>
                  <a:pt x="1022" y="557"/>
                  <a:pt x="1023" y="555"/>
                </a:cubicBezTo>
                <a:cubicBezTo>
                  <a:pt x="1023" y="553"/>
                  <a:pt x="1026" y="548"/>
                  <a:pt x="1027" y="547"/>
                </a:cubicBezTo>
                <a:cubicBezTo>
                  <a:pt x="1028" y="547"/>
                  <a:pt x="1029" y="547"/>
                  <a:pt x="1029" y="546"/>
                </a:cubicBezTo>
                <a:cubicBezTo>
                  <a:pt x="1030" y="545"/>
                  <a:pt x="1030" y="543"/>
                  <a:pt x="1031" y="541"/>
                </a:cubicBezTo>
                <a:cubicBezTo>
                  <a:pt x="1032" y="538"/>
                  <a:pt x="1037" y="537"/>
                  <a:pt x="1038" y="534"/>
                </a:cubicBezTo>
                <a:cubicBezTo>
                  <a:pt x="1039" y="533"/>
                  <a:pt x="1038" y="531"/>
                  <a:pt x="1039" y="529"/>
                </a:cubicBezTo>
                <a:cubicBezTo>
                  <a:pt x="1039" y="529"/>
                  <a:pt x="1041" y="529"/>
                  <a:pt x="1041" y="528"/>
                </a:cubicBezTo>
                <a:cubicBezTo>
                  <a:pt x="1041" y="528"/>
                  <a:pt x="1039" y="525"/>
                  <a:pt x="1039" y="525"/>
                </a:cubicBezTo>
                <a:cubicBezTo>
                  <a:pt x="1039" y="524"/>
                  <a:pt x="1042" y="521"/>
                  <a:pt x="1042" y="520"/>
                </a:cubicBezTo>
                <a:cubicBezTo>
                  <a:pt x="1042" y="517"/>
                  <a:pt x="1041" y="515"/>
                  <a:pt x="1041" y="514"/>
                </a:cubicBezTo>
                <a:cubicBezTo>
                  <a:pt x="1041" y="514"/>
                  <a:pt x="1042" y="512"/>
                  <a:pt x="1042" y="510"/>
                </a:cubicBezTo>
                <a:cubicBezTo>
                  <a:pt x="1040" y="510"/>
                  <a:pt x="1040" y="510"/>
                  <a:pt x="1040" y="510"/>
                </a:cubicBezTo>
                <a:cubicBezTo>
                  <a:pt x="1040" y="509"/>
                  <a:pt x="1040" y="508"/>
                  <a:pt x="1040" y="507"/>
                </a:cubicBezTo>
                <a:cubicBezTo>
                  <a:pt x="1043" y="503"/>
                  <a:pt x="1043" y="505"/>
                  <a:pt x="1041" y="501"/>
                </a:cubicBezTo>
                <a:cubicBezTo>
                  <a:pt x="1042" y="499"/>
                  <a:pt x="1045" y="497"/>
                  <a:pt x="1045" y="496"/>
                </a:cubicBezTo>
                <a:cubicBezTo>
                  <a:pt x="1045" y="495"/>
                  <a:pt x="1045" y="494"/>
                  <a:pt x="1045" y="493"/>
                </a:cubicBezTo>
                <a:cubicBezTo>
                  <a:pt x="1045" y="493"/>
                  <a:pt x="1047" y="492"/>
                  <a:pt x="1047" y="492"/>
                </a:cubicBezTo>
                <a:cubicBezTo>
                  <a:pt x="1047" y="490"/>
                  <a:pt x="1046" y="490"/>
                  <a:pt x="1045" y="490"/>
                </a:cubicBezTo>
                <a:cubicBezTo>
                  <a:pt x="1045" y="490"/>
                  <a:pt x="1045" y="487"/>
                  <a:pt x="1046" y="489"/>
                </a:cubicBezTo>
                <a:cubicBezTo>
                  <a:pt x="1046" y="487"/>
                  <a:pt x="1046" y="487"/>
                  <a:pt x="1046" y="487"/>
                </a:cubicBezTo>
                <a:cubicBezTo>
                  <a:pt x="1046" y="488"/>
                  <a:pt x="1047" y="486"/>
                  <a:pt x="1045" y="485"/>
                </a:cubicBezTo>
                <a:cubicBezTo>
                  <a:pt x="1045" y="485"/>
                  <a:pt x="1045" y="481"/>
                  <a:pt x="1045" y="481"/>
                </a:cubicBezTo>
                <a:cubicBezTo>
                  <a:pt x="1048" y="479"/>
                  <a:pt x="1050" y="481"/>
                  <a:pt x="1052" y="482"/>
                </a:cubicBezTo>
                <a:cubicBezTo>
                  <a:pt x="1052" y="478"/>
                  <a:pt x="1052" y="478"/>
                  <a:pt x="1052" y="478"/>
                </a:cubicBezTo>
                <a:cubicBezTo>
                  <a:pt x="1051" y="478"/>
                  <a:pt x="1051" y="479"/>
                  <a:pt x="1051" y="479"/>
                </a:cubicBezTo>
                <a:cubicBezTo>
                  <a:pt x="1049" y="479"/>
                  <a:pt x="1047" y="478"/>
                  <a:pt x="1046" y="477"/>
                </a:cubicBezTo>
                <a:cubicBezTo>
                  <a:pt x="1046" y="477"/>
                  <a:pt x="1046" y="475"/>
                  <a:pt x="1046" y="475"/>
                </a:cubicBezTo>
                <a:cubicBezTo>
                  <a:pt x="1046" y="475"/>
                  <a:pt x="1044" y="476"/>
                  <a:pt x="1044" y="476"/>
                </a:cubicBezTo>
                <a:cubicBezTo>
                  <a:pt x="1039" y="472"/>
                  <a:pt x="1039" y="472"/>
                  <a:pt x="1039" y="472"/>
                </a:cubicBezTo>
                <a:cubicBezTo>
                  <a:pt x="1038" y="470"/>
                  <a:pt x="1040" y="469"/>
                  <a:pt x="1039" y="468"/>
                </a:cubicBezTo>
                <a:cubicBezTo>
                  <a:pt x="1038" y="467"/>
                  <a:pt x="1035" y="467"/>
                  <a:pt x="1034" y="467"/>
                </a:cubicBezTo>
                <a:cubicBezTo>
                  <a:pt x="1034" y="467"/>
                  <a:pt x="1033" y="465"/>
                  <a:pt x="1033" y="465"/>
                </a:cubicBezTo>
                <a:cubicBezTo>
                  <a:pt x="1030" y="464"/>
                  <a:pt x="1027" y="464"/>
                  <a:pt x="1025" y="464"/>
                </a:cubicBezTo>
                <a:cubicBezTo>
                  <a:pt x="1025" y="466"/>
                  <a:pt x="1025" y="468"/>
                  <a:pt x="1025" y="470"/>
                </a:cubicBezTo>
                <a:cubicBezTo>
                  <a:pt x="1024" y="470"/>
                  <a:pt x="1022" y="469"/>
                  <a:pt x="1021" y="469"/>
                </a:cubicBezTo>
                <a:cubicBezTo>
                  <a:pt x="1020" y="470"/>
                  <a:pt x="1019" y="473"/>
                  <a:pt x="1017" y="474"/>
                </a:cubicBezTo>
                <a:cubicBezTo>
                  <a:pt x="1017" y="474"/>
                  <a:pt x="1015" y="474"/>
                  <a:pt x="1015" y="474"/>
                </a:cubicBezTo>
                <a:cubicBezTo>
                  <a:pt x="1017" y="468"/>
                  <a:pt x="1019" y="468"/>
                  <a:pt x="1013" y="465"/>
                </a:cubicBezTo>
                <a:cubicBezTo>
                  <a:pt x="1013" y="466"/>
                  <a:pt x="1012" y="468"/>
                  <a:pt x="1012" y="470"/>
                </a:cubicBezTo>
                <a:cubicBezTo>
                  <a:pt x="1012" y="470"/>
                  <a:pt x="1010" y="470"/>
                  <a:pt x="1009" y="470"/>
                </a:cubicBezTo>
                <a:cubicBezTo>
                  <a:pt x="1010" y="464"/>
                  <a:pt x="1010" y="462"/>
                  <a:pt x="1009" y="457"/>
                </a:cubicBezTo>
                <a:cubicBezTo>
                  <a:pt x="1004" y="457"/>
                  <a:pt x="1001" y="458"/>
                  <a:pt x="996" y="457"/>
                </a:cubicBezTo>
                <a:cubicBezTo>
                  <a:pt x="997" y="454"/>
                  <a:pt x="999" y="450"/>
                  <a:pt x="1001" y="449"/>
                </a:cubicBezTo>
                <a:cubicBezTo>
                  <a:pt x="1001" y="448"/>
                  <a:pt x="1002" y="449"/>
                  <a:pt x="1003" y="448"/>
                </a:cubicBezTo>
                <a:cubicBezTo>
                  <a:pt x="1004" y="446"/>
                  <a:pt x="1005" y="444"/>
                  <a:pt x="1007" y="443"/>
                </a:cubicBezTo>
                <a:cubicBezTo>
                  <a:pt x="1008" y="442"/>
                  <a:pt x="1008" y="443"/>
                  <a:pt x="1009" y="442"/>
                </a:cubicBezTo>
                <a:cubicBezTo>
                  <a:pt x="1011" y="441"/>
                  <a:pt x="1012" y="438"/>
                  <a:pt x="1014" y="437"/>
                </a:cubicBezTo>
                <a:cubicBezTo>
                  <a:pt x="1015" y="436"/>
                  <a:pt x="1017" y="436"/>
                  <a:pt x="1017" y="435"/>
                </a:cubicBezTo>
                <a:cubicBezTo>
                  <a:pt x="1018" y="435"/>
                  <a:pt x="1017" y="433"/>
                  <a:pt x="1017" y="432"/>
                </a:cubicBezTo>
                <a:cubicBezTo>
                  <a:pt x="1018" y="431"/>
                  <a:pt x="1021" y="431"/>
                  <a:pt x="1022" y="429"/>
                </a:cubicBezTo>
                <a:cubicBezTo>
                  <a:pt x="1022" y="429"/>
                  <a:pt x="1022" y="427"/>
                  <a:pt x="1022" y="426"/>
                </a:cubicBezTo>
                <a:cubicBezTo>
                  <a:pt x="1022" y="426"/>
                  <a:pt x="1024" y="424"/>
                  <a:pt x="1024" y="423"/>
                </a:cubicBezTo>
                <a:cubicBezTo>
                  <a:pt x="1024" y="423"/>
                  <a:pt x="1023" y="422"/>
                  <a:pt x="1023" y="421"/>
                </a:cubicBezTo>
                <a:cubicBezTo>
                  <a:pt x="1024" y="421"/>
                  <a:pt x="1024" y="420"/>
                  <a:pt x="1025" y="420"/>
                </a:cubicBezTo>
                <a:cubicBezTo>
                  <a:pt x="1026" y="421"/>
                  <a:pt x="1025" y="421"/>
                  <a:pt x="1026" y="421"/>
                </a:cubicBezTo>
                <a:cubicBezTo>
                  <a:pt x="1027" y="420"/>
                  <a:pt x="1027" y="418"/>
                  <a:pt x="1029" y="417"/>
                </a:cubicBezTo>
                <a:cubicBezTo>
                  <a:pt x="1030" y="417"/>
                  <a:pt x="1030" y="417"/>
                  <a:pt x="1030" y="417"/>
                </a:cubicBezTo>
                <a:cubicBezTo>
                  <a:pt x="1030" y="417"/>
                  <a:pt x="1030" y="416"/>
                  <a:pt x="1031" y="415"/>
                </a:cubicBezTo>
                <a:cubicBezTo>
                  <a:pt x="1032" y="415"/>
                  <a:pt x="1033" y="415"/>
                  <a:pt x="1034" y="414"/>
                </a:cubicBezTo>
                <a:cubicBezTo>
                  <a:pt x="1035" y="414"/>
                  <a:pt x="1035" y="412"/>
                  <a:pt x="1036" y="411"/>
                </a:cubicBezTo>
                <a:cubicBezTo>
                  <a:pt x="1036" y="411"/>
                  <a:pt x="1038" y="412"/>
                  <a:pt x="1038" y="411"/>
                </a:cubicBezTo>
                <a:cubicBezTo>
                  <a:pt x="1039" y="411"/>
                  <a:pt x="1038" y="409"/>
                  <a:pt x="1039" y="408"/>
                </a:cubicBezTo>
                <a:cubicBezTo>
                  <a:pt x="1041" y="408"/>
                  <a:pt x="1042" y="407"/>
                  <a:pt x="1044" y="407"/>
                </a:cubicBezTo>
                <a:cubicBezTo>
                  <a:pt x="1045" y="401"/>
                  <a:pt x="1047" y="397"/>
                  <a:pt x="1050" y="393"/>
                </a:cubicBezTo>
                <a:cubicBezTo>
                  <a:pt x="1051" y="392"/>
                  <a:pt x="1054" y="391"/>
                  <a:pt x="1054" y="389"/>
                </a:cubicBezTo>
                <a:cubicBezTo>
                  <a:pt x="1054" y="388"/>
                  <a:pt x="1053" y="388"/>
                  <a:pt x="1053" y="386"/>
                </a:cubicBezTo>
                <a:cubicBezTo>
                  <a:pt x="1055" y="386"/>
                  <a:pt x="1055" y="387"/>
                  <a:pt x="1057" y="387"/>
                </a:cubicBezTo>
                <a:cubicBezTo>
                  <a:pt x="1058" y="387"/>
                  <a:pt x="1059" y="384"/>
                  <a:pt x="1060" y="383"/>
                </a:cubicBezTo>
                <a:cubicBezTo>
                  <a:pt x="1062" y="382"/>
                  <a:pt x="1063" y="382"/>
                  <a:pt x="1065" y="382"/>
                </a:cubicBezTo>
                <a:cubicBezTo>
                  <a:pt x="1065" y="381"/>
                  <a:pt x="1065" y="378"/>
                  <a:pt x="1065" y="378"/>
                </a:cubicBezTo>
                <a:cubicBezTo>
                  <a:pt x="1066" y="378"/>
                  <a:pt x="1067" y="379"/>
                  <a:pt x="1069" y="380"/>
                </a:cubicBezTo>
                <a:cubicBezTo>
                  <a:pt x="1069" y="378"/>
                  <a:pt x="1069" y="378"/>
                  <a:pt x="1069" y="378"/>
                </a:cubicBezTo>
                <a:cubicBezTo>
                  <a:pt x="1071" y="379"/>
                  <a:pt x="1069" y="380"/>
                  <a:pt x="1069" y="382"/>
                </a:cubicBezTo>
                <a:cubicBezTo>
                  <a:pt x="1078" y="380"/>
                  <a:pt x="1086" y="380"/>
                  <a:pt x="1092" y="382"/>
                </a:cubicBezTo>
                <a:cubicBezTo>
                  <a:pt x="1092" y="382"/>
                  <a:pt x="1091" y="385"/>
                  <a:pt x="1092" y="386"/>
                </a:cubicBezTo>
                <a:cubicBezTo>
                  <a:pt x="1092" y="387"/>
                  <a:pt x="1092" y="387"/>
                  <a:pt x="1092" y="387"/>
                </a:cubicBezTo>
                <a:cubicBezTo>
                  <a:pt x="1094" y="387"/>
                  <a:pt x="1095" y="387"/>
                  <a:pt x="1096" y="386"/>
                </a:cubicBezTo>
                <a:cubicBezTo>
                  <a:pt x="1098" y="382"/>
                  <a:pt x="1098" y="382"/>
                  <a:pt x="1098" y="382"/>
                </a:cubicBezTo>
                <a:cubicBezTo>
                  <a:pt x="1099" y="382"/>
                  <a:pt x="1099" y="381"/>
                  <a:pt x="1100" y="382"/>
                </a:cubicBezTo>
                <a:cubicBezTo>
                  <a:pt x="1100" y="384"/>
                  <a:pt x="1100" y="384"/>
                  <a:pt x="1100" y="384"/>
                </a:cubicBezTo>
                <a:cubicBezTo>
                  <a:pt x="1101" y="385"/>
                  <a:pt x="1106" y="386"/>
                  <a:pt x="1108" y="386"/>
                </a:cubicBezTo>
                <a:cubicBezTo>
                  <a:pt x="1110" y="386"/>
                  <a:pt x="1112" y="384"/>
                  <a:pt x="1114" y="385"/>
                </a:cubicBezTo>
                <a:cubicBezTo>
                  <a:pt x="1115" y="385"/>
                  <a:pt x="1114" y="387"/>
                  <a:pt x="1117" y="388"/>
                </a:cubicBezTo>
                <a:cubicBezTo>
                  <a:pt x="1119" y="388"/>
                  <a:pt x="1119" y="384"/>
                  <a:pt x="1118" y="385"/>
                </a:cubicBezTo>
                <a:cubicBezTo>
                  <a:pt x="1118" y="383"/>
                  <a:pt x="1117" y="384"/>
                  <a:pt x="1119" y="383"/>
                </a:cubicBezTo>
                <a:cubicBezTo>
                  <a:pt x="1119" y="382"/>
                  <a:pt x="1118" y="380"/>
                  <a:pt x="1118" y="380"/>
                </a:cubicBezTo>
                <a:cubicBezTo>
                  <a:pt x="1122" y="377"/>
                  <a:pt x="1124" y="380"/>
                  <a:pt x="1127" y="380"/>
                </a:cubicBezTo>
                <a:cubicBezTo>
                  <a:pt x="1130" y="381"/>
                  <a:pt x="1131" y="380"/>
                  <a:pt x="1134" y="380"/>
                </a:cubicBezTo>
                <a:cubicBezTo>
                  <a:pt x="1134" y="380"/>
                  <a:pt x="1133" y="381"/>
                  <a:pt x="1134" y="381"/>
                </a:cubicBezTo>
                <a:cubicBezTo>
                  <a:pt x="1133" y="381"/>
                  <a:pt x="1136" y="382"/>
                  <a:pt x="1136" y="382"/>
                </a:cubicBezTo>
                <a:cubicBezTo>
                  <a:pt x="1137" y="381"/>
                  <a:pt x="1137" y="380"/>
                  <a:pt x="1138" y="380"/>
                </a:cubicBezTo>
                <a:cubicBezTo>
                  <a:pt x="1139" y="379"/>
                  <a:pt x="1140" y="379"/>
                  <a:pt x="1142" y="378"/>
                </a:cubicBezTo>
                <a:cubicBezTo>
                  <a:pt x="1142" y="379"/>
                  <a:pt x="1142" y="380"/>
                  <a:pt x="1142" y="381"/>
                </a:cubicBezTo>
                <a:cubicBezTo>
                  <a:pt x="1143" y="382"/>
                  <a:pt x="1146" y="384"/>
                  <a:pt x="1147" y="385"/>
                </a:cubicBezTo>
                <a:cubicBezTo>
                  <a:pt x="1146" y="387"/>
                  <a:pt x="1146" y="387"/>
                  <a:pt x="1146" y="387"/>
                </a:cubicBezTo>
                <a:cubicBezTo>
                  <a:pt x="1143" y="387"/>
                  <a:pt x="1141" y="387"/>
                  <a:pt x="1138" y="387"/>
                </a:cubicBezTo>
                <a:cubicBezTo>
                  <a:pt x="1140" y="395"/>
                  <a:pt x="1138" y="393"/>
                  <a:pt x="1148" y="393"/>
                </a:cubicBezTo>
                <a:cubicBezTo>
                  <a:pt x="1148" y="390"/>
                  <a:pt x="1148" y="390"/>
                  <a:pt x="1148" y="390"/>
                </a:cubicBezTo>
                <a:cubicBezTo>
                  <a:pt x="1151" y="391"/>
                  <a:pt x="1152" y="391"/>
                  <a:pt x="1154" y="392"/>
                </a:cubicBezTo>
                <a:cubicBezTo>
                  <a:pt x="1155" y="392"/>
                  <a:pt x="1155" y="390"/>
                  <a:pt x="1155" y="389"/>
                </a:cubicBezTo>
                <a:cubicBezTo>
                  <a:pt x="1156" y="389"/>
                  <a:pt x="1157" y="389"/>
                  <a:pt x="1158" y="389"/>
                </a:cubicBezTo>
                <a:cubicBezTo>
                  <a:pt x="1158" y="388"/>
                  <a:pt x="1158" y="387"/>
                  <a:pt x="1159" y="387"/>
                </a:cubicBezTo>
                <a:cubicBezTo>
                  <a:pt x="1159" y="387"/>
                  <a:pt x="1160" y="387"/>
                  <a:pt x="1161" y="387"/>
                </a:cubicBezTo>
                <a:cubicBezTo>
                  <a:pt x="1162" y="387"/>
                  <a:pt x="1161" y="388"/>
                  <a:pt x="1162" y="389"/>
                </a:cubicBezTo>
                <a:cubicBezTo>
                  <a:pt x="1166" y="388"/>
                  <a:pt x="1166" y="388"/>
                  <a:pt x="1171" y="387"/>
                </a:cubicBezTo>
                <a:cubicBezTo>
                  <a:pt x="1170" y="385"/>
                  <a:pt x="1170" y="384"/>
                  <a:pt x="1170" y="383"/>
                </a:cubicBezTo>
                <a:cubicBezTo>
                  <a:pt x="1169" y="383"/>
                  <a:pt x="1169" y="383"/>
                  <a:pt x="1169" y="383"/>
                </a:cubicBezTo>
                <a:cubicBezTo>
                  <a:pt x="1169" y="383"/>
                  <a:pt x="1167" y="382"/>
                  <a:pt x="1166" y="382"/>
                </a:cubicBezTo>
                <a:cubicBezTo>
                  <a:pt x="1166" y="382"/>
                  <a:pt x="1164" y="384"/>
                  <a:pt x="1164" y="384"/>
                </a:cubicBezTo>
                <a:cubicBezTo>
                  <a:pt x="1162" y="384"/>
                  <a:pt x="1162" y="383"/>
                  <a:pt x="1161" y="383"/>
                </a:cubicBezTo>
                <a:cubicBezTo>
                  <a:pt x="1161" y="382"/>
                  <a:pt x="1163" y="376"/>
                  <a:pt x="1162" y="376"/>
                </a:cubicBezTo>
                <a:cubicBezTo>
                  <a:pt x="1163" y="375"/>
                  <a:pt x="1163" y="376"/>
                  <a:pt x="1164" y="376"/>
                </a:cubicBezTo>
                <a:cubicBezTo>
                  <a:pt x="1164" y="374"/>
                  <a:pt x="1165" y="370"/>
                  <a:pt x="1168" y="369"/>
                </a:cubicBezTo>
                <a:cubicBezTo>
                  <a:pt x="1169" y="368"/>
                  <a:pt x="1170" y="369"/>
                  <a:pt x="1171" y="368"/>
                </a:cubicBezTo>
                <a:cubicBezTo>
                  <a:pt x="1171" y="368"/>
                  <a:pt x="1172" y="366"/>
                  <a:pt x="1173" y="366"/>
                </a:cubicBezTo>
                <a:cubicBezTo>
                  <a:pt x="1173" y="365"/>
                  <a:pt x="1175" y="366"/>
                  <a:pt x="1177" y="366"/>
                </a:cubicBezTo>
                <a:cubicBezTo>
                  <a:pt x="1177" y="365"/>
                  <a:pt x="1177" y="363"/>
                  <a:pt x="1178" y="363"/>
                </a:cubicBezTo>
                <a:cubicBezTo>
                  <a:pt x="1180" y="362"/>
                  <a:pt x="1180" y="362"/>
                  <a:pt x="1180" y="362"/>
                </a:cubicBezTo>
                <a:cubicBezTo>
                  <a:pt x="1180" y="360"/>
                  <a:pt x="1178" y="360"/>
                  <a:pt x="1179" y="358"/>
                </a:cubicBezTo>
                <a:cubicBezTo>
                  <a:pt x="1180" y="358"/>
                  <a:pt x="1180" y="358"/>
                  <a:pt x="1180" y="358"/>
                </a:cubicBezTo>
                <a:cubicBezTo>
                  <a:pt x="1184" y="357"/>
                  <a:pt x="1183" y="354"/>
                  <a:pt x="1184" y="353"/>
                </a:cubicBezTo>
                <a:cubicBezTo>
                  <a:pt x="1185" y="352"/>
                  <a:pt x="1185" y="354"/>
                  <a:pt x="1186" y="354"/>
                </a:cubicBezTo>
                <a:cubicBezTo>
                  <a:pt x="1187" y="353"/>
                  <a:pt x="1188" y="351"/>
                  <a:pt x="1189" y="351"/>
                </a:cubicBezTo>
                <a:cubicBezTo>
                  <a:pt x="1192" y="350"/>
                  <a:pt x="1194" y="351"/>
                  <a:pt x="1197" y="350"/>
                </a:cubicBezTo>
                <a:cubicBezTo>
                  <a:pt x="1199" y="350"/>
                  <a:pt x="1203" y="348"/>
                  <a:pt x="1205" y="348"/>
                </a:cubicBezTo>
                <a:cubicBezTo>
                  <a:pt x="1206" y="349"/>
                  <a:pt x="1207" y="353"/>
                  <a:pt x="1209" y="353"/>
                </a:cubicBezTo>
                <a:cubicBezTo>
                  <a:pt x="1209" y="353"/>
                  <a:pt x="1211" y="353"/>
                  <a:pt x="1211" y="352"/>
                </a:cubicBezTo>
                <a:cubicBezTo>
                  <a:pt x="1213" y="351"/>
                  <a:pt x="1214" y="350"/>
                  <a:pt x="1215" y="349"/>
                </a:cubicBezTo>
                <a:cubicBezTo>
                  <a:pt x="1215" y="349"/>
                  <a:pt x="1216" y="354"/>
                  <a:pt x="1215" y="355"/>
                </a:cubicBezTo>
                <a:cubicBezTo>
                  <a:pt x="1215" y="356"/>
                  <a:pt x="1214" y="355"/>
                  <a:pt x="1213" y="356"/>
                </a:cubicBezTo>
                <a:cubicBezTo>
                  <a:pt x="1212" y="357"/>
                  <a:pt x="1212" y="360"/>
                  <a:pt x="1211" y="363"/>
                </a:cubicBezTo>
                <a:cubicBezTo>
                  <a:pt x="1213" y="362"/>
                  <a:pt x="1214" y="363"/>
                  <a:pt x="1215" y="362"/>
                </a:cubicBezTo>
                <a:cubicBezTo>
                  <a:pt x="1215" y="362"/>
                  <a:pt x="1217" y="357"/>
                  <a:pt x="1217" y="361"/>
                </a:cubicBezTo>
                <a:cubicBezTo>
                  <a:pt x="1216" y="362"/>
                  <a:pt x="1216" y="362"/>
                  <a:pt x="1216" y="362"/>
                </a:cubicBezTo>
                <a:cubicBezTo>
                  <a:pt x="1216" y="362"/>
                  <a:pt x="1216" y="363"/>
                  <a:pt x="1216" y="364"/>
                </a:cubicBezTo>
                <a:cubicBezTo>
                  <a:pt x="1215" y="364"/>
                  <a:pt x="1214" y="364"/>
                  <a:pt x="1214" y="364"/>
                </a:cubicBezTo>
                <a:cubicBezTo>
                  <a:pt x="1214" y="365"/>
                  <a:pt x="1214" y="366"/>
                  <a:pt x="1214" y="366"/>
                </a:cubicBezTo>
                <a:cubicBezTo>
                  <a:pt x="1216" y="368"/>
                  <a:pt x="1216" y="368"/>
                  <a:pt x="1216" y="368"/>
                </a:cubicBezTo>
                <a:cubicBezTo>
                  <a:pt x="1218" y="366"/>
                  <a:pt x="1219" y="364"/>
                  <a:pt x="1220" y="363"/>
                </a:cubicBezTo>
                <a:cubicBezTo>
                  <a:pt x="1221" y="362"/>
                  <a:pt x="1222" y="362"/>
                  <a:pt x="1223" y="361"/>
                </a:cubicBezTo>
                <a:cubicBezTo>
                  <a:pt x="1224" y="361"/>
                  <a:pt x="1223" y="359"/>
                  <a:pt x="1223" y="359"/>
                </a:cubicBezTo>
                <a:cubicBezTo>
                  <a:pt x="1224" y="358"/>
                  <a:pt x="1225" y="359"/>
                  <a:pt x="1225" y="358"/>
                </a:cubicBezTo>
                <a:cubicBezTo>
                  <a:pt x="1226" y="358"/>
                  <a:pt x="1226" y="356"/>
                  <a:pt x="1227" y="356"/>
                </a:cubicBezTo>
                <a:cubicBezTo>
                  <a:pt x="1228" y="354"/>
                  <a:pt x="1232" y="350"/>
                  <a:pt x="1235" y="350"/>
                </a:cubicBezTo>
                <a:cubicBezTo>
                  <a:pt x="1240" y="350"/>
                  <a:pt x="1235" y="355"/>
                  <a:pt x="1243" y="352"/>
                </a:cubicBezTo>
                <a:cubicBezTo>
                  <a:pt x="1242" y="351"/>
                  <a:pt x="1243" y="348"/>
                  <a:pt x="1241" y="350"/>
                </a:cubicBezTo>
                <a:cubicBezTo>
                  <a:pt x="1241" y="348"/>
                  <a:pt x="1240" y="345"/>
                  <a:pt x="1240" y="343"/>
                </a:cubicBezTo>
                <a:cubicBezTo>
                  <a:pt x="1241" y="343"/>
                  <a:pt x="1242" y="343"/>
                  <a:pt x="1243" y="342"/>
                </a:cubicBezTo>
                <a:cubicBezTo>
                  <a:pt x="1243" y="341"/>
                  <a:pt x="1242" y="340"/>
                  <a:pt x="1243" y="339"/>
                </a:cubicBezTo>
                <a:cubicBezTo>
                  <a:pt x="1243" y="339"/>
                  <a:pt x="1245" y="338"/>
                  <a:pt x="1246" y="338"/>
                </a:cubicBezTo>
                <a:cubicBezTo>
                  <a:pt x="1247" y="338"/>
                  <a:pt x="1249" y="336"/>
                  <a:pt x="1250" y="336"/>
                </a:cubicBezTo>
                <a:cubicBezTo>
                  <a:pt x="1253" y="336"/>
                  <a:pt x="1255" y="340"/>
                  <a:pt x="1259" y="341"/>
                </a:cubicBezTo>
                <a:cubicBezTo>
                  <a:pt x="1259" y="341"/>
                  <a:pt x="1257" y="342"/>
                  <a:pt x="1256" y="342"/>
                </a:cubicBezTo>
                <a:cubicBezTo>
                  <a:pt x="1251" y="341"/>
                  <a:pt x="1253" y="339"/>
                  <a:pt x="1249" y="343"/>
                </a:cubicBezTo>
                <a:cubicBezTo>
                  <a:pt x="1249" y="343"/>
                  <a:pt x="1247" y="344"/>
                  <a:pt x="1247" y="344"/>
                </a:cubicBezTo>
                <a:cubicBezTo>
                  <a:pt x="1247" y="347"/>
                  <a:pt x="1249" y="349"/>
                  <a:pt x="1249" y="352"/>
                </a:cubicBezTo>
                <a:cubicBezTo>
                  <a:pt x="1249" y="352"/>
                  <a:pt x="1247" y="353"/>
                  <a:pt x="1247" y="354"/>
                </a:cubicBezTo>
                <a:cubicBezTo>
                  <a:pt x="1245" y="357"/>
                  <a:pt x="1246" y="358"/>
                  <a:pt x="1247" y="361"/>
                </a:cubicBezTo>
                <a:cubicBezTo>
                  <a:pt x="1245" y="362"/>
                  <a:pt x="1245" y="362"/>
                  <a:pt x="1245" y="362"/>
                </a:cubicBezTo>
                <a:cubicBezTo>
                  <a:pt x="1244" y="362"/>
                  <a:pt x="1245" y="364"/>
                  <a:pt x="1245" y="364"/>
                </a:cubicBezTo>
                <a:cubicBezTo>
                  <a:pt x="1241" y="365"/>
                  <a:pt x="1238" y="364"/>
                  <a:pt x="1235" y="364"/>
                </a:cubicBezTo>
                <a:cubicBezTo>
                  <a:pt x="1235" y="364"/>
                  <a:pt x="1234" y="366"/>
                  <a:pt x="1233" y="366"/>
                </a:cubicBezTo>
                <a:cubicBezTo>
                  <a:pt x="1232" y="367"/>
                  <a:pt x="1230" y="366"/>
                  <a:pt x="1229" y="366"/>
                </a:cubicBezTo>
                <a:cubicBezTo>
                  <a:pt x="1228" y="366"/>
                  <a:pt x="1228" y="367"/>
                  <a:pt x="1227" y="368"/>
                </a:cubicBezTo>
                <a:cubicBezTo>
                  <a:pt x="1227" y="374"/>
                  <a:pt x="1227" y="374"/>
                  <a:pt x="1227" y="374"/>
                </a:cubicBezTo>
                <a:cubicBezTo>
                  <a:pt x="1227" y="374"/>
                  <a:pt x="1224" y="374"/>
                  <a:pt x="1224" y="375"/>
                </a:cubicBezTo>
                <a:cubicBezTo>
                  <a:pt x="1224" y="375"/>
                  <a:pt x="1224" y="377"/>
                  <a:pt x="1224" y="378"/>
                </a:cubicBezTo>
                <a:cubicBezTo>
                  <a:pt x="1221" y="382"/>
                  <a:pt x="1221" y="382"/>
                  <a:pt x="1221" y="382"/>
                </a:cubicBezTo>
                <a:cubicBezTo>
                  <a:pt x="1220" y="382"/>
                  <a:pt x="1219" y="382"/>
                  <a:pt x="1217" y="383"/>
                </a:cubicBezTo>
                <a:cubicBezTo>
                  <a:pt x="1216" y="384"/>
                  <a:pt x="1217" y="385"/>
                  <a:pt x="1216" y="387"/>
                </a:cubicBezTo>
                <a:cubicBezTo>
                  <a:pt x="1216" y="388"/>
                  <a:pt x="1213" y="388"/>
                  <a:pt x="1212" y="389"/>
                </a:cubicBezTo>
                <a:cubicBezTo>
                  <a:pt x="1212" y="389"/>
                  <a:pt x="1210" y="392"/>
                  <a:pt x="1209" y="392"/>
                </a:cubicBezTo>
                <a:cubicBezTo>
                  <a:pt x="1209" y="393"/>
                  <a:pt x="1210" y="394"/>
                  <a:pt x="1209" y="394"/>
                </a:cubicBezTo>
                <a:cubicBezTo>
                  <a:pt x="1208" y="396"/>
                  <a:pt x="1203" y="399"/>
                  <a:pt x="1201" y="401"/>
                </a:cubicBezTo>
                <a:cubicBezTo>
                  <a:pt x="1201" y="402"/>
                  <a:pt x="1200" y="404"/>
                  <a:pt x="1199" y="405"/>
                </a:cubicBezTo>
                <a:cubicBezTo>
                  <a:pt x="1197" y="406"/>
                  <a:pt x="1196" y="404"/>
                  <a:pt x="1195" y="404"/>
                </a:cubicBezTo>
                <a:cubicBezTo>
                  <a:pt x="1193" y="404"/>
                  <a:pt x="1193" y="408"/>
                  <a:pt x="1191" y="408"/>
                </a:cubicBezTo>
                <a:cubicBezTo>
                  <a:pt x="1190" y="408"/>
                  <a:pt x="1185" y="408"/>
                  <a:pt x="1184" y="408"/>
                </a:cubicBezTo>
                <a:cubicBezTo>
                  <a:pt x="1184" y="409"/>
                  <a:pt x="1184" y="409"/>
                  <a:pt x="1184" y="409"/>
                </a:cubicBezTo>
                <a:cubicBezTo>
                  <a:pt x="1184" y="410"/>
                  <a:pt x="1186" y="411"/>
                  <a:pt x="1187" y="411"/>
                </a:cubicBezTo>
                <a:cubicBezTo>
                  <a:pt x="1186" y="415"/>
                  <a:pt x="1185" y="418"/>
                  <a:pt x="1185" y="422"/>
                </a:cubicBezTo>
                <a:cubicBezTo>
                  <a:pt x="1180" y="422"/>
                  <a:pt x="1182" y="423"/>
                  <a:pt x="1179" y="425"/>
                </a:cubicBezTo>
                <a:cubicBezTo>
                  <a:pt x="1178" y="425"/>
                  <a:pt x="1177" y="425"/>
                  <a:pt x="1177" y="425"/>
                </a:cubicBezTo>
                <a:cubicBezTo>
                  <a:pt x="1176" y="428"/>
                  <a:pt x="1177" y="430"/>
                  <a:pt x="1176" y="433"/>
                </a:cubicBezTo>
                <a:cubicBezTo>
                  <a:pt x="1176" y="434"/>
                  <a:pt x="1174" y="437"/>
                  <a:pt x="1174" y="438"/>
                </a:cubicBezTo>
                <a:cubicBezTo>
                  <a:pt x="1173" y="443"/>
                  <a:pt x="1173" y="448"/>
                  <a:pt x="1174" y="452"/>
                </a:cubicBezTo>
                <a:cubicBezTo>
                  <a:pt x="1175" y="455"/>
                  <a:pt x="1177" y="458"/>
                  <a:pt x="1178" y="461"/>
                </a:cubicBezTo>
                <a:cubicBezTo>
                  <a:pt x="1178" y="466"/>
                  <a:pt x="1177" y="471"/>
                  <a:pt x="1178" y="477"/>
                </a:cubicBezTo>
                <a:cubicBezTo>
                  <a:pt x="1178" y="477"/>
                  <a:pt x="1179" y="484"/>
                  <a:pt x="1179" y="485"/>
                </a:cubicBezTo>
                <a:cubicBezTo>
                  <a:pt x="1179" y="486"/>
                  <a:pt x="1181" y="487"/>
                  <a:pt x="1181" y="489"/>
                </a:cubicBezTo>
                <a:cubicBezTo>
                  <a:pt x="1183" y="492"/>
                  <a:pt x="1181" y="495"/>
                  <a:pt x="1181" y="499"/>
                </a:cubicBezTo>
                <a:cubicBezTo>
                  <a:pt x="1181" y="499"/>
                  <a:pt x="1183" y="500"/>
                  <a:pt x="1183" y="501"/>
                </a:cubicBezTo>
                <a:cubicBezTo>
                  <a:pt x="1184" y="502"/>
                  <a:pt x="1183" y="503"/>
                  <a:pt x="1183" y="504"/>
                </a:cubicBezTo>
                <a:cubicBezTo>
                  <a:pt x="1184" y="504"/>
                  <a:pt x="1185" y="504"/>
                  <a:pt x="1185" y="504"/>
                </a:cubicBezTo>
                <a:cubicBezTo>
                  <a:pt x="1186" y="504"/>
                  <a:pt x="1197" y="493"/>
                  <a:pt x="1197" y="493"/>
                </a:cubicBezTo>
                <a:cubicBezTo>
                  <a:pt x="1199" y="489"/>
                  <a:pt x="1196" y="485"/>
                  <a:pt x="1198" y="481"/>
                </a:cubicBezTo>
                <a:cubicBezTo>
                  <a:pt x="1198" y="481"/>
                  <a:pt x="1200" y="481"/>
                  <a:pt x="1200" y="481"/>
                </a:cubicBezTo>
                <a:cubicBezTo>
                  <a:pt x="1201" y="481"/>
                  <a:pt x="1202" y="479"/>
                  <a:pt x="1203" y="479"/>
                </a:cubicBezTo>
                <a:cubicBezTo>
                  <a:pt x="1205" y="478"/>
                  <a:pt x="1207" y="479"/>
                  <a:pt x="1209" y="479"/>
                </a:cubicBezTo>
                <a:cubicBezTo>
                  <a:pt x="1209" y="477"/>
                  <a:pt x="1209" y="477"/>
                  <a:pt x="1209" y="477"/>
                </a:cubicBezTo>
                <a:cubicBezTo>
                  <a:pt x="1208" y="476"/>
                  <a:pt x="1207" y="471"/>
                  <a:pt x="1208" y="468"/>
                </a:cubicBezTo>
                <a:cubicBezTo>
                  <a:pt x="1208" y="468"/>
                  <a:pt x="1213" y="461"/>
                  <a:pt x="1213" y="461"/>
                </a:cubicBezTo>
                <a:cubicBezTo>
                  <a:pt x="1217" y="457"/>
                  <a:pt x="1220" y="457"/>
                  <a:pt x="1225" y="459"/>
                </a:cubicBezTo>
                <a:cubicBezTo>
                  <a:pt x="1226" y="458"/>
                  <a:pt x="1227" y="455"/>
                  <a:pt x="1228" y="455"/>
                </a:cubicBezTo>
                <a:cubicBezTo>
                  <a:pt x="1229" y="455"/>
                  <a:pt x="1229" y="455"/>
                  <a:pt x="1229" y="455"/>
                </a:cubicBezTo>
                <a:cubicBezTo>
                  <a:pt x="1229" y="454"/>
                  <a:pt x="1230" y="453"/>
                  <a:pt x="1229" y="452"/>
                </a:cubicBezTo>
                <a:cubicBezTo>
                  <a:pt x="1229" y="451"/>
                  <a:pt x="1225" y="448"/>
                  <a:pt x="1224" y="447"/>
                </a:cubicBezTo>
                <a:cubicBezTo>
                  <a:pt x="1225" y="444"/>
                  <a:pt x="1226" y="439"/>
                  <a:pt x="1226" y="436"/>
                </a:cubicBezTo>
                <a:cubicBezTo>
                  <a:pt x="1228" y="435"/>
                  <a:pt x="1229" y="435"/>
                  <a:pt x="1231" y="435"/>
                </a:cubicBezTo>
                <a:cubicBezTo>
                  <a:pt x="1231" y="435"/>
                  <a:pt x="1232" y="433"/>
                  <a:pt x="1233" y="433"/>
                </a:cubicBezTo>
                <a:cubicBezTo>
                  <a:pt x="1234" y="433"/>
                  <a:pt x="1236" y="434"/>
                  <a:pt x="1237" y="435"/>
                </a:cubicBezTo>
                <a:cubicBezTo>
                  <a:pt x="1238" y="434"/>
                  <a:pt x="1238" y="433"/>
                  <a:pt x="1239" y="433"/>
                </a:cubicBezTo>
                <a:cubicBezTo>
                  <a:pt x="1239" y="431"/>
                  <a:pt x="1239" y="430"/>
                  <a:pt x="1239" y="428"/>
                </a:cubicBezTo>
                <a:cubicBezTo>
                  <a:pt x="1237" y="428"/>
                  <a:pt x="1236" y="428"/>
                  <a:pt x="1234" y="429"/>
                </a:cubicBezTo>
                <a:cubicBezTo>
                  <a:pt x="1234" y="428"/>
                  <a:pt x="1234" y="427"/>
                  <a:pt x="1234" y="426"/>
                </a:cubicBezTo>
                <a:cubicBezTo>
                  <a:pt x="1234" y="425"/>
                  <a:pt x="1231" y="424"/>
                  <a:pt x="1231" y="423"/>
                </a:cubicBezTo>
                <a:cubicBezTo>
                  <a:pt x="1231" y="421"/>
                  <a:pt x="1232" y="420"/>
                  <a:pt x="1233" y="419"/>
                </a:cubicBezTo>
                <a:cubicBezTo>
                  <a:pt x="1233" y="418"/>
                  <a:pt x="1233" y="416"/>
                  <a:pt x="1233" y="415"/>
                </a:cubicBezTo>
                <a:cubicBezTo>
                  <a:pt x="1234" y="414"/>
                  <a:pt x="1235" y="414"/>
                  <a:pt x="1236" y="413"/>
                </a:cubicBezTo>
                <a:cubicBezTo>
                  <a:pt x="1237" y="413"/>
                  <a:pt x="1238" y="409"/>
                  <a:pt x="1238" y="409"/>
                </a:cubicBezTo>
                <a:cubicBezTo>
                  <a:pt x="1238" y="409"/>
                  <a:pt x="1238" y="407"/>
                  <a:pt x="1238" y="407"/>
                </a:cubicBezTo>
                <a:cubicBezTo>
                  <a:pt x="1236" y="406"/>
                  <a:pt x="1235" y="406"/>
                  <a:pt x="1232" y="405"/>
                </a:cubicBezTo>
                <a:cubicBezTo>
                  <a:pt x="1232" y="406"/>
                  <a:pt x="1232" y="406"/>
                  <a:pt x="1232" y="406"/>
                </a:cubicBezTo>
                <a:cubicBezTo>
                  <a:pt x="1231" y="406"/>
                  <a:pt x="1230" y="405"/>
                  <a:pt x="1230" y="405"/>
                </a:cubicBezTo>
                <a:cubicBezTo>
                  <a:pt x="1228" y="398"/>
                  <a:pt x="1229" y="395"/>
                  <a:pt x="1234" y="391"/>
                </a:cubicBezTo>
                <a:cubicBezTo>
                  <a:pt x="1234" y="391"/>
                  <a:pt x="1236" y="390"/>
                  <a:pt x="1236" y="389"/>
                </a:cubicBezTo>
                <a:cubicBezTo>
                  <a:pt x="1236" y="389"/>
                  <a:pt x="1236" y="388"/>
                  <a:pt x="1236" y="388"/>
                </a:cubicBezTo>
                <a:cubicBezTo>
                  <a:pt x="1237" y="387"/>
                  <a:pt x="1238" y="388"/>
                  <a:pt x="1239" y="387"/>
                </a:cubicBezTo>
                <a:cubicBezTo>
                  <a:pt x="1239" y="386"/>
                  <a:pt x="1238" y="384"/>
                  <a:pt x="1239" y="384"/>
                </a:cubicBezTo>
                <a:cubicBezTo>
                  <a:pt x="1239" y="384"/>
                  <a:pt x="1241" y="384"/>
                  <a:pt x="1241" y="384"/>
                </a:cubicBezTo>
                <a:cubicBezTo>
                  <a:pt x="1241" y="382"/>
                  <a:pt x="1239" y="382"/>
                  <a:pt x="1240" y="380"/>
                </a:cubicBezTo>
                <a:cubicBezTo>
                  <a:pt x="1241" y="380"/>
                  <a:pt x="1241" y="380"/>
                  <a:pt x="1241" y="380"/>
                </a:cubicBezTo>
                <a:cubicBezTo>
                  <a:pt x="1243" y="379"/>
                  <a:pt x="1243" y="376"/>
                  <a:pt x="1244" y="374"/>
                </a:cubicBezTo>
                <a:cubicBezTo>
                  <a:pt x="1244" y="374"/>
                  <a:pt x="1246" y="374"/>
                  <a:pt x="1246" y="374"/>
                </a:cubicBezTo>
                <a:cubicBezTo>
                  <a:pt x="1246" y="374"/>
                  <a:pt x="1247" y="376"/>
                  <a:pt x="1247" y="376"/>
                </a:cubicBezTo>
                <a:cubicBezTo>
                  <a:pt x="1249" y="377"/>
                  <a:pt x="1249" y="375"/>
                  <a:pt x="1251" y="376"/>
                </a:cubicBezTo>
                <a:cubicBezTo>
                  <a:pt x="1252" y="376"/>
                  <a:pt x="1252" y="377"/>
                  <a:pt x="1253" y="378"/>
                </a:cubicBezTo>
                <a:cubicBezTo>
                  <a:pt x="1253" y="378"/>
                  <a:pt x="1254" y="377"/>
                  <a:pt x="1255" y="378"/>
                </a:cubicBezTo>
                <a:cubicBezTo>
                  <a:pt x="1255" y="377"/>
                  <a:pt x="1255" y="375"/>
                  <a:pt x="1255" y="374"/>
                </a:cubicBezTo>
                <a:cubicBezTo>
                  <a:pt x="1255" y="374"/>
                  <a:pt x="1262" y="371"/>
                  <a:pt x="1263" y="370"/>
                </a:cubicBezTo>
                <a:cubicBezTo>
                  <a:pt x="1263" y="370"/>
                  <a:pt x="1265" y="367"/>
                  <a:pt x="1265" y="367"/>
                </a:cubicBezTo>
                <a:cubicBezTo>
                  <a:pt x="1268" y="365"/>
                  <a:pt x="1264" y="372"/>
                  <a:pt x="1264" y="374"/>
                </a:cubicBezTo>
                <a:cubicBezTo>
                  <a:pt x="1264" y="378"/>
                  <a:pt x="1265" y="380"/>
                  <a:pt x="1269" y="378"/>
                </a:cubicBezTo>
                <a:cubicBezTo>
                  <a:pt x="1274" y="371"/>
                  <a:pt x="1274" y="371"/>
                  <a:pt x="1274" y="371"/>
                </a:cubicBezTo>
                <a:cubicBezTo>
                  <a:pt x="1274" y="370"/>
                  <a:pt x="1274" y="369"/>
                  <a:pt x="1274" y="368"/>
                </a:cubicBezTo>
                <a:cubicBezTo>
                  <a:pt x="1275" y="367"/>
                  <a:pt x="1275" y="368"/>
                  <a:pt x="1276" y="368"/>
                </a:cubicBezTo>
                <a:cubicBezTo>
                  <a:pt x="1276" y="368"/>
                  <a:pt x="1276" y="367"/>
                  <a:pt x="1277" y="367"/>
                </a:cubicBezTo>
                <a:cubicBezTo>
                  <a:pt x="1277" y="367"/>
                  <a:pt x="1278" y="367"/>
                  <a:pt x="1279" y="367"/>
                </a:cubicBezTo>
                <a:cubicBezTo>
                  <a:pt x="1279" y="367"/>
                  <a:pt x="1280" y="364"/>
                  <a:pt x="1283" y="364"/>
                </a:cubicBezTo>
                <a:cubicBezTo>
                  <a:pt x="1285" y="364"/>
                  <a:pt x="1289" y="368"/>
                  <a:pt x="1290" y="369"/>
                </a:cubicBezTo>
                <a:cubicBezTo>
                  <a:pt x="1292" y="370"/>
                  <a:pt x="1293" y="368"/>
                  <a:pt x="1294" y="370"/>
                </a:cubicBezTo>
                <a:cubicBezTo>
                  <a:pt x="1294" y="370"/>
                  <a:pt x="1293" y="373"/>
                  <a:pt x="1294" y="374"/>
                </a:cubicBezTo>
                <a:cubicBezTo>
                  <a:pt x="1294" y="374"/>
                  <a:pt x="1300" y="377"/>
                  <a:pt x="1301" y="378"/>
                </a:cubicBezTo>
                <a:cubicBezTo>
                  <a:pt x="1302" y="376"/>
                  <a:pt x="1302" y="372"/>
                  <a:pt x="1303" y="370"/>
                </a:cubicBezTo>
                <a:cubicBezTo>
                  <a:pt x="1304" y="369"/>
                  <a:pt x="1306" y="368"/>
                  <a:pt x="1306" y="368"/>
                </a:cubicBezTo>
                <a:cubicBezTo>
                  <a:pt x="1306" y="366"/>
                  <a:pt x="1306" y="366"/>
                  <a:pt x="1306" y="366"/>
                </a:cubicBezTo>
                <a:cubicBezTo>
                  <a:pt x="1308" y="365"/>
                  <a:pt x="1310" y="366"/>
                  <a:pt x="1311" y="365"/>
                </a:cubicBezTo>
                <a:cubicBezTo>
                  <a:pt x="1312" y="364"/>
                  <a:pt x="1312" y="362"/>
                  <a:pt x="1312" y="362"/>
                </a:cubicBezTo>
                <a:cubicBezTo>
                  <a:pt x="1311" y="361"/>
                  <a:pt x="1311" y="361"/>
                  <a:pt x="1311" y="361"/>
                </a:cubicBezTo>
                <a:cubicBezTo>
                  <a:pt x="1313" y="360"/>
                  <a:pt x="1315" y="360"/>
                  <a:pt x="1315" y="360"/>
                </a:cubicBezTo>
                <a:cubicBezTo>
                  <a:pt x="1315" y="360"/>
                  <a:pt x="1317" y="361"/>
                  <a:pt x="1318" y="360"/>
                </a:cubicBezTo>
                <a:cubicBezTo>
                  <a:pt x="1319" y="360"/>
                  <a:pt x="1320" y="358"/>
                  <a:pt x="1320" y="357"/>
                </a:cubicBezTo>
                <a:cubicBezTo>
                  <a:pt x="1320" y="356"/>
                  <a:pt x="1319" y="356"/>
                  <a:pt x="1318" y="354"/>
                </a:cubicBezTo>
                <a:cubicBezTo>
                  <a:pt x="1324" y="357"/>
                  <a:pt x="1327" y="357"/>
                  <a:pt x="1325" y="350"/>
                </a:cubicBezTo>
                <a:cubicBezTo>
                  <a:pt x="1327" y="351"/>
                  <a:pt x="1328" y="351"/>
                  <a:pt x="1330" y="352"/>
                </a:cubicBezTo>
                <a:cubicBezTo>
                  <a:pt x="1331" y="351"/>
                  <a:pt x="1332" y="350"/>
                  <a:pt x="1333" y="349"/>
                </a:cubicBezTo>
                <a:close/>
                <a:moveTo>
                  <a:pt x="335" y="0"/>
                </a:moveTo>
                <a:cubicBezTo>
                  <a:pt x="335" y="2"/>
                  <a:pt x="335" y="2"/>
                  <a:pt x="335" y="2"/>
                </a:cubicBezTo>
                <a:cubicBezTo>
                  <a:pt x="337" y="2"/>
                  <a:pt x="341" y="2"/>
                  <a:pt x="341" y="2"/>
                </a:cubicBezTo>
                <a:cubicBezTo>
                  <a:pt x="343" y="3"/>
                  <a:pt x="341" y="0"/>
                  <a:pt x="341" y="0"/>
                </a:cubicBezTo>
                <a:cubicBezTo>
                  <a:pt x="340" y="0"/>
                  <a:pt x="337" y="0"/>
                  <a:pt x="335" y="0"/>
                </a:cubicBezTo>
                <a:close/>
                <a:moveTo>
                  <a:pt x="327" y="5"/>
                </a:moveTo>
                <a:cubicBezTo>
                  <a:pt x="327" y="5"/>
                  <a:pt x="327" y="8"/>
                  <a:pt x="327" y="9"/>
                </a:cubicBezTo>
                <a:cubicBezTo>
                  <a:pt x="328" y="9"/>
                  <a:pt x="327" y="9"/>
                  <a:pt x="328" y="10"/>
                </a:cubicBezTo>
                <a:cubicBezTo>
                  <a:pt x="329" y="10"/>
                  <a:pt x="335" y="9"/>
                  <a:pt x="331" y="7"/>
                </a:cubicBezTo>
                <a:cubicBezTo>
                  <a:pt x="330" y="7"/>
                  <a:pt x="328" y="6"/>
                  <a:pt x="327" y="5"/>
                </a:cubicBezTo>
                <a:close/>
                <a:moveTo>
                  <a:pt x="318" y="9"/>
                </a:moveTo>
                <a:cubicBezTo>
                  <a:pt x="318" y="9"/>
                  <a:pt x="317" y="12"/>
                  <a:pt x="317" y="13"/>
                </a:cubicBezTo>
                <a:cubicBezTo>
                  <a:pt x="305" y="13"/>
                  <a:pt x="314" y="16"/>
                  <a:pt x="319" y="15"/>
                </a:cubicBezTo>
                <a:cubicBezTo>
                  <a:pt x="320" y="14"/>
                  <a:pt x="323" y="12"/>
                  <a:pt x="324" y="12"/>
                </a:cubicBezTo>
                <a:cubicBezTo>
                  <a:pt x="324" y="11"/>
                  <a:pt x="324" y="11"/>
                  <a:pt x="324" y="11"/>
                </a:cubicBezTo>
                <a:cubicBezTo>
                  <a:pt x="323" y="11"/>
                  <a:pt x="321" y="11"/>
                  <a:pt x="320" y="11"/>
                </a:cubicBezTo>
                <a:cubicBezTo>
                  <a:pt x="319" y="10"/>
                  <a:pt x="320" y="9"/>
                  <a:pt x="318" y="9"/>
                </a:cubicBezTo>
                <a:close/>
                <a:moveTo>
                  <a:pt x="334" y="11"/>
                </a:moveTo>
                <a:cubicBezTo>
                  <a:pt x="334" y="11"/>
                  <a:pt x="332" y="13"/>
                  <a:pt x="334" y="13"/>
                </a:cubicBezTo>
                <a:cubicBezTo>
                  <a:pt x="336" y="13"/>
                  <a:pt x="338" y="10"/>
                  <a:pt x="334" y="11"/>
                </a:cubicBezTo>
                <a:close/>
                <a:moveTo>
                  <a:pt x="325" y="14"/>
                </a:moveTo>
                <a:cubicBezTo>
                  <a:pt x="325" y="14"/>
                  <a:pt x="323" y="16"/>
                  <a:pt x="323" y="16"/>
                </a:cubicBezTo>
                <a:cubicBezTo>
                  <a:pt x="323" y="16"/>
                  <a:pt x="325" y="16"/>
                  <a:pt x="325" y="17"/>
                </a:cubicBezTo>
                <a:cubicBezTo>
                  <a:pt x="326" y="16"/>
                  <a:pt x="326" y="14"/>
                  <a:pt x="327" y="14"/>
                </a:cubicBezTo>
                <a:cubicBezTo>
                  <a:pt x="326" y="14"/>
                  <a:pt x="325" y="14"/>
                  <a:pt x="325" y="14"/>
                </a:cubicBezTo>
                <a:close/>
                <a:moveTo>
                  <a:pt x="331" y="19"/>
                </a:moveTo>
                <a:cubicBezTo>
                  <a:pt x="332" y="19"/>
                  <a:pt x="332" y="21"/>
                  <a:pt x="333" y="21"/>
                </a:cubicBezTo>
                <a:cubicBezTo>
                  <a:pt x="334" y="22"/>
                  <a:pt x="333" y="19"/>
                  <a:pt x="333" y="19"/>
                </a:cubicBezTo>
                <a:cubicBezTo>
                  <a:pt x="333" y="19"/>
                  <a:pt x="332" y="19"/>
                  <a:pt x="331" y="19"/>
                </a:cubicBezTo>
                <a:close/>
                <a:moveTo>
                  <a:pt x="306" y="19"/>
                </a:moveTo>
                <a:cubicBezTo>
                  <a:pt x="307" y="20"/>
                  <a:pt x="305" y="20"/>
                  <a:pt x="308" y="22"/>
                </a:cubicBezTo>
                <a:cubicBezTo>
                  <a:pt x="308" y="23"/>
                  <a:pt x="308" y="23"/>
                  <a:pt x="308" y="23"/>
                </a:cubicBezTo>
                <a:cubicBezTo>
                  <a:pt x="309" y="22"/>
                  <a:pt x="312" y="22"/>
                  <a:pt x="311" y="22"/>
                </a:cubicBezTo>
                <a:cubicBezTo>
                  <a:pt x="313" y="23"/>
                  <a:pt x="312" y="20"/>
                  <a:pt x="310" y="19"/>
                </a:cubicBezTo>
                <a:cubicBezTo>
                  <a:pt x="309" y="19"/>
                  <a:pt x="307" y="19"/>
                  <a:pt x="306" y="19"/>
                </a:cubicBezTo>
                <a:close/>
                <a:moveTo>
                  <a:pt x="319" y="19"/>
                </a:moveTo>
                <a:cubicBezTo>
                  <a:pt x="320" y="20"/>
                  <a:pt x="320" y="22"/>
                  <a:pt x="321" y="22"/>
                </a:cubicBezTo>
                <a:cubicBezTo>
                  <a:pt x="322" y="23"/>
                  <a:pt x="324" y="22"/>
                  <a:pt x="325" y="23"/>
                </a:cubicBezTo>
                <a:cubicBezTo>
                  <a:pt x="326" y="24"/>
                  <a:pt x="326" y="25"/>
                  <a:pt x="327" y="25"/>
                </a:cubicBezTo>
                <a:cubicBezTo>
                  <a:pt x="328" y="25"/>
                  <a:pt x="328" y="25"/>
                  <a:pt x="329" y="25"/>
                </a:cubicBezTo>
                <a:cubicBezTo>
                  <a:pt x="335" y="21"/>
                  <a:pt x="322" y="20"/>
                  <a:pt x="319" y="19"/>
                </a:cubicBezTo>
                <a:close/>
                <a:moveTo>
                  <a:pt x="315" y="20"/>
                </a:moveTo>
                <a:cubicBezTo>
                  <a:pt x="313" y="23"/>
                  <a:pt x="313" y="23"/>
                  <a:pt x="313" y="23"/>
                </a:cubicBezTo>
                <a:cubicBezTo>
                  <a:pt x="314" y="23"/>
                  <a:pt x="314" y="24"/>
                  <a:pt x="314" y="25"/>
                </a:cubicBezTo>
                <a:cubicBezTo>
                  <a:pt x="315" y="24"/>
                  <a:pt x="316" y="24"/>
                  <a:pt x="316" y="24"/>
                </a:cubicBezTo>
                <a:cubicBezTo>
                  <a:pt x="317" y="24"/>
                  <a:pt x="317" y="26"/>
                  <a:pt x="317" y="27"/>
                </a:cubicBezTo>
                <a:cubicBezTo>
                  <a:pt x="319" y="27"/>
                  <a:pt x="319" y="26"/>
                  <a:pt x="320" y="26"/>
                </a:cubicBezTo>
                <a:cubicBezTo>
                  <a:pt x="322" y="26"/>
                  <a:pt x="324" y="28"/>
                  <a:pt x="325" y="29"/>
                </a:cubicBezTo>
                <a:cubicBezTo>
                  <a:pt x="327" y="29"/>
                  <a:pt x="328" y="27"/>
                  <a:pt x="329" y="27"/>
                </a:cubicBezTo>
                <a:cubicBezTo>
                  <a:pt x="327" y="26"/>
                  <a:pt x="323" y="25"/>
                  <a:pt x="321" y="24"/>
                </a:cubicBezTo>
                <a:cubicBezTo>
                  <a:pt x="320" y="23"/>
                  <a:pt x="318" y="20"/>
                  <a:pt x="317" y="20"/>
                </a:cubicBezTo>
                <a:cubicBezTo>
                  <a:pt x="316" y="20"/>
                  <a:pt x="315" y="20"/>
                  <a:pt x="315" y="20"/>
                </a:cubicBezTo>
                <a:close/>
                <a:moveTo>
                  <a:pt x="334" y="23"/>
                </a:moveTo>
                <a:cubicBezTo>
                  <a:pt x="334" y="23"/>
                  <a:pt x="332" y="24"/>
                  <a:pt x="332" y="24"/>
                </a:cubicBezTo>
                <a:cubicBezTo>
                  <a:pt x="332" y="24"/>
                  <a:pt x="331" y="26"/>
                  <a:pt x="331" y="26"/>
                </a:cubicBezTo>
                <a:cubicBezTo>
                  <a:pt x="332" y="26"/>
                  <a:pt x="333" y="27"/>
                  <a:pt x="334" y="27"/>
                </a:cubicBezTo>
                <a:cubicBezTo>
                  <a:pt x="334" y="27"/>
                  <a:pt x="337" y="22"/>
                  <a:pt x="334" y="23"/>
                </a:cubicBezTo>
                <a:close/>
                <a:moveTo>
                  <a:pt x="306" y="26"/>
                </a:moveTo>
                <a:cubicBezTo>
                  <a:pt x="306" y="26"/>
                  <a:pt x="305" y="27"/>
                  <a:pt x="305" y="27"/>
                </a:cubicBezTo>
                <a:cubicBezTo>
                  <a:pt x="303" y="29"/>
                  <a:pt x="306" y="27"/>
                  <a:pt x="307" y="28"/>
                </a:cubicBezTo>
                <a:cubicBezTo>
                  <a:pt x="309" y="28"/>
                  <a:pt x="307" y="30"/>
                  <a:pt x="309" y="30"/>
                </a:cubicBezTo>
                <a:cubicBezTo>
                  <a:pt x="310" y="29"/>
                  <a:pt x="310" y="29"/>
                  <a:pt x="310" y="29"/>
                </a:cubicBezTo>
                <a:cubicBezTo>
                  <a:pt x="311" y="28"/>
                  <a:pt x="313" y="29"/>
                  <a:pt x="313" y="29"/>
                </a:cubicBezTo>
                <a:cubicBezTo>
                  <a:pt x="313" y="27"/>
                  <a:pt x="313" y="27"/>
                  <a:pt x="313" y="27"/>
                </a:cubicBezTo>
                <a:cubicBezTo>
                  <a:pt x="312" y="27"/>
                  <a:pt x="307" y="26"/>
                  <a:pt x="306" y="26"/>
                </a:cubicBezTo>
                <a:close/>
                <a:moveTo>
                  <a:pt x="391" y="26"/>
                </a:moveTo>
                <a:cubicBezTo>
                  <a:pt x="389" y="26"/>
                  <a:pt x="387" y="30"/>
                  <a:pt x="385" y="31"/>
                </a:cubicBezTo>
                <a:cubicBezTo>
                  <a:pt x="383" y="31"/>
                  <a:pt x="381" y="30"/>
                  <a:pt x="379" y="31"/>
                </a:cubicBezTo>
                <a:cubicBezTo>
                  <a:pt x="379" y="31"/>
                  <a:pt x="381" y="33"/>
                  <a:pt x="381" y="33"/>
                </a:cubicBezTo>
                <a:cubicBezTo>
                  <a:pt x="380" y="33"/>
                  <a:pt x="379" y="33"/>
                  <a:pt x="378" y="33"/>
                </a:cubicBezTo>
                <a:cubicBezTo>
                  <a:pt x="378" y="33"/>
                  <a:pt x="378" y="35"/>
                  <a:pt x="378" y="35"/>
                </a:cubicBezTo>
                <a:cubicBezTo>
                  <a:pt x="378" y="36"/>
                  <a:pt x="379" y="35"/>
                  <a:pt x="380" y="36"/>
                </a:cubicBezTo>
                <a:cubicBezTo>
                  <a:pt x="381" y="37"/>
                  <a:pt x="381" y="39"/>
                  <a:pt x="382" y="39"/>
                </a:cubicBezTo>
                <a:cubicBezTo>
                  <a:pt x="383" y="40"/>
                  <a:pt x="384" y="39"/>
                  <a:pt x="385" y="40"/>
                </a:cubicBezTo>
                <a:cubicBezTo>
                  <a:pt x="386" y="38"/>
                  <a:pt x="388" y="35"/>
                  <a:pt x="390" y="35"/>
                </a:cubicBezTo>
                <a:cubicBezTo>
                  <a:pt x="391" y="34"/>
                  <a:pt x="393" y="35"/>
                  <a:pt x="394" y="35"/>
                </a:cubicBezTo>
                <a:cubicBezTo>
                  <a:pt x="395" y="34"/>
                  <a:pt x="395" y="31"/>
                  <a:pt x="397" y="31"/>
                </a:cubicBezTo>
                <a:cubicBezTo>
                  <a:pt x="397" y="30"/>
                  <a:pt x="398" y="31"/>
                  <a:pt x="399" y="31"/>
                </a:cubicBezTo>
                <a:cubicBezTo>
                  <a:pt x="399" y="30"/>
                  <a:pt x="399" y="28"/>
                  <a:pt x="399" y="28"/>
                </a:cubicBezTo>
                <a:cubicBezTo>
                  <a:pt x="397" y="27"/>
                  <a:pt x="394" y="25"/>
                  <a:pt x="391" y="26"/>
                </a:cubicBezTo>
                <a:close/>
                <a:moveTo>
                  <a:pt x="319" y="28"/>
                </a:moveTo>
                <a:cubicBezTo>
                  <a:pt x="318" y="28"/>
                  <a:pt x="316" y="29"/>
                  <a:pt x="315" y="29"/>
                </a:cubicBezTo>
                <a:cubicBezTo>
                  <a:pt x="315" y="29"/>
                  <a:pt x="315" y="32"/>
                  <a:pt x="315" y="32"/>
                </a:cubicBezTo>
                <a:cubicBezTo>
                  <a:pt x="316" y="32"/>
                  <a:pt x="319" y="30"/>
                  <a:pt x="320" y="31"/>
                </a:cubicBezTo>
                <a:cubicBezTo>
                  <a:pt x="320" y="31"/>
                  <a:pt x="322" y="33"/>
                  <a:pt x="323" y="33"/>
                </a:cubicBezTo>
                <a:cubicBezTo>
                  <a:pt x="326" y="32"/>
                  <a:pt x="324" y="30"/>
                  <a:pt x="324" y="29"/>
                </a:cubicBezTo>
                <a:cubicBezTo>
                  <a:pt x="324" y="29"/>
                  <a:pt x="324" y="29"/>
                  <a:pt x="324" y="29"/>
                </a:cubicBezTo>
                <a:cubicBezTo>
                  <a:pt x="322" y="28"/>
                  <a:pt x="320" y="28"/>
                  <a:pt x="319" y="28"/>
                </a:cubicBezTo>
                <a:close/>
                <a:moveTo>
                  <a:pt x="661" y="30"/>
                </a:moveTo>
                <a:cubicBezTo>
                  <a:pt x="659" y="33"/>
                  <a:pt x="658" y="34"/>
                  <a:pt x="654" y="35"/>
                </a:cubicBezTo>
                <a:cubicBezTo>
                  <a:pt x="652" y="37"/>
                  <a:pt x="652" y="37"/>
                  <a:pt x="652" y="37"/>
                </a:cubicBezTo>
                <a:cubicBezTo>
                  <a:pt x="651" y="37"/>
                  <a:pt x="651" y="35"/>
                  <a:pt x="650" y="36"/>
                </a:cubicBezTo>
                <a:cubicBezTo>
                  <a:pt x="649" y="36"/>
                  <a:pt x="650" y="37"/>
                  <a:pt x="650" y="38"/>
                </a:cubicBezTo>
                <a:cubicBezTo>
                  <a:pt x="646" y="40"/>
                  <a:pt x="646" y="40"/>
                  <a:pt x="646" y="40"/>
                </a:cubicBezTo>
                <a:cubicBezTo>
                  <a:pt x="646" y="41"/>
                  <a:pt x="647" y="43"/>
                  <a:pt x="647" y="42"/>
                </a:cubicBezTo>
                <a:cubicBezTo>
                  <a:pt x="647" y="43"/>
                  <a:pt x="647" y="44"/>
                  <a:pt x="647" y="44"/>
                </a:cubicBezTo>
                <a:cubicBezTo>
                  <a:pt x="645" y="46"/>
                  <a:pt x="642" y="45"/>
                  <a:pt x="639" y="46"/>
                </a:cubicBezTo>
                <a:cubicBezTo>
                  <a:pt x="638" y="46"/>
                  <a:pt x="636" y="49"/>
                  <a:pt x="635" y="49"/>
                </a:cubicBezTo>
                <a:cubicBezTo>
                  <a:pt x="637" y="49"/>
                  <a:pt x="640" y="49"/>
                  <a:pt x="642" y="49"/>
                </a:cubicBezTo>
                <a:cubicBezTo>
                  <a:pt x="642" y="49"/>
                  <a:pt x="642" y="51"/>
                  <a:pt x="642" y="51"/>
                </a:cubicBezTo>
                <a:cubicBezTo>
                  <a:pt x="651" y="54"/>
                  <a:pt x="651" y="54"/>
                  <a:pt x="651" y="54"/>
                </a:cubicBezTo>
                <a:cubicBezTo>
                  <a:pt x="655" y="54"/>
                  <a:pt x="657" y="51"/>
                  <a:pt x="660" y="50"/>
                </a:cubicBezTo>
                <a:cubicBezTo>
                  <a:pt x="660" y="50"/>
                  <a:pt x="662" y="51"/>
                  <a:pt x="661" y="51"/>
                </a:cubicBezTo>
                <a:cubicBezTo>
                  <a:pt x="664" y="52"/>
                  <a:pt x="665" y="51"/>
                  <a:pt x="668" y="52"/>
                </a:cubicBezTo>
                <a:cubicBezTo>
                  <a:pt x="666" y="52"/>
                  <a:pt x="663" y="54"/>
                  <a:pt x="662" y="54"/>
                </a:cubicBezTo>
                <a:cubicBezTo>
                  <a:pt x="660" y="55"/>
                  <a:pt x="660" y="53"/>
                  <a:pt x="658" y="54"/>
                </a:cubicBezTo>
                <a:cubicBezTo>
                  <a:pt x="658" y="54"/>
                  <a:pt x="657" y="56"/>
                  <a:pt x="657" y="56"/>
                </a:cubicBezTo>
                <a:cubicBezTo>
                  <a:pt x="656" y="57"/>
                  <a:pt x="654" y="57"/>
                  <a:pt x="652" y="58"/>
                </a:cubicBezTo>
                <a:cubicBezTo>
                  <a:pt x="652" y="59"/>
                  <a:pt x="653" y="60"/>
                  <a:pt x="652" y="61"/>
                </a:cubicBezTo>
                <a:cubicBezTo>
                  <a:pt x="646" y="62"/>
                  <a:pt x="651" y="60"/>
                  <a:pt x="646" y="63"/>
                </a:cubicBezTo>
                <a:cubicBezTo>
                  <a:pt x="646" y="64"/>
                  <a:pt x="645" y="63"/>
                  <a:pt x="644" y="64"/>
                </a:cubicBezTo>
                <a:cubicBezTo>
                  <a:pt x="644" y="64"/>
                  <a:pt x="645" y="65"/>
                  <a:pt x="644" y="66"/>
                </a:cubicBezTo>
                <a:cubicBezTo>
                  <a:pt x="648" y="66"/>
                  <a:pt x="649" y="65"/>
                  <a:pt x="652" y="64"/>
                </a:cubicBezTo>
                <a:cubicBezTo>
                  <a:pt x="653" y="66"/>
                  <a:pt x="652" y="66"/>
                  <a:pt x="652" y="67"/>
                </a:cubicBezTo>
                <a:cubicBezTo>
                  <a:pt x="652" y="68"/>
                  <a:pt x="653" y="67"/>
                  <a:pt x="653" y="68"/>
                </a:cubicBezTo>
                <a:cubicBezTo>
                  <a:pt x="655" y="68"/>
                  <a:pt x="658" y="67"/>
                  <a:pt x="660" y="67"/>
                </a:cubicBezTo>
                <a:cubicBezTo>
                  <a:pt x="661" y="69"/>
                  <a:pt x="661" y="69"/>
                  <a:pt x="661" y="69"/>
                </a:cubicBezTo>
                <a:cubicBezTo>
                  <a:pt x="662" y="69"/>
                  <a:pt x="663" y="68"/>
                  <a:pt x="664" y="68"/>
                </a:cubicBezTo>
                <a:cubicBezTo>
                  <a:pt x="667" y="69"/>
                  <a:pt x="675" y="73"/>
                  <a:pt x="678" y="72"/>
                </a:cubicBezTo>
                <a:cubicBezTo>
                  <a:pt x="678" y="70"/>
                  <a:pt x="678" y="70"/>
                  <a:pt x="678" y="70"/>
                </a:cubicBezTo>
                <a:cubicBezTo>
                  <a:pt x="680" y="70"/>
                  <a:pt x="680" y="70"/>
                  <a:pt x="680" y="70"/>
                </a:cubicBezTo>
                <a:cubicBezTo>
                  <a:pt x="681" y="70"/>
                  <a:pt x="682" y="72"/>
                  <a:pt x="683" y="72"/>
                </a:cubicBezTo>
                <a:cubicBezTo>
                  <a:pt x="684" y="72"/>
                  <a:pt x="684" y="71"/>
                  <a:pt x="684" y="70"/>
                </a:cubicBezTo>
                <a:cubicBezTo>
                  <a:pt x="687" y="69"/>
                  <a:pt x="690" y="69"/>
                  <a:pt x="692" y="68"/>
                </a:cubicBezTo>
                <a:cubicBezTo>
                  <a:pt x="692" y="68"/>
                  <a:pt x="693" y="67"/>
                  <a:pt x="693" y="67"/>
                </a:cubicBezTo>
                <a:cubicBezTo>
                  <a:pt x="692" y="67"/>
                  <a:pt x="692" y="66"/>
                  <a:pt x="692" y="65"/>
                </a:cubicBezTo>
                <a:cubicBezTo>
                  <a:pt x="692" y="65"/>
                  <a:pt x="694" y="65"/>
                  <a:pt x="695" y="65"/>
                </a:cubicBezTo>
                <a:cubicBezTo>
                  <a:pt x="697" y="61"/>
                  <a:pt x="698" y="62"/>
                  <a:pt x="695" y="58"/>
                </a:cubicBezTo>
                <a:cubicBezTo>
                  <a:pt x="691" y="52"/>
                  <a:pt x="691" y="56"/>
                  <a:pt x="689" y="60"/>
                </a:cubicBezTo>
                <a:cubicBezTo>
                  <a:pt x="687" y="60"/>
                  <a:pt x="686" y="60"/>
                  <a:pt x="684" y="60"/>
                </a:cubicBezTo>
                <a:cubicBezTo>
                  <a:pt x="685" y="60"/>
                  <a:pt x="686" y="60"/>
                  <a:pt x="686" y="59"/>
                </a:cubicBezTo>
                <a:cubicBezTo>
                  <a:pt x="687" y="58"/>
                  <a:pt x="686" y="55"/>
                  <a:pt x="686" y="55"/>
                </a:cubicBezTo>
                <a:cubicBezTo>
                  <a:pt x="686" y="55"/>
                  <a:pt x="686" y="53"/>
                  <a:pt x="686" y="53"/>
                </a:cubicBezTo>
                <a:cubicBezTo>
                  <a:pt x="684" y="52"/>
                  <a:pt x="683" y="52"/>
                  <a:pt x="680" y="51"/>
                </a:cubicBezTo>
                <a:cubicBezTo>
                  <a:pt x="680" y="51"/>
                  <a:pt x="679" y="53"/>
                  <a:pt x="679" y="53"/>
                </a:cubicBezTo>
                <a:cubicBezTo>
                  <a:pt x="677" y="54"/>
                  <a:pt x="674" y="53"/>
                  <a:pt x="672" y="53"/>
                </a:cubicBezTo>
                <a:cubicBezTo>
                  <a:pt x="674" y="52"/>
                  <a:pt x="674" y="52"/>
                  <a:pt x="674" y="52"/>
                </a:cubicBezTo>
                <a:cubicBezTo>
                  <a:pt x="680" y="50"/>
                  <a:pt x="679" y="50"/>
                  <a:pt x="680" y="44"/>
                </a:cubicBezTo>
                <a:cubicBezTo>
                  <a:pt x="677" y="43"/>
                  <a:pt x="673" y="41"/>
                  <a:pt x="672" y="39"/>
                </a:cubicBezTo>
                <a:cubicBezTo>
                  <a:pt x="671" y="38"/>
                  <a:pt x="672" y="37"/>
                  <a:pt x="671" y="37"/>
                </a:cubicBezTo>
                <a:cubicBezTo>
                  <a:pt x="670" y="35"/>
                  <a:pt x="667" y="35"/>
                  <a:pt x="666" y="34"/>
                </a:cubicBezTo>
                <a:cubicBezTo>
                  <a:pt x="666" y="34"/>
                  <a:pt x="666" y="32"/>
                  <a:pt x="666" y="32"/>
                </a:cubicBezTo>
                <a:cubicBezTo>
                  <a:pt x="665" y="31"/>
                  <a:pt x="664" y="31"/>
                  <a:pt x="662" y="31"/>
                </a:cubicBezTo>
                <a:lnTo>
                  <a:pt x="661" y="30"/>
                </a:lnTo>
                <a:close/>
                <a:moveTo>
                  <a:pt x="222" y="35"/>
                </a:moveTo>
                <a:cubicBezTo>
                  <a:pt x="221" y="35"/>
                  <a:pt x="219" y="36"/>
                  <a:pt x="219" y="37"/>
                </a:cubicBezTo>
                <a:cubicBezTo>
                  <a:pt x="216" y="37"/>
                  <a:pt x="214" y="36"/>
                  <a:pt x="212" y="37"/>
                </a:cubicBezTo>
                <a:cubicBezTo>
                  <a:pt x="211" y="37"/>
                  <a:pt x="210" y="39"/>
                  <a:pt x="209" y="39"/>
                </a:cubicBezTo>
                <a:cubicBezTo>
                  <a:pt x="207" y="40"/>
                  <a:pt x="206" y="38"/>
                  <a:pt x="203" y="39"/>
                </a:cubicBezTo>
                <a:cubicBezTo>
                  <a:pt x="202" y="39"/>
                  <a:pt x="201" y="42"/>
                  <a:pt x="200" y="42"/>
                </a:cubicBezTo>
                <a:cubicBezTo>
                  <a:pt x="199" y="42"/>
                  <a:pt x="199" y="45"/>
                  <a:pt x="199" y="45"/>
                </a:cubicBezTo>
                <a:cubicBezTo>
                  <a:pt x="200" y="45"/>
                  <a:pt x="204" y="44"/>
                  <a:pt x="204" y="44"/>
                </a:cubicBezTo>
                <a:cubicBezTo>
                  <a:pt x="205" y="45"/>
                  <a:pt x="211" y="47"/>
                  <a:pt x="211" y="47"/>
                </a:cubicBezTo>
                <a:cubicBezTo>
                  <a:pt x="211" y="47"/>
                  <a:pt x="217" y="43"/>
                  <a:pt x="218" y="43"/>
                </a:cubicBezTo>
                <a:cubicBezTo>
                  <a:pt x="222" y="43"/>
                  <a:pt x="221" y="45"/>
                  <a:pt x="223" y="46"/>
                </a:cubicBezTo>
                <a:cubicBezTo>
                  <a:pt x="224" y="46"/>
                  <a:pt x="225" y="47"/>
                  <a:pt x="226" y="46"/>
                </a:cubicBezTo>
                <a:cubicBezTo>
                  <a:pt x="226" y="45"/>
                  <a:pt x="226" y="45"/>
                  <a:pt x="226" y="45"/>
                </a:cubicBezTo>
                <a:cubicBezTo>
                  <a:pt x="230" y="44"/>
                  <a:pt x="230" y="44"/>
                  <a:pt x="232" y="40"/>
                </a:cubicBezTo>
                <a:cubicBezTo>
                  <a:pt x="234" y="40"/>
                  <a:pt x="236" y="42"/>
                  <a:pt x="238" y="41"/>
                </a:cubicBezTo>
                <a:cubicBezTo>
                  <a:pt x="238" y="41"/>
                  <a:pt x="240" y="39"/>
                  <a:pt x="240" y="39"/>
                </a:cubicBezTo>
                <a:cubicBezTo>
                  <a:pt x="244" y="39"/>
                  <a:pt x="248" y="41"/>
                  <a:pt x="250" y="41"/>
                </a:cubicBezTo>
                <a:cubicBezTo>
                  <a:pt x="251" y="41"/>
                  <a:pt x="254" y="41"/>
                  <a:pt x="256" y="40"/>
                </a:cubicBezTo>
                <a:cubicBezTo>
                  <a:pt x="254" y="40"/>
                  <a:pt x="251" y="38"/>
                  <a:pt x="249" y="37"/>
                </a:cubicBezTo>
                <a:cubicBezTo>
                  <a:pt x="248" y="36"/>
                  <a:pt x="248" y="36"/>
                  <a:pt x="248" y="36"/>
                </a:cubicBezTo>
                <a:cubicBezTo>
                  <a:pt x="247" y="35"/>
                  <a:pt x="245" y="36"/>
                  <a:pt x="244" y="36"/>
                </a:cubicBezTo>
                <a:cubicBezTo>
                  <a:pt x="242" y="35"/>
                  <a:pt x="242" y="35"/>
                  <a:pt x="242" y="35"/>
                </a:cubicBezTo>
                <a:cubicBezTo>
                  <a:pt x="240" y="34"/>
                  <a:pt x="234" y="35"/>
                  <a:pt x="232" y="35"/>
                </a:cubicBezTo>
                <a:cubicBezTo>
                  <a:pt x="232" y="34"/>
                  <a:pt x="229" y="35"/>
                  <a:pt x="230" y="35"/>
                </a:cubicBezTo>
                <a:cubicBezTo>
                  <a:pt x="227" y="35"/>
                  <a:pt x="224" y="34"/>
                  <a:pt x="222" y="35"/>
                </a:cubicBezTo>
                <a:close/>
                <a:moveTo>
                  <a:pt x="264" y="37"/>
                </a:moveTo>
                <a:cubicBezTo>
                  <a:pt x="265" y="37"/>
                  <a:pt x="262" y="37"/>
                  <a:pt x="262" y="37"/>
                </a:cubicBezTo>
                <a:cubicBezTo>
                  <a:pt x="263" y="38"/>
                  <a:pt x="265" y="42"/>
                  <a:pt x="263" y="40"/>
                </a:cubicBezTo>
                <a:cubicBezTo>
                  <a:pt x="261" y="41"/>
                  <a:pt x="258" y="43"/>
                  <a:pt x="255" y="44"/>
                </a:cubicBezTo>
                <a:cubicBezTo>
                  <a:pt x="251" y="44"/>
                  <a:pt x="247" y="42"/>
                  <a:pt x="244" y="42"/>
                </a:cubicBezTo>
                <a:cubicBezTo>
                  <a:pt x="241" y="41"/>
                  <a:pt x="239" y="42"/>
                  <a:pt x="236" y="42"/>
                </a:cubicBezTo>
                <a:cubicBezTo>
                  <a:pt x="236" y="44"/>
                  <a:pt x="236" y="44"/>
                  <a:pt x="236" y="44"/>
                </a:cubicBezTo>
                <a:cubicBezTo>
                  <a:pt x="237" y="44"/>
                  <a:pt x="239" y="44"/>
                  <a:pt x="240" y="44"/>
                </a:cubicBezTo>
                <a:cubicBezTo>
                  <a:pt x="240" y="44"/>
                  <a:pt x="241" y="47"/>
                  <a:pt x="240" y="46"/>
                </a:cubicBezTo>
                <a:cubicBezTo>
                  <a:pt x="235" y="49"/>
                  <a:pt x="243" y="50"/>
                  <a:pt x="246" y="50"/>
                </a:cubicBezTo>
                <a:cubicBezTo>
                  <a:pt x="245" y="51"/>
                  <a:pt x="244" y="53"/>
                  <a:pt x="244" y="53"/>
                </a:cubicBezTo>
                <a:cubicBezTo>
                  <a:pt x="246" y="53"/>
                  <a:pt x="247" y="51"/>
                  <a:pt x="248" y="50"/>
                </a:cubicBezTo>
                <a:cubicBezTo>
                  <a:pt x="249" y="50"/>
                  <a:pt x="250" y="51"/>
                  <a:pt x="251" y="51"/>
                </a:cubicBezTo>
                <a:cubicBezTo>
                  <a:pt x="251" y="51"/>
                  <a:pt x="253" y="50"/>
                  <a:pt x="254" y="50"/>
                </a:cubicBezTo>
                <a:cubicBezTo>
                  <a:pt x="254" y="50"/>
                  <a:pt x="253" y="47"/>
                  <a:pt x="254" y="47"/>
                </a:cubicBezTo>
                <a:cubicBezTo>
                  <a:pt x="257" y="46"/>
                  <a:pt x="261" y="48"/>
                  <a:pt x="264" y="48"/>
                </a:cubicBezTo>
                <a:cubicBezTo>
                  <a:pt x="265" y="48"/>
                  <a:pt x="264" y="48"/>
                  <a:pt x="266" y="48"/>
                </a:cubicBezTo>
                <a:cubicBezTo>
                  <a:pt x="265" y="47"/>
                  <a:pt x="265" y="45"/>
                  <a:pt x="264" y="44"/>
                </a:cubicBezTo>
                <a:cubicBezTo>
                  <a:pt x="267" y="44"/>
                  <a:pt x="270" y="45"/>
                  <a:pt x="272" y="44"/>
                </a:cubicBezTo>
                <a:cubicBezTo>
                  <a:pt x="274" y="43"/>
                  <a:pt x="274" y="43"/>
                  <a:pt x="274" y="43"/>
                </a:cubicBezTo>
                <a:cubicBezTo>
                  <a:pt x="276" y="42"/>
                  <a:pt x="276" y="42"/>
                  <a:pt x="276" y="42"/>
                </a:cubicBezTo>
                <a:cubicBezTo>
                  <a:pt x="276" y="42"/>
                  <a:pt x="276" y="40"/>
                  <a:pt x="276" y="40"/>
                </a:cubicBezTo>
                <a:cubicBezTo>
                  <a:pt x="275" y="40"/>
                  <a:pt x="276" y="39"/>
                  <a:pt x="275" y="39"/>
                </a:cubicBezTo>
                <a:cubicBezTo>
                  <a:pt x="273" y="39"/>
                  <a:pt x="272" y="40"/>
                  <a:pt x="270" y="40"/>
                </a:cubicBezTo>
                <a:cubicBezTo>
                  <a:pt x="270" y="39"/>
                  <a:pt x="270" y="39"/>
                  <a:pt x="270" y="39"/>
                </a:cubicBezTo>
                <a:cubicBezTo>
                  <a:pt x="271" y="39"/>
                  <a:pt x="271" y="38"/>
                  <a:pt x="271" y="37"/>
                </a:cubicBezTo>
                <a:cubicBezTo>
                  <a:pt x="267" y="37"/>
                  <a:pt x="267" y="38"/>
                  <a:pt x="264" y="37"/>
                </a:cubicBezTo>
                <a:close/>
                <a:moveTo>
                  <a:pt x="293" y="38"/>
                </a:moveTo>
                <a:cubicBezTo>
                  <a:pt x="293" y="38"/>
                  <a:pt x="294" y="39"/>
                  <a:pt x="294" y="39"/>
                </a:cubicBezTo>
                <a:cubicBezTo>
                  <a:pt x="294" y="39"/>
                  <a:pt x="296" y="37"/>
                  <a:pt x="293" y="38"/>
                </a:cubicBezTo>
                <a:close/>
                <a:moveTo>
                  <a:pt x="297" y="39"/>
                </a:moveTo>
                <a:cubicBezTo>
                  <a:pt x="297" y="39"/>
                  <a:pt x="296" y="42"/>
                  <a:pt x="297" y="42"/>
                </a:cubicBezTo>
                <a:cubicBezTo>
                  <a:pt x="297" y="42"/>
                  <a:pt x="300" y="42"/>
                  <a:pt x="299" y="41"/>
                </a:cubicBezTo>
                <a:cubicBezTo>
                  <a:pt x="300" y="42"/>
                  <a:pt x="299" y="40"/>
                  <a:pt x="299" y="40"/>
                </a:cubicBezTo>
                <a:cubicBezTo>
                  <a:pt x="298" y="39"/>
                  <a:pt x="298" y="40"/>
                  <a:pt x="297" y="39"/>
                </a:cubicBezTo>
                <a:close/>
                <a:moveTo>
                  <a:pt x="331" y="40"/>
                </a:moveTo>
                <a:cubicBezTo>
                  <a:pt x="329" y="40"/>
                  <a:pt x="330" y="45"/>
                  <a:pt x="330" y="48"/>
                </a:cubicBezTo>
                <a:cubicBezTo>
                  <a:pt x="331" y="49"/>
                  <a:pt x="332" y="48"/>
                  <a:pt x="333" y="48"/>
                </a:cubicBezTo>
                <a:cubicBezTo>
                  <a:pt x="334" y="49"/>
                  <a:pt x="334" y="50"/>
                  <a:pt x="335" y="50"/>
                </a:cubicBezTo>
                <a:cubicBezTo>
                  <a:pt x="337" y="46"/>
                  <a:pt x="337" y="47"/>
                  <a:pt x="341" y="44"/>
                </a:cubicBezTo>
                <a:cubicBezTo>
                  <a:pt x="341" y="44"/>
                  <a:pt x="341" y="43"/>
                  <a:pt x="341" y="42"/>
                </a:cubicBezTo>
                <a:cubicBezTo>
                  <a:pt x="339" y="42"/>
                  <a:pt x="338" y="42"/>
                  <a:pt x="336" y="42"/>
                </a:cubicBezTo>
                <a:cubicBezTo>
                  <a:pt x="335" y="42"/>
                  <a:pt x="332" y="40"/>
                  <a:pt x="331" y="40"/>
                </a:cubicBezTo>
                <a:close/>
                <a:moveTo>
                  <a:pt x="289" y="42"/>
                </a:moveTo>
                <a:cubicBezTo>
                  <a:pt x="289" y="42"/>
                  <a:pt x="288" y="44"/>
                  <a:pt x="288" y="44"/>
                </a:cubicBezTo>
                <a:cubicBezTo>
                  <a:pt x="287" y="45"/>
                  <a:pt x="285" y="44"/>
                  <a:pt x="284" y="44"/>
                </a:cubicBezTo>
                <a:cubicBezTo>
                  <a:pt x="284" y="44"/>
                  <a:pt x="284" y="47"/>
                  <a:pt x="285" y="47"/>
                </a:cubicBezTo>
                <a:cubicBezTo>
                  <a:pt x="287" y="48"/>
                  <a:pt x="291" y="48"/>
                  <a:pt x="294" y="49"/>
                </a:cubicBezTo>
                <a:cubicBezTo>
                  <a:pt x="294" y="48"/>
                  <a:pt x="295" y="47"/>
                  <a:pt x="295" y="45"/>
                </a:cubicBezTo>
                <a:cubicBezTo>
                  <a:pt x="294" y="44"/>
                  <a:pt x="291" y="42"/>
                  <a:pt x="289" y="42"/>
                </a:cubicBezTo>
                <a:close/>
                <a:moveTo>
                  <a:pt x="324" y="44"/>
                </a:moveTo>
                <a:cubicBezTo>
                  <a:pt x="323" y="44"/>
                  <a:pt x="320" y="46"/>
                  <a:pt x="319" y="46"/>
                </a:cubicBezTo>
                <a:cubicBezTo>
                  <a:pt x="313" y="51"/>
                  <a:pt x="324" y="51"/>
                  <a:pt x="327" y="51"/>
                </a:cubicBezTo>
                <a:cubicBezTo>
                  <a:pt x="326" y="51"/>
                  <a:pt x="327" y="50"/>
                  <a:pt x="327" y="50"/>
                </a:cubicBezTo>
                <a:cubicBezTo>
                  <a:pt x="326" y="49"/>
                  <a:pt x="326" y="49"/>
                  <a:pt x="325" y="48"/>
                </a:cubicBezTo>
                <a:cubicBezTo>
                  <a:pt x="327" y="47"/>
                  <a:pt x="332" y="43"/>
                  <a:pt x="324" y="44"/>
                </a:cubicBezTo>
                <a:close/>
                <a:moveTo>
                  <a:pt x="306" y="45"/>
                </a:moveTo>
                <a:cubicBezTo>
                  <a:pt x="306" y="45"/>
                  <a:pt x="306" y="48"/>
                  <a:pt x="307" y="48"/>
                </a:cubicBezTo>
                <a:cubicBezTo>
                  <a:pt x="309" y="48"/>
                  <a:pt x="308" y="46"/>
                  <a:pt x="309" y="45"/>
                </a:cubicBezTo>
                <a:cubicBezTo>
                  <a:pt x="308" y="45"/>
                  <a:pt x="307" y="45"/>
                  <a:pt x="306" y="45"/>
                </a:cubicBezTo>
                <a:close/>
                <a:moveTo>
                  <a:pt x="297" y="46"/>
                </a:moveTo>
                <a:cubicBezTo>
                  <a:pt x="298" y="48"/>
                  <a:pt x="298" y="48"/>
                  <a:pt x="298" y="48"/>
                </a:cubicBezTo>
                <a:cubicBezTo>
                  <a:pt x="298" y="47"/>
                  <a:pt x="299" y="46"/>
                  <a:pt x="297" y="46"/>
                </a:cubicBezTo>
                <a:close/>
                <a:moveTo>
                  <a:pt x="266" y="49"/>
                </a:moveTo>
                <a:cubicBezTo>
                  <a:pt x="259" y="52"/>
                  <a:pt x="263" y="52"/>
                  <a:pt x="268" y="53"/>
                </a:cubicBezTo>
                <a:cubicBezTo>
                  <a:pt x="268" y="49"/>
                  <a:pt x="268" y="49"/>
                  <a:pt x="268" y="49"/>
                </a:cubicBezTo>
                <a:cubicBezTo>
                  <a:pt x="268" y="49"/>
                  <a:pt x="266" y="49"/>
                  <a:pt x="266" y="49"/>
                </a:cubicBezTo>
                <a:close/>
                <a:moveTo>
                  <a:pt x="343" y="50"/>
                </a:moveTo>
                <a:cubicBezTo>
                  <a:pt x="342" y="51"/>
                  <a:pt x="341" y="53"/>
                  <a:pt x="339" y="54"/>
                </a:cubicBezTo>
                <a:cubicBezTo>
                  <a:pt x="341" y="55"/>
                  <a:pt x="344" y="59"/>
                  <a:pt x="347" y="57"/>
                </a:cubicBezTo>
                <a:cubicBezTo>
                  <a:pt x="349" y="56"/>
                  <a:pt x="347" y="53"/>
                  <a:pt x="347" y="52"/>
                </a:cubicBezTo>
                <a:cubicBezTo>
                  <a:pt x="346" y="52"/>
                  <a:pt x="347" y="52"/>
                  <a:pt x="346" y="50"/>
                </a:cubicBezTo>
                <a:cubicBezTo>
                  <a:pt x="345" y="50"/>
                  <a:pt x="344" y="51"/>
                  <a:pt x="343" y="50"/>
                </a:cubicBezTo>
                <a:close/>
                <a:moveTo>
                  <a:pt x="275" y="52"/>
                </a:moveTo>
                <a:cubicBezTo>
                  <a:pt x="273" y="53"/>
                  <a:pt x="272" y="55"/>
                  <a:pt x="271" y="56"/>
                </a:cubicBezTo>
                <a:cubicBezTo>
                  <a:pt x="268" y="58"/>
                  <a:pt x="276" y="57"/>
                  <a:pt x="278" y="57"/>
                </a:cubicBezTo>
                <a:cubicBezTo>
                  <a:pt x="278" y="55"/>
                  <a:pt x="277" y="54"/>
                  <a:pt x="277" y="52"/>
                </a:cubicBezTo>
                <a:cubicBezTo>
                  <a:pt x="277" y="52"/>
                  <a:pt x="275" y="52"/>
                  <a:pt x="275" y="52"/>
                </a:cubicBezTo>
                <a:close/>
                <a:moveTo>
                  <a:pt x="710" y="58"/>
                </a:moveTo>
                <a:cubicBezTo>
                  <a:pt x="710" y="60"/>
                  <a:pt x="710" y="60"/>
                  <a:pt x="710" y="60"/>
                </a:cubicBezTo>
                <a:cubicBezTo>
                  <a:pt x="710" y="61"/>
                  <a:pt x="709" y="61"/>
                  <a:pt x="709" y="61"/>
                </a:cubicBezTo>
                <a:cubicBezTo>
                  <a:pt x="708" y="60"/>
                  <a:pt x="708" y="60"/>
                  <a:pt x="708" y="60"/>
                </a:cubicBezTo>
                <a:cubicBezTo>
                  <a:pt x="708" y="60"/>
                  <a:pt x="707" y="60"/>
                  <a:pt x="706" y="60"/>
                </a:cubicBezTo>
                <a:cubicBezTo>
                  <a:pt x="706" y="62"/>
                  <a:pt x="707" y="64"/>
                  <a:pt x="706" y="67"/>
                </a:cubicBezTo>
                <a:cubicBezTo>
                  <a:pt x="705" y="68"/>
                  <a:pt x="702" y="69"/>
                  <a:pt x="702" y="71"/>
                </a:cubicBezTo>
                <a:cubicBezTo>
                  <a:pt x="702" y="72"/>
                  <a:pt x="704" y="73"/>
                  <a:pt x="703" y="74"/>
                </a:cubicBezTo>
                <a:cubicBezTo>
                  <a:pt x="703" y="75"/>
                  <a:pt x="701" y="74"/>
                  <a:pt x="701" y="74"/>
                </a:cubicBezTo>
                <a:cubicBezTo>
                  <a:pt x="699" y="80"/>
                  <a:pt x="697" y="82"/>
                  <a:pt x="692" y="85"/>
                </a:cubicBezTo>
                <a:cubicBezTo>
                  <a:pt x="692" y="85"/>
                  <a:pt x="692" y="87"/>
                  <a:pt x="692" y="87"/>
                </a:cubicBezTo>
                <a:cubicBezTo>
                  <a:pt x="698" y="87"/>
                  <a:pt x="701" y="86"/>
                  <a:pt x="705" y="82"/>
                </a:cubicBezTo>
                <a:cubicBezTo>
                  <a:pt x="705" y="82"/>
                  <a:pt x="706" y="80"/>
                  <a:pt x="706" y="80"/>
                </a:cubicBezTo>
                <a:cubicBezTo>
                  <a:pt x="707" y="80"/>
                  <a:pt x="717" y="84"/>
                  <a:pt x="718" y="84"/>
                </a:cubicBezTo>
                <a:cubicBezTo>
                  <a:pt x="719" y="83"/>
                  <a:pt x="720" y="82"/>
                  <a:pt x="722" y="81"/>
                </a:cubicBezTo>
                <a:cubicBezTo>
                  <a:pt x="722" y="81"/>
                  <a:pt x="723" y="81"/>
                  <a:pt x="724" y="81"/>
                </a:cubicBezTo>
                <a:cubicBezTo>
                  <a:pt x="728" y="80"/>
                  <a:pt x="726" y="79"/>
                  <a:pt x="733" y="79"/>
                </a:cubicBezTo>
                <a:cubicBezTo>
                  <a:pt x="733" y="78"/>
                  <a:pt x="734" y="76"/>
                  <a:pt x="734" y="75"/>
                </a:cubicBezTo>
                <a:cubicBezTo>
                  <a:pt x="733" y="70"/>
                  <a:pt x="728" y="70"/>
                  <a:pt x="724" y="68"/>
                </a:cubicBezTo>
                <a:cubicBezTo>
                  <a:pt x="722" y="67"/>
                  <a:pt x="720" y="67"/>
                  <a:pt x="720" y="64"/>
                </a:cubicBezTo>
                <a:cubicBezTo>
                  <a:pt x="720" y="64"/>
                  <a:pt x="720" y="64"/>
                  <a:pt x="720" y="64"/>
                </a:cubicBezTo>
                <a:cubicBezTo>
                  <a:pt x="719" y="63"/>
                  <a:pt x="719" y="64"/>
                  <a:pt x="719" y="64"/>
                </a:cubicBezTo>
                <a:cubicBezTo>
                  <a:pt x="715" y="65"/>
                  <a:pt x="719" y="61"/>
                  <a:pt x="713" y="66"/>
                </a:cubicBezTo>
                <a:cubicBezTo>
                  <a:pt x="713" y="65"/>
                  <a:pt x="712" y="64"/>
                  <a:pt x="712" y="64"/>
                </a:cubicBezTo>
                <a:cubicBezTo>
                  <a:pt x="715" y="63"/>
                  <a:pt x="712" y="59"/>
                  <a:pt x="710" y="58"/>
                </a:cubicBezTo>
                <a:close/>
                <a:moveTo>
                  <a:pt x="410" y="104"/>
                </a:moveTo>
                <a:cubicBezTo>
                  <a:pt x="409" y="104"/>
                  <a:pt x="408" y="107"/>
                  <a:pt x="407" y="107"/>
                </a:cubicBezTo>
                <a:cubicBezTo>
                  <a:pt x="406" y="107"/>
                  <a:pt x="405" y="107"/>
                  <a:pt x="404" y="107"/>
                </a:cubicBezTo>
                <a:cubicBezTo>
                  <a:pt x="403" y="108"/>
                  <a:pt x="402" y="110"/>
                  <a:pt x="401" y="112"/>
                </a:cubicBezTo>
                <a:cubicBezTo>
                  <a:pt x="400" y="111"/>
                  <a:pt x="399" y="110"/>
                  <a:pt x="399" y="110"/>
                </a:cubicBezTo>
                <a:cubicBezTo>
                  <a:pt x="396" y="110"/>
                  <a:pt x="395" y="113"/>
                  <a:pt x="393" y="114"/>
                </a:cubicBezTo>
                <a:cubicBezTo>
                  <a:pt x="391" y="114"/>
                  <a:pt x="392" y="112"/>
                  <a:pt x="391" y="113"/>
                </a:cubicBezTo>
                <a:cubicBezTo>
                  <a:pt x="389" y="113"/>
                  <a:pt x="386" y="117"/>
                  <a:pt x="384" y="117"/>
                </a:cubicBezTo>
                <a:cubicBezTo>
                  <a:pt x="381" y="117"/>
                  <a:pt x="381" y="116"/>
                  <a:pt x="379" y="116"/>
                </a:cubicBezTo>
                <a:cubicBezTo>
                  <a:pt x="379" y="116"/>
                  <a:pt x="378" y="118"/>
                  <a:pt x="377" y="118"/>
                </a:cubicBezTo>
                <a:cubicBezTo>
                  <a:pt x="377" y="118"/>
                  <a:pt x="370" y="118"/>
                  <a:pt x="370" y="118"/>
                </a:cubicBezTo>
                <a:cubicBezTo>
                  <a:pt x="370" y="117"/>
                  <a:pt x="370" y="117"/>
                  <a:pt x="370" y="117"/>
                </a:cubicBezTo>
                <a:cubicBezTo>
                  <a:pt x="366" y="116"/>
                  <a:pt x="365" y="115"/>
                  <a:pt x="361" y="116"/>
                </a:cubicBezTo>
                <a:cubicBezTo>
                  <a:pt x="361" y="117"/>
                  <a:pt x="361" y="119"/>
                  <a:pt x="361" y="121"/>
                </a:cubicBezTo>
                <a:cubicBezTo>
                  <a:pt x="358" y="121"/>
                  <a:pt x="354" y="121"/>
                  <a:pt x="354" y="121"/>
                </a:cubicBezTo>
                <a:cubicBezTo>
                  <a:pt x="354" y="121"/>
                  <a:pt x="352" y="121"/>
                  <a:pt x="353" y="122"/>
                </a:cubicBezTo>
                <a:cubicBezTo>
                  <a:pt x="352" y="121"/>
                  <a:pt x="350" y="121"/>
                  <a:pt x="350" y="121"/>
                </a:cubicBezTo>
                <a:cubicBezTo>
                  <a:pt x="349" y="121"/>
                  <a:pt x="347" y="123"/>
                  <a:pt x="346" y="124"/>
                </a:cubicBezTo>
                <a:cubicBezTo>
                  <a:pt x="344" y="124"/>
                  <a:pt x="343" y="123"/>
                  <a:pt x="341" y="124"/>
                </a:cubicBezTo>
                <a:cubicBezTo>
                  <a:pt x="341" y="125"/>
                  <a:pt x="340" y="127"/>
                  <a:pt x="339" y="127"/>
                </a:cubicBezTo>
                <a:cubicBezTo>
                  <a:pt x="337" y="128"/>
                  <a:pt x="335" y="127"/>
                  <a:pt x="333" y="128"/>
                </a:cubicBezTo>
                <a:cubicBezTo>
                  <a:pt x="333" y="128"/>
                  <a:pt x="333" y="130"/>
                  <a:pt x="333" y="130"/>
                </a:cubicBezTo>
                <a:cubicBezTo>
                  <a:pt x="332" y="131"/>
                  <a:pt x="330" y="131"/>
                  <a:pt x="329" y="132"/>
                </a:cubicBezTo>
                <a:cubicBezTo>
                  <a:pt x="329" y="132"/>
                  <a:pt x="329" y="132"/>
                  <a:pt x="329" y="132"/>
                </a:cubicBezTo>
                <a:cubicBezTo>
                  <a:pt x="327" y="133"/>
                  <a:pt x="323" y="130"/>
                  <a:pt x="319" y="132"/>
                </a:cubicBezTo>
                <a:cubicBezTo>
                  <a:pt x="319" y="132"/>
                  <a:pt x="319" y="134"/>
                  <a:pt x="318" y="134"/>
                </a:cubicBezTo>
                <a:cubicBezTo>
                  <a:pt x="316" y="137"/>
                  <a:pt x="313" y="135"/>
                  <a:pt x="311" y="134"/>
                </a:cubicBezTo>
                <a:cubicBezTo>
                  <a:pt x="309" y="137"/>
                  <a:pt x="309" y="137"/>
                  <a:pt x="309" y="137"/>
                </a:cubicBezTo>
                <a:cubicBezTo>
                  <a:pt x="309" y="137"/>
                  <a:pt x="309" y="137"/>
                  <a:pt x="311" y="138"/>
                </a:cubicBezTo>
                <a:cubicBezTo>
                  <a:pt x="309" y="140"/>
                  <a:pt x="307" y="139"/>
                  <a:pt x="311" y="142"/>
                </a:cubicBezTo>
                <a:cubicBezTo>
                  <a:pt x="309" y="142"/>
                  <a:pt x="308" y="142"/>
                  <a:pt x="306" y="142"/>
                </a:cubicBezTo>
                <a:cubicBezTo>
                  <a:pt x="307" y="140"/>
                  <a:pt x="304" y="142"/>
                  <a:pt x="304" y="142"/>
                </a:cubicBezTo>
                <a:cubicBezTo>
                  <a:pt x="304" y="143"/>
                  <a:pt x="304" y="145"/>
                  <a:pt x="304" y="146"/>
                </a:cubicBezTo>
                <a:cubicBezTo>
                  <a:pt x="304" y="146"/>
                  <a:pt x="302" y="145"/>
                  <a:pt x="301" y="145"/>
                </a:cubicBezTo>
                <a:cubicBezTo>
                  <a:pt x="301" y="146"/>
                  <a:pt x="300" y="149"/>
                  <a:pt x="301" y="148"/>
                </a:cubicBezTo>
                <a:cubicBezTo>
                  <a:pt x="300" y="147"/>
                  <a:pt x="300" y="148"/>
                  <a:pt x="300" y="147"/>
                </a:cubicBezTo>
                <a:cubicBezTo>
                  <a:pt x="298" y="146"/>
                  <a:pt x="298" y="148"/>
                  <a:pt x="301" y="148"/>
                </a:cubicBezTo>
                <a:cubicBezTo>
                  <a:pt x="301" y="150"/>
                  <a:pt x="301" y="150"/>
                  <a:pt x="301" y="150"/>
                </a:cubicBezTo>
                <a:cubicBezTo>
                  <a:pt x="299" y="150"/>
                  <a:pt x="300" y="148"/>
                  <a:pt x="297" y="149"/>
                </a:cubicBezTo>
                <a:cubicBezTo>
                  <a:pt x="296" y="149"/>
                  <a:pt x="294" y="154"/>
                  <a:pt x="292" y="154"/>
                </a:cubicBezTo>
                <a:cubicBezTo>
                  <a:pt x="290" y="154"/>
                  <a:pt x="289" y="154"/>
                  <a:pt x="288" y="154"/>
                </a:cubicBezTo>
                <a:cubicBezTo>
                  <a:pt x="288" y="154"/>
                  <a:pt x="288" y="157"/>
                  <a:pt x="288" y="157"/>
                </a:cubicBezTo>
                <a:cubicBezTo>
                  <a:pt x="292" y="158"/>
                  <a:pt x="294" y="157"/>
                  <a:pt x="299" y="157"/>
                </a:cubicBezTo>
                <a:cubicBezTo>
                  <a:pt x="293" y="158"/>
                  <a:pt x="293" y="159"/>
                  <a:pt x="292" y="164"/>
                </a:cubicBezTo>
                <a:cubicBezTo>
                  <a:pt x="293" y="164"/>
                  <a:pt x="292" y="165"/>
                  <a:pt x="293" y="165"/>
                </a:cubicBezTo>
                <a:cubicBezTo>
                  <a:pt x="294" y="165"/>
                  <a:pt x="295" y="164"/>
                  <a:pt x="296" y="164"/>
                </a:cubicBezTo>
                <a:cubicBezTo>
                  <a:pt x="295" y="165"/>
                  <a:pt x="293" y="168"/>
                  <a:pt x="292" y="169"/>
                </a:cubicBezTo>
                <a:cubicBezTo>
                  <a:pt x="292" y="169"/>
                  <a:pt x="291" y="168"/>
                  <a:pt x="290" y="168"/>
                </a:cubicBezTo>
                <a:cubicBezTo>
                  <a:pt x="288" y="168"/>
                  <a:pt x="286" y="170"/>
                  <a:pt x="284" y="170"/>
                </a:cubicBezTo>
                <a:cubicBezTo>
                  <a:pt x="285" y="174"/>
                  <a:pt x="284" y="174"/>
                  <a:pt x="286" y="178"/>
                </a:cubicBezTo>
                <a:cubicBezTo>
                  <a:pt x="285" y="178"/>
                  <a:pt x="284" y="178"/>
                  <a:pt x="283" y="178"/>
                </a:cubicBezTo>
                <a:cubicBezTo>
                  <a:pt x="282" y="179"/>
                  <a:pt x="283" y="181"/>
                  <a:pt x="283" y="182"/>
                </a:cubicBezTo>
                <a:cubicBezTo>
                  <a:pt x="282" y="182"/>
                  <a:pt x="282" y="182"/>
                  <a:pt x="281" y="183"/>
                </a:cubicBezTo>
                <a:cubicBezTo>
                  <a:pt x="280" y="183"/>
                  <a:pt x="281" y="184"/>
                  <a:pt x="282" y="184"/>
                </a:cubicBezTo>
                <a:cubicBezTo>
                  <a:pt x="282" y="184"/>
                  <a:pt x="282" y="185"/>
                  <a:pt x="283" y="185"/>
                </a:cubicBezTo>
                <a:cubicBezTo>
                  <a:pt x="282" y="185"/>
                  <a:pt x="282" y="187"/>
                  <a:pt x="282" y="187"/>
                </a:cubicBezTo>
                <a:cubicBezTo>
                  <a:pt x="280" y="188"/>
                  <a:pt x="279" y="188"/>
                  <a:pt x="276" y="187"/>
                </a:cubicBezTo>
                <a:cubicBezTo>
                  <a:pt x="273" y="192"/>
                  <a:pt x="274" y="194"/>
                  <a:pt x="276" y="200"/>
                </a:cubicBezTo>
                <a:cubicBezTo>
                  <a:pt x="277" y="200"/>
                  <a:pt x="278" y="200"/>
                  <a:pt x="279" y="200"/>
                </a:cubicBezTo>
                <a:cubicBezTo>
                  <a:pt x="279" y="200"/>
                  <a:pt x="279" y="198"/>
                  <a:pt x="279" y="198"/>
                </a:cubicBezTo>
                <a:cubicBezTo>
                  <a:pt x="279" y="198"/>
                  <a:pt x="281" y="198"/>
                  <a:pt x="282" y="198"/>
                </a:cubicBezTo>
                <a:cubicBezTo>
                  <a:pt x="282" y="198"/>
                  <a:pt x="281" y="196"/>
                  <a:pt x="282" y="195"/>
                </a:cubicBezTo>
                <a:cubicBezTo>
                  <a:pt x="282" y="196"/>
                  <a:pt x="284" y="196"/>
                  <a:pt x="284" y="197"/>
                </a:cubicBezTo>
                <a:cubicBezTo>
                  <a:pt x="284" y="198"/>
                  <a:pt x="284" y="198"/>
                  <a:pt x="284" y="198"/>
                </a:cubicBezTo>
                <a:cubicBezTo>
                  <a:pt x="286" y="199"/>
                  <a:pt x="287" y="197"/>
                  <a:pt x="287" y="197"/>
                </a:cubicBezTo>
                <a:cubicBezTo>
                  <a:pt x="288" y="196"/>
                  <a:pt x="290" y="196"/>
                  <a:pt x="292" y="195"/>
                </a:cubicBezTo>
                <a:cubicBezTo>
                  <a:pt x="291" y="196"/>
                  <a:pt x="291" y="197"/>
                  <a:pt x="291" y="197"/>
                </a:cubicBezTo>
                <a:cubicBezTo>
                  <a:pt x="291" y="197"/>
                  <a:pt x="289" y="199"/>
                  <a:pt x="290" y="199"/>
                </a:cubicBezTo>
                <a:cubicBezTo>
                  <a:pt x="290" y="199"/>
                  <a:pt x="291" y="201"/>
                  <a:pt x="292" y="202"/>
                </a:cubicBezTo>
                <a:cubicBezTo>
                  <a:pt x="295" y="202"/>
                  <a:pt x="295" y="202"/>
                  <a:pt x="298" y="201"/>
                </a:cubicBezTo>
                <a:cubicBezTo>
                  <a:pt x="298" y="202"/>
                  <a:pt x="298" y="205"/>
                  <a:pt x="298" y="205"/>
                </a:cubicBezTo>
                <a:cubicBezTo>
                  <a:pt x="296" y="206"/>
                  <a:pt x="297" y="204"/>
                  <a:pt x="295" y="205"/>
                </a:cubicBezTo>
                <a:cubicBezTo>
                  <a:pt x="295" y="207"/>
                  <a:pt x="295" y="207"/>
                  <a:pt x="295" y="207"/>
                </a:cubicBezTo>
                <a:cubicBezTo>
                  <a:pt x="293" y="206"/>
                  <a:pt x="293" y="206"/>
                  <a:pt x="292" y="207"/>
                </a:cubicBezTo>
                <a:cubicBezTo>
                  <a:pt x="289" y="208"/>
                  <a:pt x="294" y="209"/>
                  <a:pt x="294" y="209"/>
                </a:cubicBezTo>
                <a:cubicBezTo>
                  <a:pt x="294" y="209"/>
                  <a:pt x="295" y="212"/>
                  <a:pt x="293" y="211"/>
                </a:cubicBezTo>
                <a:cubicBezTo>
                  <a:pt x="293" y="212"/>
                  <a:pt x="292" y="212"/>
                  <a:pt x="291" y="212"/>
                </a:cubicBezTo>
                <a:cubicBezTo>
                  <a:pt x="292" y="215"/>
                  <a:pt x="292" y="215"/>
                  <a:pt x="292" y="215"/>
                </a:cubicBezTo>
                <a:cubicBezTo>
                  <a:pt x="294" y="214"/>
                  <a:pt x="298" y="213"/>
                  <a:pt x="300" y="213"/>
                </a:cubicBezTo>
                <a:cubicBezTo>
                  <a:pt x="301" y="213"/>
                  <a:pt x="303" y="216"/>
                  <a:pt x="304" y="217"/>
                </a:cubicBezTo>
                <a:cubicBezTo>
                  <a:pt x="305" y="217"/>
                  <a:pt x="305" y="217"/>
                  <a:pt x="305" y="217"/>
                </a:cubicBezTo>
                <a:cubicBezTo>
                  <a:pt x="306" y="216"/>
                  <a:pt x="305" y="215"/>
                  <a:pt x="305" y="214"/>
                </a:cubicBezTo>
                <a:cubicBezTo>
                  <a:pt x="305" y="214"/>
                  <a:pt x="307" y="213"/>
                  <a:pt x="307" y="212"/>
                </a:cubicBezTo>
                <a:cubicBezTo>
                  <a:pt x="311" y="215"/>
                  <a:pt x="313" y="215"/>
                  <a:pt x="318" y="213"/>
                </a:cubicBezTo>
                <a:cubicBezTo>
                  <a:pt x="319" y="215"/>
                  <a:pt x="318" y="215"/>
                  <a:pt x="319" y="215"/>
                </a:cubicBezTo>
                <a:cubicBezTo>
                  <a:pt x="319" y="215"/>
                  <a:pt x="320" y="214"/>
                  <a:pt x="319" y="213"/>
                </a:cubicBezTo>
                <a:cubicBezTo>
                  <a:pt x="319" y="213"/>
                  <a:pt x="318" y="212"/>
                  <a:pt x="317" y="212"/>
                </a:cubicBezTo>
                <a:cubicBezTo>
                  <a:pt x="318" y="212"/>
                  <a:pt x="317" y="210"/>
                  <a:pt x="317" y="209"/>
                </a:cubicBezTo>
                <a:cubicBezTo>
                  <a:pt x="320" y="210"/>
                  <a:pt x="321" y="209"/>
                  <a:pt x="323" y="210"/>
                </a:cubicBezTo>
                <a:cubicBezTo>
                  <a:pt x="324" y="210"/>
                  <a:pt x="324" y="212"/>
                  <a:pt x="327" y="212"/>
                </a:cubicBezTo>
                <a:cubicBezTo>
                  <a:pt x="327" y="212"/>
                  <a:pt x="330" y="210"/>
                  <a:pt x="331" y="209"/>
                </a:cubicBezTo>
                <a:cubicBezTo>
                  <a:pt x="322" y="207"/>
                  <a:pt x="316" y="204"/>
                  <a:pt x="313" y="197"/>
                </a:cubicBezTo>
                <a:cubicBezTo>
                  <a:pt x="312" y="197"/>
                  <a:pt x="313" y="195"/>
                  <a:pt x="312" y="195"/>
                </a:cubicBezTo>
                <a:cubicBezTo>
                  <a:pt x="310" y="194"/>
                  <a:pt x="310" y="194"/>
                  <a:pt x="310" y="194"/>
                </a:cubicBezTo>
                <a:cubicBezTo>
                  <a:pt x="310" y="192"/>
                  <a:pt x="313" y="190"/>
                  <a:pt x="309" y="188"/>
                </a:cubicBezTo>
                <a:cubicBezTo>
                  <a:pt x="309" y="187"/>
                  <a:pt x="309" y="187"/>
                  <a:pt x="309" y="187"/>
                </a:cubicBezTo>
                <a:cubicBezTo>
                  <a:pt x="310" y="186"/>
                  <a:pt x="311" y="186"/>
                  <a:pt x="311" y="186"/>
                </a:cubicBezTo>
                <a:cubicBezTo>
                  <a:pt x="311" y="185"/>
                  <a:pt x="311" y="185"/>
                  <a:pt x="311" y="185"/>
                </a:cubicBezTo>
                <a:cubicBezTo>
                  <a:pt x="312" y="186"/>
                  <a:pt x="312" y="182"/>
                  <a:pt x="312" y="182"/>
                </a:cubicBezTo>
                <a:cubicBezTo>
                  <a:pt x="312" y="182"/>
                  <a:pt x="311" y="182"/>
                  <a:pt x="311" y="181"/>
                </a:cubicBezTo>
                <a:cubicBezTo>
                  <a:pt x="311" y="180"/>
                  <a:pt x="311" y="180"/>
                  <a:pt x="311" y="180"/>
                </a:cubicBezTo>
                <a:cubicBezTo>
                  <a:pt x="311" y="180"/>
                  <a:pt x="313" y="179"/>
                  <a:pt x="313" y="179"/>
                </a:cubicBezTo>
                <a:cubicBezTo>
                  <a:pt x="314" y="177"/>
                  <a:pt x="313" y="174"/>
                  <a:pt x="313" y="173"/>
                </a:cubicBezTo>
                <a:cubicBezTo>
                  <a:pt x="314" y="172"/>
                  <a:pt x="316" y="172"/>
                  <a:pt x="316" y="171"/>
                </a:cubicBezTo>
                <a:cubicBezTo>
                  <a:pt x="316" y="171"/>
                  <a:pt x="316" y="170"/>
                  <a:pt x="316" y="169"/>
                </a:cubicBezTo>
                <a:cubicBezTo>
                  <a:pt x="316" y="169"/>
                  <a:pt x="315" y="168"/>
                  <a:pt x="315" y="168"/>
                </a:cubicBezTo>
                <a:cubicBezTo>
                  <a:pt x="314" y="168"/>
                  <a:pt x="312" y="168"/>
                  <a:pt x="311" y="168"/>
                </a:cubicBezTo>
                <a:cubicBezTo>
                  <a:pt x="310" y="168"/>
                  <a:pt x="309" y="166"/>
                  <a:pt x="309" y="166"/>
                </a:cubicBezTo>
                <a:cubicBezTo>
                  <a:pt x="306" y="165"/>
                  <a:pt x="303" y="167"/>
                  <a:pt x="302" y="167"/>
                </a:cubicBezTo>
                <a:cubicBezTo>
                  <a:pt x="301" y="163"/>
                  <a:pt x="301" y="163"/>
                  <a:pt x="301" y="163"/>
                </a:cubicBezTo>
                <a:cubicBezTo>
                  <a:pt x="302" y="164"/>
                  <a:pt x="306" y="167"/>
                  <a:pt x="309" y="165"/>
                </a:cubicBezTo>
                <a:cubicBezTo>
                  <a:pt x="309" y="165"/>
                  <a:pt x="308" y="164"/>
                  <a:pt x="310" y="164"/>
                </a:cubicBezTo>
                <a:cubicBezTo>
                  <a:pt x="310" y="164"/>
                  <a:pt x="311" y="166"/>
                  <a:pt x="311" y="167"/>
                </a:cubicBezTo>
                <a:cubicBezTo>
                  <a:pt x="313" y="167"/>
                  <a:pt x="316" y="166"/>
                  <a:pt x="316" y="166"/>
                </a:cubicBezTo>
                <a:cubicBezTo>
                  <a:pt x="317" y="165"/>
                  <a:pt x="319" y="165"/>
                  <a:pt x="319" y="163"/>
                </a:cubicBezTo>
                <a:cubicBezTo>
                  <a:pt x="320" y="163"/>
                  <a:pt x="319" y="162"/>
                  <a:pt x="319" y="161"/>
                </a:cubicBezTo>
                <a:cubicBezTo>
                  <a:pt x="318" y="162"/>
                  <a:pt x="319" y="160"/>
                  <a:pt x="319" y="159"/>
                </a:cubicBezTo>
                <a:cubicBezTo>
                  <a:pt x="319" y="159"/>
                  <a:pt x="320" y="161"/>
                  <a:pt x="321" y="161"/>
                </a:cubicBezTo>
                <a:cubicBezTo>
                  <a:pt x="321" y="161"/>
                  <a:pt x="322" y="160"/>
                  <a:pt x="323" y="161"/>
                </a:cubicBezTo>
                <a:cubicBezTo>
                  <a:pt x="325" y="159"/>
                  <a:pt x="322" y="159"/>
                  <a:pt x="323" y="157"/>
                </a:cubicBezTo>
                <a:cubicBezTo>
                  <a:pt x="324" y="157"/>
                  <a:pt x="326" y="157"/>
                  <a:pt x="327" y="157"/>
                </a:cubicBezTo>
                <a:cubicBezTo>
                  <a:pt x="327" y="156"/>
                  <a:pt x="327" y="156"/>
                  <a:pt x="327" y="156"/>
                </a:cubicBezTo>
                <a:cubicBezTo>
                  <a:pt x="327" y="155"/>
                  <a:pt x="326" y="152"/>
                  <a:pt x="325" y="151"/>
                </a:cubicBezTo>
                <a:cubicBezTo>
                  <a:pt x="326" y="151"/>
                  <a:pt x="327" y="150"/>
                  <a:pt x="328" y="151"/>
                </a:cubicBezTo>
                <a:cubicBezTo>
                  <a:pt x="329" y="154"/>
                  <a:pt x="329" y="154"/>
                  <a:pt x="329" y="154"/>
                </a:cubicBezTo>
                <a:cubicBezTo>
                  <a:pt x="332" y="152"/>
                  <a:pt x="332" y="152"/>
                  <a:pt x="332" y="152"/>
                </a:cubicBezTo>
                <a:cubicBezTo>
                  <a:pt x="333" y="150"/>
                  <a:pt x="332" y="149"/>
                  <a:pt x="333" y="148"/>
                </a:cubicBezTo>
                <a:cubicBezTo>
                  <a:pt x="334" y="148"/>
                  <a:pt x="335" y="148"/>
                  <a:pt x="335" y="148"/>
                </a:cubicBezTo>
                <a:cubicBezTo>
                  <a:pt x="335" y="147"/>
                  <a:pt x="336" y="145"/>
                  <a:pt x="335" y="146"/>
                </a:cubicBezTo>
                <a:cubicBezTo>
                  <a:pt x="334" y="145"/>
                  <a:pt x="335" y="144"/>
                  <a:pt x="334" y="144"/>
                </a:cubicBezTo>
                <a:cubicBezTo>
                  <a:pt x="336" y="144"/>
                  <a:pt x="337" y="144"/>
                  <a:pt x="339" y="143"/>
                </a:cubicBezTo>
                <a:cubicBezTo>
                  <a:pt x="339" y="142"/>
                  <a:pt x="339" y="141"/>
                  <a:pt x="339" y="141"/>
                </a:cubicBezTo>
                <a:cubicBezTo>
                  <a:pt x="340" y="141"/>
                  <a:pt x="343" y="141"/>
                  <a:pt x="345" y="142"/>
                </a:cubicBezTo>
                <a:cubicBezTo>
                  <a:pt x="345" y="140"/>
                  <a:pt x="344" y="139"/>
                  <a:pt x="346" y="139"/>
                </a:cubicBezTo>
                <a:cubicBezTo>
                  <a:pt x="347" y="139"/>
                  <a:pt x="349" y="141"/>
                  <a:pt x="351" y="140"/>
                </a:cubicBezTo>
                <a:cubicBezTo>
                  <a:pt x="352" y="140"/>
                  <a:pt x="351" y="137"/>
                  <a:pt x="351" y="137"/>
                </a:cubicBezTo>
                <a:cubicBezTo>
                  <a:pt x="352" y="136"/>
                  <a:pt x="353" y="137"/>
                  <a:pt x="354" y="137"/>
                </a:cubicBezTo>
                <a:cubicBezTo>
                  <a:pt x="355" y="137"/>
                  <a:pt x="355" y="134"/>
                  <a:pt x="356" y="134"/>
                </a:cubicBezTo>
                <a:cubicBezTo>
                  <a:pt x="357" y="133"/>
                  <a:pt x="358" y="134"/>
                  <a:pt x="359" y="134"/>
                </a:cubicBezTo>
                <a:cubicBezTo>
                  <a:pt x="360" y="132"/>
                  <a:pt x="360" y="132"/>
                  <a:pt x="360" y="132"/>
                </a:cubicBezTo>
                <a:cubicBezTo>
                  <a:pt x="360" y="132"/>
                  <a:pt x="367" y="130"/>
                  <a:pt x="367" y="130"/>
                </a:cubicBezTo>
                <a:cubicBezTo>
                  <a:pt x="369" y="129"/>
                  <a:pt x="369" y="131"/>
                  <a:pt x="372" y="130"/>
                </a:cubicBezTo>
                <a:cubicBezTo>
                  <a:pt x="374" y="130"/>
                  <a:pt x="378" y="126"/>
                  <a:pt x="380" y="126"/>
                </a:cubicBezTo>
                <a:cubicBezTo>
                  <a:pt x="381" y="126"/>
                  <a:pt x="382" y="128"/>
                  <a:pt x="383" y="128"/>
                </a:cubicBezTo>
                <a:cubicBezTo>
                  <a:pt x="383" y="128"/>
                  <a:pt x="384" y="126"/>
                  <a:pt x="384" y="126"/>
                </a:cubicBezTo>
                <a:cubicBezTo>
                  <a:pt x="385" y="126"/>
                  <a:pt x="386" y="126"/>
                  <a:pt x="387" y="126"/>
                </a:cubicBezTo>
                <a:cubicBezTo>
                  <a:pt x="387" y="126"/>
                  <a:pt x="389" y="124"/>
                  <a:pt x="389" y="124"/>
                </a:cubicBezTo>
                <a:cubicBezTo>
                  <a:pt x="393" y="123"/>
                  <a:pt x="396" y="124"/>
                  <a:pt x="401" y="123"/>
                </a:cubicBezTo>
                <a:cubicBezTo>
                  <a:pt x="401" y="123"/>
                  <a:pt x="403" y="121"/>
                  <a:pt x="404" y="121"/>
                </a:cubicBezTo>
                <a:cubicBezTo>
                  <a:pt x="405" y="121"/>
                  <a:pt x="407" y="121"/>
                  <a:pt x="408" y="121"/>
                </a:cubicBezTo>
                <a:cubicBezTo>
                  <a:pt x="408" y="121"/>
                  <a:pt x="409" y="119"/>
                  <a:pt x="410" y="119"/>
                </a:cubicBezTo>
                <a:cubicBezTo>
                  <a:pt x="411" y="119"/>
                  <a:pt x="412" y="119"/>
                  <a:pt x="412" y="119"/>
                </a:cubicBezTo>
                <a:cubicBezTo>
                  <a:pt x="413" y="119"/>
                  <a:pt x="413" y="117"/>
                  <a:pt x="413" y="117"/>
                </a:cubicBezTo>
                <a:cubicBezTo>
                  <a:pt x="415" y="116"/>
                  <a:pt x="415" y="117"/>
                  <a:pt x="416" y="116"/>
                </a:cubicBezTo>
                <a:cubicBezTo>
                  <a:pt x="417" y="115"/>
                  <a:pt x="418" y="111"/>
                  <a:pt x="418" y="109"/>
                </a:cubicBezTo>
                <a:cubicBezTo>
                  <a:pt x="418" y="108"/>
                  <a:pt x="415" y="108"/>
                  <a:pt x="415" y="108"/>
                </a:cubicBezTo>
                <a:cubicBezTo>
                  <a:pt x="415" y="107"/>
                  <a:pt x="415" y="105"/>
                  <a:pt x="414" y="105"/>
                </a:cubicBezTo>
                <a:cubicBezTo>
                  <a:pt x="414" y="104"/>
                  <a:pt x="411" y="104"/>
                  <a:pt x="410" y="104"/>
                </a:cubicBezTo>
                <a:close/>
                <a:moveTo>
                  <a:pt x="1027" y="120"/>
                </a:moveTo>
                <a:cubicBezTo>
                  <a:pt x="1025" y="121"/>
                  <a:pt x="1021" y="127"/>
                  <a:pt x="1019" y="128"/>
                </a:cubicBezTo>
                <a:cubicBezTo>
                  <a:pt x="1019" y="128"/>
                  <a:pt x="1019" y="128"/>
                  <a:pt x="1019" y="128"/>
                </a:cubicBezTo>
                <a:cubicBezTo>
                  <a:pt x="1018" y="129"/>
                  <a:pt x="1019" y="130"/>
                  <a:pt x="1019" y="132"/>
                </a:cubicBezTo>
                <a:cubicBezTo>
                  <a:pt x="1018" y="132"/>
                  <a:pt x="1016" y="133"/>
                  <a:pt x="1016" y="134"/>
                </a:cubicBezTo>
                <a:cubicBezTo>
                  <a:pt x="1016" y="137"/>
                  <a:pt x="1017" y="138"/>
                  <a:pt x="1017" y="140"/>
                </a:cubicBezTo>
                <a:cubicBezTo>
                  <a:pt x="1017" y="140"/>
                  <a:pt x="1016" y="139"/>
                  <a:pt x="1016" y="140"/>
                </a:cubicBezTo>
                <a:cubicBezTo>
                  <a:pt x="1016" y="141"/>
                  <a:pt x="1018" y="141"/>
                  <a:pt x="1018" y="142"/>
                </a:cubicBezTo>
                <a:cubicBezTo>
                  <a:pt x="1018" y="142"/>
                  <a:pt x="1018" y="143"/>
                  <a:pt x="1018" y="144"/>
                </a:cubicBezTo>
                <a:cubicBezTo>
                  <a:pt x="1019" y="144"/>
                  <a:pt x="1019" y="144"/>
                  <a:pt x="1019" y="144"/>
                </a:cubicBezTo>
                <a:cubicBezTo>
                  <a:pt x="1018" y="144"/>
                  <a:pt x="1020" y="146"/>
                  <a:pt x="1017" y="146"/>
                </a:cubicBezTo>
                <a:cubicBezTo>
                  <a:pt x="1017" y="146"/>
                  <a:pt x="1017" y="146"/>
                  <a:pt x="1017" y="146"/>
                </a:cubicBezTo>
                <a:cubicBezTo>
                  <a:pt x="1018" y="147"/>
                  <a:pt x="1019" y="146"/>
                  <a:pt x="1020" y="147"/>
                </a:cubicBezTo>
                <a:cubicBezTo>
                  <a:pt x="1021" y="147"/>
                  <a:pt x="1021" y="150"/>
                  <a:pt x="1021" y="150"/>
                </a:cubicBezTo>
                <a:cubicBezTo>
                  <a:pt x="1023" y="152"/>
                  <a:pt x="1026" y="152"/>
                  <a:pt x="1029" y="153"/>
                </a:cubicBezTo>
                <a:cubicBezTo>
                  <a:pt x="1030" y="152"/>
                  <a:pt x="1033" y="149"/>
                  <a:pt x="1034" y="147"/>
                </a:cubicBezTo>
                <a:cubicBezTo>
                  <a:pt x="1034" y="146"/>
                  <a:pt x="1034" y="145"/>
                  <a:pt x="1034" y="144"/>
                </a:cubicBezTo>
                <a:cubicBezTo>
                  <a:pt x="1035" y="144"/>
                  <a:pt x="1035" y="144"/>
                  <a:pt x="1035" y="144"/>
                </a:cubicBezTo>
                <a:cubicBezTo>
                  <a:pt x="1040" y="138"/>
                  <a:pt x="1040" y="138"/>
                  <a:pt x="1040" y="138"/>
                </a:cubicBezTo>
                <a:cubicBezTo>
                  <a:pt x="1040" y="137"/>
                  <a:pt x="1039" y="132"/>
                  <a:pt x="1039" y="132"/>
                </a:cubicBezTo>
                <a:cubicBezTo>
                  <a:pt x="1038" y="131"/>
                  <a:pt x="1036" y="130"/>
                  <a:pt x="1035" y="130"/>
                </a:cubicBezTo>
                <a:cubicBezTo>
                  <a:pt x="1035" y="129"/>
                  <a:pt x="1035" y="127"/>
                  <a:pt x="1035" y="126"/>
                </a:cubicBezTo>
                <a:cubicBezTo>
                  <a:pt x="1034" y="126"/>
                  <a:pt x="1033" y="126"/>
                  <a:pt x="1032" y="126"/>
                </a:cubicBezTo>
                <a:cubicBezTo>
                  <a:pt x="1031" y="126"/>
                  <a:pt x="1030" y="123"/>
                  <a:pt x="1029" y="123"/>
                </a:cubicBezTo>
                <a:cubicBezTo>
                  <a:pt x="1028" y="122"/>
                  <a:pt x="1028" y="123"/>
                  <a:pt x="1027" y="122"/>
                </a:cubicBezTo>
                <a:cubicBezTo>
                  <a:pt x="1027" y="122"/>
                  <a:pt x="1028" y="119"/>
                  <a:pt x="1027" y="120"/>
                </a:cubicBezTo>
                <a:close/>
                <a:moveTo>
                  <a:pt x="727" y="122"/>
                </a:moveTo>
                <a:cubicBezTo>
                  <a:pt x="731" y="123"/>
                  <a:pt x="728" y="125"/>
                  <a:pt x="730" y="126"/>
                </a:cubicBezTo>
                <a:cubicBezTo>
                  <a:pt x="731" y="126"/>
                  <a:pt x="731" y="125"/>
                  <a:pt x="732" y="126"/>
                </a:cubicBezTo>
                <a:cubicBezTo>
                  <a:pt x="732" y="127"/>
                  <a:pt x="732" y="127"/>
                  <a:pt x="732" y="127"/>
                </a:cubicBezTo>
                <a:cubicBezTo>
                  <a:pt x="731" y="127"/>
                  <a:pt x="729" y="129"/>
                  <a:pt x="728" y="129"/>
                </a:cubicBezTo>
                <a:cubicBezTo>
                  <a:pt x="727" y="129"/>
                  <a:pt x="726" y="129"/>
                  <a:pt x="726" y="129"/>
                </a:cubicBezTo>
                <a:cubicBezTo>
                  <a:pt x="725" y="129"/>
                  <a:pt x="724" y="131"/>
                  <a:pt x="724" y="132"/>
                </a:cubicBezTo>
                <a:cubicBezTo>
                  <a:pt x="722" y="132"/>
                  <a:pt x="720" y="132"/>
                  <a:pt x="718" y="133"/>
                </a:cubicBezTo>
                <a:cubicBezTo>
                  <a:pt x="718" y="133"/>
                  <a:pt x="718" y="135"/>
                  <a:pt x="718" y="136"/>
                </a:cubicBezTo>
                <a:cubicBezTo>
                  <a:pt x="716" y="137"/>
                  <a:pt x="714" y="136"/>
                  <a:pt x="714" y="138"/>
                </a:cubicBezTo>
                <a:cubicBezTo>
                  <a:pt x="713" y="138"/>
                  <a:pt x="714" y="139"/>
                  <a:pt x="714" y="140"/>
                </a:cubicBezTo>
                <a:cubicBezTo>
                  <a:pt x="713" y="140"/>
                  <a:pt x="712" y="140"/>
                  <a:pt x="712" y="140"/>
                </a:cubicBezTo>
                <a:cubicBezTo>
                  <a:pt x="710" y="137"/>
                  <a:pt x="712" y="137"/>
                  <a:pt x="706" y="136"/>
                </a:cubicBezTo>
                <a:cubicBezTo>
                  <a:pt x="708" y="133"/>
                  <a:pt x="707" y="132"/>
                  <a:pt x="708" y="129"/>
                </a:cubicBezTo>
                <a:cubicBezTo>
                  <a:pt x="708" y="129"/>
                  <a:pt x="709" y="128"/>
                  <a:pt x="710" y="128"/>
                </a:cubicBezTo>
                <a:cubicBezTo>
                  <a:pt x="710" y="129"/>
                  <a:pt x="711" y="130"/>
                  <a:pt x="712" y="131"/>
                </a:cubicBezTo>
                <a:cubicBezTo>
                  <a:pt x="715" y="130"/>
                  <a:pt x="719" y="130"/>
                  <a:pt x="722" y="129"/>
                </a:cubicBezTo>
                <a:cubicBezTo>
                  <a:pt x="724" y="128"/>
                  <a:pt x="726" y="127"/>
                  <a:pt x="728" y="126"/>
                </a:cubicBezTo>
                <a:cubicBezTo>
                  <a:pt x="727" y="126"/>
                  <a:pt x="728" y="124"/>
                  <a:pt x="726" y="125"/>
                </a:cubicBezTo>
                <a:cubicBezTo>
                  <a:pt x="726" y="124"/>
                  <a:pt x="726" y="122"/>
                  <a:pt x="727" y="122"/>
                </a:cubicBezTo>
                <a:close/>
                <a:moveTo>
                  <a:pt x="1063" y="127"/>
                </a:moveTo>
                <a:cubicBezTo>
                  <a:pt x="1063" y="128"/>
                  <a:pt x="1065" y="129"/>
                  <a:pt x="1065" y="130"/>
                </a:cubicBezTo>
                <a:cubicBezTo>
                  <a:pt x="1066" y="132"/>
                  <a:pt x="1064" y="136"/>
                  <a:pt x="1065" y="138"/>
                </a:cubicBezTo>
                <a:cubicBezTo>
                  <a:pt x="1065" y="139"/>
                  <a:pt x="1067" y="141"/>
                  <a:pt x="1067" y="142"/>
                </a:cubicBezTo>
                <a:cubicBezTo>
                  <a:pt x="1068" y="142"/>
                  <a:pt x="1069" y="142"/>
                  <a:pt x="1070" y="142"/>
                </a:cubicBezTo>
                <a:cubicBezTo>
                  <a:pt x="1071" y="141"/>
                  <a:pt x="1072" y="140"/>
                  <a:pt x="1073" y="139"/>
                </a:cubicBezTo>
                <a:cubicBezTo>
                  <a:pt x="1074" y="138"/>
                  <a:pt x="1075" y="138"/>
                  <a:pt x="1077" y="138"/>
                </a:cubicBezTo>
                <a:cubicBezTo>
                  <a:pt x="1078" y="134"/>
                  <a:pt x="1078" y="129"/>
                  <a:pt x="1072" y="130"/>
                </a:cubicBezTo>
                <a:cubicBezTo>
                  <a:pt x="1072" y="130"/>
                  <a:pt x="1071" y="131"/>
                  <a:pt x="1069" y="131"/>
                </a:cubicBezTo>
                <a:cubicBezTo>
                  <a:pt x="1068" y="131"/>
                  <a:pt x="1067" y="128"/>
                  <a:pt x="1066" y="128"/>
                </a:cubicBezTo>
                <a:cubicBezTo>
                  <a:pt x="1065" y="127"/>
                  <a:pt x="1064" y="127"/>
                  <a:pt x="1063" y="127"/>
                </a:cubicBezTo>
                <a:close/>
                <a:moveTo>
                  <a:pt x="1101" y="128"/>
                </a:moveTo>
                <a:cubicBezTo>
                  <a:pt x="1101" y="130"/>
                  <a:pt x="1101" y="133"/>
                  <a:pt x="1100" y="136"/>
                </a:cubicBezTo>
                <a:cubicBezTo>
                  <a:pt x="1101" y="136"/>
                  <a:pt x="1106" y="139"/>
                  <a:pt x="1106" y="140"/>
                </a:cubicBezTo>
                <a:cubicBezTo>
                  <a:pt x="1108" y="140"/>
                  <a:pt x="1111" y="139"/>
                  <a:pt x="1112" y="140"/>
                </a:cubicBezTo>
                <a:cubicBezTo>
                  <a:pt x="1113" y="140"/>
                  <a:pt x="1113" y="141"/>
                  <a:pt x="1114" y="142"/>
                </a:cubicBezTo>
                <a:cubicBezTo>
                  <a:pt x="1115" y="142"/>
                  <a:pt x="1121" y="141"/>
                  <a:pt x="1123" y="140"/>
                </a:cubicBezTo>
                <a:cubicBezTo>
                  <a:pt x="1124" y="140"/>
                  <a:pt x="1123" y="139"/>
                  <a:pt x="1124" y="138"/>
                </a:cubicBezTo>
                <a:cubicBezTo>
                  <a:pt x="1125" y="137"/>
                  <a:pt x="1128" y="136"/>
                  <a:pt x="1131" y="136"/>
                </a:cubicBezTo>
                <a:cubicBezTo>
                  <a:pt x="1130" y="133"/>
                  <a:pt x="1130" y="133"/>
                  <a:pt x="1130" y="133"/>
                </a:cubicBezTo>
                <a:cubicBezTo>
                  <a:pt x="1130" y="133"/>
                  <a:pt x="1128" y="131"/>
                  <a:pt x="1128" y="131"/>
                </a:cubicBezTo>
                <a:cubicBezTo>
                  <a:pt x="1126" y="130"/>
                  <a:pt x="1121" y="130"/>
                  <a:pt x="1118" y="130"/>
                </a:cubicBezTo>
                <a:cubicBezTo>
                  <a:pt x="1118" y="129"/>
                  <a:pt x="1116" y="128"/>
                  <a:pt x="1116" y="128"/>
                </a:cubicBezTo>
                <a:cubicBezTo>
                  <a:pt x="1114" y="127"/>
                  <a:pt x="1111" y="129"/>
                  <a:pt x="1110" y="129"/>
                </a:cubicBezTo>
                <a:cubicBezTo>
                  <a:pt x="1106" y="129"/>
                  <a:pt x="1104" y="128"/>
                  <a:pt x="1101" y="128"/>
                </a:cubicBezTo>
                <a:close/>
                <a:moveTo>
                  <a:pt x="1040" y="152"/>
                </a:moveTo>
                <a:cubicBezTo>
                  <a:pt x="1040" y="152"/>
                  <a:pt x="1039" y="153"/>
                  <a:pt x="1039" y="154"/>
                </a:cubicBezTo>
                <a:cubicBezTo>
                  <a:pt x="1038" y="156"/>
                  <a:pt x="1040" y="155"/>
                  <a:pt x="1040" y="156"/>
                </a:cubicBezTo>
                <a:cubicBezTo>
                  <a:pt x="1039" y="156"/>
                  <a:pt x="1042" y="157"/>
                  <a:pt x="1042" y="157"/>
                </a:cubicBezTo>
                <a:cubicBezTo>
                  <a:pt x="1042" y="157"/>
                  <a:pt x="1043" y="157"/>
                  <a:pt x="1043" y="156"/>
                </a:cubicBezTo>
                <a:cubicBezTo>
                  <a:pt x="1043" y="156"/>
                  <a:pt x="1043" y="155"/>
                  <a:pt x="1043" y="154"/>
                </a:cubicBezTo>
                <a:cubicBezTo>
                  <a:pt x="1043" y="154"/>
                  <a:pt x="1042" y="152"/>
                  <a:pt x="1043" y="152"/>
                </a:cubicBezTo>
                <a:cubicBezTo>
                  <a:pt x="1042" y="152"/>
                  <a:pt x="1040" y="152"/>
                  <a:pt x="1040" y="152"/>
                </a:cubicBezTo>
                <a:close/>
                <a:moveTo>
                  <a:pt x="1053" y="155"/>
                </a:moveTo>
                <a:cubicBezTo>
                  <a:pt x="1052" y="155"/>
                  <a:pt x="1051" y="157"/>
                  <a:pt x="1051" y="157"/>
                </a:cubicBezTo>
                <a:cubicBezTo>
                  <a:pt x="1049" y="158"/>
                  <a:pt x="1046" y="158"/>
                  <a:pt x="1045" y="159"/>
                </a:cubicBezTo>
                <a:cubicBezTo>
                  <a:pt x="1043" y="161"/>
                  <a:pt x="1044" y="163"/>
                  <a:pt x="1041" y="164"/>
                </a:cubicBezTo>
                <a:cubicBezTo>
                  <a:pt x="1040" y="165"/>
                  <a:pt x="1039" y="165"/>
                  <a:pt x="1037" y="165"/>
                </a:cubicBezTo>
                <a:cubicBezTo>
                  <a:pt x="1038" y="167"/>
                  <a:pt x="1038" y="167"/>
                  <a:pt x="1038" y="167"/>
                </a:cubicBezTo>
                <a:cubicBezTo>
                  <a:pt x="1039" y="168"/>
                  <a:pt x="1041" y="167"/>
                  <a:pt x="1043" y="167"/>
                </a:cubicBezTo>
                <a:cubicBezTo>
                  <a:pt x="1043" y="168"/>
                  <a:pt x="1045" y="169"/>
                  <a:pt x="1046" y="169"/>
                </a:cubicBezTo>
                <a:cubicBezTo>
                  <a:pt x="1049" y="170"/>
                  <a:pt x="1049" y="168"/>
                  <a:pt x="1052" y="168"/>
                </a:cubicBezTo>
                <a:cubicBezTo>
                  <a:pt x="1052" y="168"/>
                  <a:pt x="1054" y="170"/>
                  <a:pt x="1055" y="170"/>
                </a:cubicBezTo>
                <a:cubicBezTo>
                  <a:pt x="1059" y="171"/>
                  <a:pt x="1064" y="171"/>
                  <a:pt x="1068" y="171"/>
                </a:cubicBezTo>
                <a:cubicBezTo>
                  <a:pt x="1068" y="169"/>
                  <a:pt x="1069" y="166"/>
                  <a:pt x="1068" y="163"/>
                </a:cubicBezTo>
                <a:cubicBezTo>
                  <a:pt x="1067" y="162"/>
                  <a:pt x="1065" y="162"/>
                  <a:pt x="1064" y="161"/>
                </a:cubicBezTo>
                <a:cubicBezTo>
                  <a:pt x="1063" y="161"/>
                  <a:pt x="1063" y="160"/>
                  <a:pt x="1063" y="159"/>
                </a:cubicBezTo>
                <a:cubicBezTo>
                  <a:pt x="1060" y="157"/>
                  <a:pt x="1059" y="157"/>
                  <a:pt x="1055" y="156"/>
                </a:cubicBezTo>
                <a:cubicBezTo>
                  <a:pt x="1055" y="156"/>
                  <a:pt x="1053" y="155"/>
                  <a:pt x="1053" y="155"/>
                </a:cubicBezTo>
                <a:close/>
                <a:moveTo>
                  <a:pt x="1387" y="202"/>
                </a:moveTo>
                <a:cubicBezTo>
                  <a:pt x="1385" y="204"/>
                  <a:pt x="1385" y="205"/>
                  <a:pt x="1382" y="206"/>
                </a:cubicBezTo>
                <a:cubicBezTo>
                  <a:pt x="1382" y="206"/>
                  <a:pt x="1381" y="206"/>
                  <a:pt x="1380" y="206"/>
                </a:cubicBezTo>
                <a:cubicBezTo>
                  <a:pt x="1376" y="211"/>
                  <a:pt x="1376" y="211"/>
                  <a:pt x="1376" y="211"/>
                </a:cubicBezTo>
                <a:cubicBezTo>
                  <a:pt x="1375" y="212"/>
                  <a:pt x="1376" y="213"/>
                  <a:pt x="1376" y="213"/>
                </a:cubicBezTo>
                <a:cubicBezTo>
                  <a:pt x="1379" y="214"/>
                  <a:pt x="1384" y="215"/>
                  <a:pt x="1387" y="215"/>
                </a:cubicBezTo>
                <a:cubicBezTo>
                  <a:pt x="1388" y="214"/>
                  <a:pt x="1389" y="212"/>
                  <a:pt x="1392" y="212"/>
                </a:cubicBezTo>
                <a:cubicBezTo>
                  <a:pt x="1392" y="213"/>
                  <a:pt x="1392" y="213"/>
                  <a:pt x="1392" y="213"/>
                </a:cubicBezTo>
                <a:cubicBezTo>
                  <a:pt x="1395" y="214"/>
                  <a:pt x="1402" y="214"/>
                  <a:pt x="1405" y="215"/>
                </a:cubicBezTo>
                <a:cubicBezTo>
                  <a:pt x="1405" y="212"/>
                  <a:pt x="1406" y="211"/>
                  <a:pt x="1405" y="209"/>
                </a:cubicBezTo>
                <a:cubicBezTo>
                  <a:pt x="1404" y="209"/>
                  <a:pt x="1403" y="207"/>
                  <a:pt x="1403" y="207"/>
                </a:cubicBezTo>
                <a:cubicBezTo>
                  <a:pt x="1400" y="205"/>
                  <a:pt x="1396" y="206"/>
                  <a:pt x="1393" y="205"/>
                </a:cubicBezTo>
                <a:cubicBezTo>
                  <a:pt x="1391" y="205"/>
                  <a:pt x="1389" y="203"/>
                  <a:pt x="1387" y="202"/>
                </a:cubicBezTo>
                <a:close/>
                <a:moveTo>
                  <a:pt x="1285" y="219"/>
                </a:moveTo>
                <a:cubicBezTo>
                  <a:pt x="1284" y="220"/>
                  <a:pt x="1284" y="219"/>
                  <a:pt x="1283" y="220"/>
                </a:cubicBezTo>
                <a:cubicBezTo>
                  <a:pt x="1282" y="221"/>
                  <a:pt x="1283" y="222"/>
                  <a:pt x="1283" y="223"/>
                </a:cubicBezTo>
                <a:cubicBezTo>
                  <a:pt x="1285" y="225"/>
                  <a:pt x="1287" y="227"/>
                  <a:pt x="1291" y="225"/>
                </a:cubicBezTo>
                <a:cubicBezTo>
                  <a:pt x="1291" y="225"/>
                  <a:pt x="1291" y="224"/>
                  <a:pt x="1292" y="223"/>
                </a:cubicBezTo>
                <a:lnTo>
                  <a:pt x="1285" y="219"/>
                </a:lnTo>
                <a:close/>
                <a:moveTo>
                  <a:pt x="133" y="335"/>
                </a:moveTo>
                <a:cubicBezTo>
                  <a:pt x="134" y="335"/>
                  <a:pt x="136" y="336"/>
                  <a:pt x="136" y="336"/>
                </a:cubicBezTo>
                <a:cubicBezTo>
                  <a:pt x="137" y="337"/>
                  <a:pt x="139" y="336"/>
                  <a:pt x="141" y="336"/>
                </a:cubicBezTo>
                <a:cubicBezTo>
                  <a:pt x="141" y="337"/>
                  <a:pt x="142" y="338"/>
                  <a:pt x="143" y="338"/>
                </a:cubicBezTo>
                <a:cubicBezTo>
                  <a:pt x="143" y="341"/>
                  <a:pt x="141" y="344"/>
                  <a:pt x="143" y="347"/>
                </a:cubicBezTo>
                <a:cubicBezTo>
                  <a:pt x="143" y="348"/>
                  <a:pt x="145" y="349"/>
                  <a:pt x="146" y="350"/>
                </a:cubicBezTo>
                <a:cubicBezTo>
                  <a:pt x="146" y="350"/>
                  <a:pt x="149" y="354"/>
                  <a:pt x="148" y="354"/>
                </a:cubicBezTo>
                <a:cubicBezTo>
                  <a:pt x="146" y="355"/>
                  <a:pt x="147" y="356"/>
                  <a:pt x="147" y="358"/>
                </a:cubicBezTo>
                <a:cubicBezTo>
                  <a:pt x="146" y="359"/>
                  <a:pt x="145" y="359"/>
                  <a:pt x="145" y="360"/>
                </a:cubicBezTo>
                <a:cubicBezTo>
                  <a:pt x="145" y="360"/>
                  <a:pt x="144" y="361"/>
                  <a:pt x="144" y="361"/>
                </a:cubicBezTo>
                <a:cubicBezTo>
                  <a:pt x="144" y="360"/>
                  <a:pt x="142" y="358"/>
                  <a:pt x="141" y="357"/>
                </a:cubicBezTo>
                <a:cubicBezTo>
                  <a:pt x="141" y="356"/>
                  <a:pt x="139" y="353"/>
                  <a:pt x="138" y="353"/>
                </a:cubicBezTo>
                <a:cubicBezTo>
                  <a:pt x="138" y="353"/>
                  <a:pt x="136" y="353"/>
                  <a:pt x="136" y="353"/>
                </a:cubicBezTo>
                <a:cubicBezTo>
                  <a:pt x="135" y="352"/>
                  <a:pt x="136" y="351"/>
                  <a:pt x="135" y="350"/>
                </a:cubicBezTo>
                <a:cubicBezTo>
                  <a:pt x="135" y="349"/>
                  <a:pt x="132" y="349"/>
                  <a:pt x="131" y="348"/>
                </a:cubicBezTo>
                <a:cubicBezTo>
                  <a:pt x="131" y="348"/>
                  <a:pt x="131" y="346"/>
                  <a:pt x="131" y="346"/>
                </a:cubicBezTo>
                <a:cubicBezTo>
                  <a:pt x="132" y="347"/>
                  <a:pt x="133" y="346"/>
                  <a:pt x="134" y="346"/>
                </a:cubicBezTo>
                <a:cubicBezTo>
                  <a:pt x="134" y="347"/>
                  <a:pt x="134" y="348"/>
                  <a:pt x="135" y="348"/>
                </a:cubicBezTo>
                <a:cubicBezTo>
                  <a:pt x="136" y="354"/>
                  <a:pt x="136" y="348"/>
                  <a:pt x="134" y="346"/>
                </a:cubicBezTo>
                <a:cubicBezTo>
                  <a:pt x="135" y="346"/>
                  <a:pt x="135" y="346"/>
                  <a:pt x="135" y="346"/>
                </a:cubicBezTo>
                <a:cubicBezTo>
                  <a:pt x="135" y="346"/>
                  <a:pt x="135" y="346"/>
                  <a:pt x="135" y="345"/>
                </a:cubicBezTo>
                <a:cubicBezTo>
                  <a:pt x="140" y="344"/>
                  <a:pt x="138" y="349"/>
                  <a:pt x="139" y="339"/>
                </a:cubicBezTo>
                <a:cubicBezTo>
                  <a:pt x="138" y="339"/>
                  <a:pt x="137" y="339"/>
                  <a:pt x="135" y="340"/>
                </a:cubicBezTo>
                <a:cubicBezTo>
                  <a:pt x="135" y="340"/>
                  <a:pt x="135" y="340"/>
                  <a:pt x="135" y="340"/>
                </a:cubicBezTo>
                <a:cubicBezTo>
                  <a:pt x="134" y="340"/>
                  <a:pt x="134" y="338"/>
                  <a:pt x="133" y="338"/>
                </a:cubicBezTo>
                <a:cubicBezTo>
                  <a:pt x="133" y="338"/>
                  <a:pt x="134" y="336"/>
                  <a:pt x="133" y="336"/>
                </a:cubicBezTo>
                <a:cubicBezTo>
                  <a:pt x="132" y="336"/>
                  <a:pt x="132" y="335"/>
                  <a:pt x="133" y="335"/>
                </a:cubicBezTo>
                <a:close/>
                <a:moveTo>
                  <a:pt x="99" y="347"/>
                </a:moveTo>
                <a:cubicBezTo>
                  <a:pt x="101" y="347"/>
                  <a:pt x="99" y="348"/>
                  <a:pt x="100" y="348"/>
                </a:cubicBezTo>
                <a:cubicBezTo>
                  <a:pt x="101" y="349"/>
                  <a:pt x="103" y="348"/>
                  <a:pt x="104" y="348"/>
                </a:cubicBezTo>
                <a:cubicBezTo>
                  <a:pt x="104" y="349"/>
                  <a:pt x="105" y="351"/>
                  <a:pt x="105" y="352"/>
                </a:cubicBezTo>
                <a:cubicBezTo>
                  <a:pt x="106" y="352"/>
                  <a:pt x="107" y="352"/>
                  <a:pt x="108" y="352"/>
                </a:cubicBezTo>
                <a:cubicBezTo>
                  <a:pt x="113" y="356"/>
                  <a:pt x="114" y="360"/>
                  <a:pt x="117" y="366"/>
                </a:cubicBezTo>
                <a:cubicBezTo>
                  <a:pt x="115" y="366"/>
                  <a:pt x="115" y="365"/>
                  <a:pt x="113" y="365"/>
                </a:cubicBezTo>
                <a:cubicBezTo>
                  <a:pt x="113" y="367"/>
                  <a:pt x="114" y="368"/>
                  <a:pt x="113" y="369"/>
                </a:cubicBezTo>
                <a:cubicBezTo>
                  <a:pt x="112" y="369"/>
                  <a:pt x="111" y="368"/>
                  <a:pt x="111" y="368"/>
                </a:cubicBezTo>
                <a:cubicBezTo>
                  <a:pt x="108" y="368"/>
                  <a:pt x="108" y="369"/>
                  <a:pt x="105" y="372"/>
                </a:cubicBezTo>
                <a:cubicBezTo>
                  <a:pt x="104" y="371"/>
                  <a:pt x="103" y="371"/>
                  <a:pt x="101" y="371"/>
                </a:cubicBezTo>
                <a:cubicBezTo>
                  <a:pt x="101" y="370"/>
                  <a:pt x="102" y="368"/>
                  <a:pt x="101" y="367"/>
                </a:cubicBezTo>
                <a:cubicBezTo>
                  <a:pt x="101" y="365"/>
                  <a:pt x="97" y="364"/>
                  <a:pt x="97" y="362"/>
                </a:cubicBezTo>
                <a:cubicBezTo>
                  <a:pt x="96" y="360"/>
                  <a:pt x="97" y="359"/>
                  <a:pt x="96" y="357"/>
                </a:cubicBezTo>
                <a:cubicBezTo>
                  <a:pt x="96" y="356"/>
                  <a:pt x="93" y="356"/>
                  <a:pt x="93" y="355"/>
                </a:cubicBezTo>
                <a:cubicBezTo>
                  <a:pt x="92" y="354"/>
                  <a:pt x="92" y="353"/>
                  <a:pt x="91" y="352"/>
                </a:cubicBezTo>
                <a:cubicBezTo>
                  <a:pt x="93" y="352"/>
                  <a:pt x="93" y="352"/>
                  <a:pt x="93" y="352"/>
                </a:cubicBezTo>
                <a:cubicBezTo>
                  <a:pt x="93" y="351"/>
                  <a:pt x="94" y="349"/>
                  <a:pt x="94" y="349"/>
                </a:cubicBezTo>
                <a:cubicBezTo>
                  <a:pt x="94" y="349"/>
                  <a:pt x="95" y="349"/>
                  <a:pt x="95" y="350"/>
                </a:cubicBezTo>
                <a:cubicBezTo>
                  <a:pt x="96" y="350"/>
                  <a:pt x="97" y="350"/>
                  <a:pt x="97" y="350"/>
                </a:cubicBezTo>
                <a:cubicBezTo>
                  <a:pt x="98" y="348"/>
                  <a:pt x="97" y="347"/>
                  <a:pt x="99" y="347"/>
                </a:cubicBezTo>
                <a:close/>
                <a:moveTo>
                  <a:pt x="1245" y="386"/>
                </a:moveTo>
                <a:cubicBezTo>
                  <a:pt x="1245" y="387"/>
                  <a:pt x="1244" y="388"/>
                  <a:pt x="1243" y="389"/>
                </a:cubicBezTo>
                <a:cubicBezTo>
                  <a:pt x="1242" y="389"/>
                  <a:pt x="1240" y="390"/>
                  <a:pt x="1239" y="391"/>
                </a:cubicBezTo>
                <a:cubicBezTo>
                  <a:pt x="1239" y="392"/>
                  <a:pt x="1239" y="395"/>
                  <a:pt x="1239" y="397"/>
                </a:cubicBezTo>
                <a:cubicBezTo>
                  <a:pt x="1237" y="396"/>
                  <a:pt x="1240" y="399"/>
                  <a:pt x="1240" y="399"/>
                </a:cubicBezTo>
                <a:cubicBezTo>
                  <a:pt x="1242" y="396"/>
                  <a:pt x="1244" y="394"/>
                  <a:pt x="1247" y="391"/>
                </a:cubicBezTo>
                <a:cubicBezTo>
                  <a:pt x="1247" y="390"/>
                  <a:pt x="1247" y="388"/>
                  <a:pt x="1247" y="386"/>
                </a:cubicBezTo>
                <a:lnTo>
                  <a:pt x="1245" y="386"/>
                </a:lnTo>
                <a:close/>
                <a:moveTo>
                  <a:pt x="75" y="403"/>
                </a:moveTo>
                <a:cubicBezTo>
                  <a:pt x="76" y="404"/>
                  <a:pt x="76" y="405"/>
                  <a:pt x="75" y="405"/>
                </a:cubicBezTo>
                <a:cubicBezTo>
                  <a:pt x="75" y="405"/>
                  <a:pt x="73" y="403"/>
                  <a:pt x="75" y="403"/>
                </a:cubicBezTo>
                <a:close/>
                <a:moveTo>
                  <a:pt x="775" y="439"/>
                </a:moveTo>
                <a:cubicBezTo>
                  <a:pt x="776" y="439"/>
                  <a:pt x="776" y="439"/>
                  <a:pt x="776" y="439"/>
                </a:cubicBezTo>
                <a:cubicBezTo>
                  <a:pt x="776" y="439"/>
                  <a:pt x="777" y="441"/>
                  <a:pt x="777" y="441"/>
                </a:cubicBezTo>
                <a:cubicBezTo>
                  <a:pt x="777" y="443"/>
                  <a:pt x="775" y="443"/>
                  <a:pt x="775" y="444"/>
                </a:cubicBezTo>
                <a:cubicBezTo>
                  <a:pt x="775" y="445"/>
                  <a:pt x="775" y="453"/>
                  <a:pt x="775" y="453"/>
                </a:cubicBezTo>
                <a:cubicBezTo>
                  <a:pt x="775" y="454"/>
                  <a:pt x="777" y="455"/>
                  <a:pt x="776" y="457"/>
                </a:cubicBezTo>
                <a:cubicBezTo>
                  <a:pt x="776" y="458"/>
                  <a:pt x="774" y="460"/>
                  <a:pt x="773" y="460"/>
                </a:cubicBezTo>
                <a:cubicBezTo>
                  <a:pt x="773" y="461"/>
                  <a:pt x="773" y="463"/>
                  <a:pt x="772" y="465"/>
                </a:cubicBezTo>
                <a:cubicBezTo>
                  <a:pt x="771" y="464"/>
                  <a:pt x="771" y="463"/>
                  <a:pt x="770" y="463"/>
                </a:cubicBezTo>
                <a:cubicBezTo>
                  <a:pt x="770" y="463"/>
                  <a:pt x="769" y="464"/>
                  <a:pt x="768" y="464"/>
                </a:cubicBezTo>
                <a:cubicBezTo>
                  <a:pt x="768" y="465"/>
                  <a:pt x="768" y="465"/>
                  <a:pt x="768" y="466"/>
                </a:cubicBezTo>
                <a:cubicBezTo>
                  <a:pt x="768" y="466"/>
                  <a:pt x="764" y="469"/>
                  <a:pt x="767" y="469"/>
                </a:cubicBezTo>
                <a:cubicBezTo>
                  <a:pt x="767" y="469"/>
                  <a:pt x="769" y="468"/>
                  <a:pt x="769" y="468"/>
                </a:cubicBezTo>
                <a:cubicBezTo>
                  <a:pt x="769" y="468"/>
                  <a:pt x="769" y="470"/>
                  <a:pt x="769" y="470"/>
                </a:cubicBezTo>
                <a:cubicBezTo>
                  <a:pt x="768" y="471"/>
                  <a:pt x="766" y="471"/>
                  <a:pt x="765" y="472"/>
                </a:cubicBezTo>
                <a:cubicBezTo>
                  <a:pt x="765" y="472"/>
                  <a:pt x="764" y="476"/>
                  <a:pt x="763" y="477"/>
                </a:cubicBezTo>
                <a:cubicBezTo>
                  <a:pt x="762" y="477"/>
                  <a:pt x="759" y="476"/>
                  <a:pt x="758" y="477"/>
                </a:cubicBezTo>
                <a:cubicBezTo>
                  <a:pt x="758" y="477"/>
                  <a:pt x="758" y="479"/>
                  <a:pt x="758" y="479"/>
                </a:cubicBezTo>
                <a:cubicBezTo>
                  <a:pt x="758" y="480"/>
                  <a:pt x="753" y="484"/>
                  <a:pt x="753" y="484"/>
                </a:cubicBezTo>
                <a:cubicBezTo>
                  <a:pt x="751" y="484"/>
                  <a:pt x="751" y="483"/>
                  <a:pt x="749" y="483"/>
                </a:cubicBezTo>
                <a:cubicBezTo>
                  <a:pt x="747" y="485"/>
                  <a:pt x="745" y="487"/>
                  <a:pt x="744" y="489"/>
                </a:cubicBezTo>
                <a:cubicBezTo>
                  <a:pt x="743" y="490"/>
                  <a:pt x="744" y="492"/>
                  <a:pt x="743" y="493"/>
                </a:cubicBezTo>
                <a:cubicBezTo>
                  <a:pt x="741" y="493"/>
                  <a:pt x="741" y="493"/>
                  <a:pt x="741" y="493"/>
                </a:cubicBezTo>
                <a:cubicBezTo>
                  <a:pt x="741" y="493"/>
                  <a:pt x="740" y="495"/>
                  <a:pt x="740" y="495"/>
                </a:cubicBezTo>
                <a:cubicBezTo>
                  <a:pt x="738" y="498"/>
                  <a:pt x="734" y="501"/>
                  <a:pt x="728" y="500"/>
                </a:cubicBezTo>
                <a:cubicBezTo>
                  <a:pt x="727" y="500"/>
                  <a:pt x="724" y="498"/>
                  <a:pt x="723" y="497"/>
                </a:cubicBezTo>
                <a:cubicBezTo>
                  <a:pt x="723" y="496"/>
                  <a:pt x="723" y="496"/>
                  <a:pt x="723" y="496"/>
                </a:cubicBezTo>
                <a:cubicBezTo>
                  <a:pt x="731" y="495"/>
                  <a:pt x="733" y="493"/>
                  <a:pt x="737" y="488"/>
                </a:cubicBezTo>
                <a:cubicBezTo>
                  <a:pt x="738" y="487"/>
                  <a:pt x="739" y="486"/>
                  <a:pt x="740" y="485"/>
                </a:cubicBezTo>
                <a:cubicBezTo>
                  <a:pt x="742" y="482"/>
                  <a:pt x="742" y="479"/>
                  <a:pt x="744" y="478"/>
                </a:cubicBezTo>
                <a:cubicBezTo>
                  <a:pt x="746" y="477"/>
                  <a:pt x="748" y="477"/>
                  <a:pt x="749" y="475"/>
                </a:cubicBezTo>
                <a:cubicBezTo>
                  <a:pt x="750" y="474"/>
                  <a:pt x="750" y="473"/>
                  <a:pt x="751" y="472"/>
                </a:cubicBezTo>
                <a:cubicBezTo>
                  <a:pt x="752" y="471"/>
                  <a:pt x="754" y="471"/>
                  <a:pt x="755" y="470"/>
                </a:cubicBezTo>
                <a:cubicBezTo>
                  <a:pt x="757" y="468"/>
                  <a:pt x="758" y="466"/>
                  <a:pt x="759" y="464"/>
                </a:cubicBezTo>
                <a:cubicBezTo>
                  <a:pt x="760" y="463"/>
                  <a:pt x="763" y="462"/>
                  <a:pt x="763" y="461"/>
                </a:cubicBezTo>
                <a:cubicBezTo>
                  <a:pt x="764" y="459"/>
                  <a:pt x="764" y="457"/>
                  <a:pt x="765" y="456"/>
                </a:cubicBezTo>
                <a:cubicBezTo>
                  <a:pt x="765" y="455"/>
                  <a:pt x="767" y="455"/>
                  <a:pt x="767" y="454"/>
                </a:cubicBezTo>
                <a:cubicBezTo>
                  <a:pt x="768" y="453"/>
                  <a:pt x="767" y="451"/>
                  <a:pt x="768" y="449"/>
                </a:cubicBezTo>
                <a:cubicBezTo>
                  <a:pt x="768" y="449"/>
                  <a:pt x="770" y="448"/>
                  <a:pt x="770" y="448"/>
                </a:cubicBezTo>
                <a:cubicBezTo>
                  <a:pt x="772" y="446"/>
                  <a:pt x="771" y="444"/>
                  <a:pt x="772" y="441"/>
                </a:cubicBezTo>
                <a:cubicBezTo>
                  <a:pt x="772" y="441"/>
                  <a:pt x="774" y="439"/>
                  <a:pt x="775" y="439"/>
                </a:cubicBezTo>
                <a:close/>
                <a:moveTo>
                  <a:pt x="1016" y="449"/>
                </a:moveTo>
                <a:cubicBezTo>
                  <a:pt x="1012" y="453"/>
                  <a:pt x="1013" y="454"/>
                  <a:pt x="1018" y="456"/>
                </a:cubicBezTo>
                <a:cubicBezTo>
                  <a:pt x="1019" y="455"/>
                  <a:pt x="1019" y="453"/>
                  <a:pt x="1021" y="452"/>
                </a:cubicBezTo>
                <a:cubicBezTo>
                  <a:pt x="1019" y="451"/>
                  <a:pt x="1018" y="450"/>
                  <a:pt x="1016" y="449"/>
                </a:cubicBezTo>
                <a:close/>
                <a:moveTo>
                  <a:pt x="1063" y="459"/>
                </a:moveTo>
                <a:cubicBezTo>
                  <a:pt x="1062" y="460"/>
                  <a:pt x="1062" y="461"/>
                  <a:pt x="1062" y="463"/>
                </a:cubicBezTo>
                <a:cubicBezTo>
                  <a:pt x="1061" y="463"/>
                  <a:pt x="1060" y="462"/>
                  <a:pt x="1059" y="463"/>
                </a:cubicBezTo>
                <a:cubicBezTo>
                  <a:pt x="1060" y="467"/>
                  <a:pt x="1060" y="469"/>
                  <a:pt x="1061" y="474"/>
                </a:cubicBezTo>
                <a:cubicBezTo>
                  <a:pt x="1059" y="475"/>
                  <a:pt x="1058" y="476"/>
                  <a:pt x="1056" y="477"/>
                </a:cubicBezTo>
                <a:cubicBezTo>
                  <a:pt x="1056" y="477"/>
                  <a:pt x="1056" y="479"/>
                  <a:pt x="1056" y="480"/>
                </a:cubicBezTo>
                <a:cubicBezTo>
                  <a:pt x="1056" y="480"/>
                  <a:pt x="1054" y="481"/>
                  <a:pt x="1054" y="481"/>
                </a:cubicBezTo>
                <a:cubicBezTo>
                  <a:pt x="1053" y="484"/>
                  <a:pt x="1055" y="485"/>
                  <a:pt x="1055" y="487"/>
                </a:cubicBezTo>
                <a:cubicBezTo>
                  <a:pt x="1054" y="489"/>
                  <a:pt x="1053" y="490"/>
                  <a:pt x="1053" y="493"/>
                </a:cubicBezTo>
                <a:cubicBezTo>
                  <a:pt x="1053" y="494"/>
                  <a:pt x="1055" y="497"/>
                  <a:pt x="1055" y="498"/>
                </a:cubicBezTo>
                <a:cubicBezTo>
                  <a:pt x="1056" y="502"/>
                  <a:pt x="1055" y="503"/>
                  <a:pt x="1055" y="507"/>
                </a:cubicBezTo>
                <a:cubicBezTo>
                  <a:pt x="1055" y="507"/>
                  <a:pt x="1057" y="512"/>
                  <a:pt x="1057" y="512"/>
                </a:cubicBezTo>
                <a:cubicBezTo>
                  <a:pt x="1057" y="516"/>
                  <a:pt x="1055" y="521"/>
                  <a:pt x="1055" y="524"/>
                </a:cubicBezTo>
                <a:cubicBezTo>
                  <a:pt x="1055" y="526"/>
                  <a:pt x="1056" y="530"/>
                  <a:pt x="1056" y="531"/>
                </a:cubicBezTo>
                <a:cubicBezTo>
                  <a:pt x="1056" y="531"/>
                  <a:pt x="1055" y="532"/>
                  <a:pt x="1055" y="532"/>
                </a:cubicBezTo>
                <a:cubicBezTo>
                  <a:pt x="1055" y="535"/>
                  <a:pt x="1056" y="538"/>
                  <a:pt x="1057" y="540"/>
                </a:cubicBezTo>
                <a:cubicBezTo>
                  <a:pt x="1057" y="542"/>
                  <a:pt x="1057" y="546"/>
                  <a:pt x="1056" y="548"/>
                </a:cubicBezTo>
                <a:cubicBezTo>
                  <a:pt x="1055" y="550"/>
                  <a:pt x="1055" y="550"/>
                  <a:pt x="1055" y="550"/>
                </a:cubicBezTo>
                <a:cubicBezTo>
                  <a:pt x="1054" y="553"/>
                  <a:pt x="1055" y="554"/>
                  <a:pt x="1055" y="556"/>
                </a:cubicBezTo>
                <a:cubicBezTo>
                  <a:pt x="1054" y="558"/>
                  <a:pt x="1054" y="558"/>
                  <a:pt x="1054" y="558"/>
                </a:cubicBezTo>
                <a:cubicBezTo>
                  <a:pt x="1053" y="560"/>
                  <a:pt x="1053" y="563"/>
                  <a:pt x="1053" y="566"/>
                </a:cubicBezTo>
                <a:cubicBezTo>
                  <a:pt x="1053" y="566"/>
                  <a:pt x="1054" y="566"/>
                  <a:pt x="1055" y="566"/>
                </a:cubicBezTo>
                <a:cubicBezTo>
                  <a:pt x="1055" y="565"/>
                  <a:pt x="1055" y="565"/>
                  <a:pt x="1055" y="564"/>
                </a:cubicBezTo>
                <a:cubicBezTo>
                  <a:pt x="1056" y="562"/>
                  <a:pt x="1056" y="558"/>
                  <a:pt x="1058" y="558"/>
                </a:cubicBezTo>
                <a:cubicBezTo>
                  <a:pt x="1058" y="557"/>
                  <a:pt x="1059" y="558"/>
                  <a:pt x="1060" y="558"/>
                </a:cubicBezTo>
                <a:cubicBezTo>
                  <a:pt x="1060" y="559"/>
                  <a:pt x="1060" y="559"/>
                  <a:pt x="1061" y="560"/>
                </a:cubicBezTo>
                <a:cubicBezTo>
                  <a:pt x="1061" y="561"/>
                  <a:pt x="1062" y="561"/>
                  <a:pt x="1063" y="562"/>
                </a:cubicBezTo>
                <a:cubicBezTo>
                  <a:pt x="1063" y="562"/>
                  <a:pt x="1064" y="563"/>
                  <a:pt x="1064" y="563"/>
                </a:cubicBezTo>
                <a:cubicBezTo>
                  <a:pt x="1065" y="564"/>
                  <a:pt x="1064" y="565"/>
                  <a:pt x="1065" y="567"/>
                </a:cubicBezTo>
                <a:cubicBezTo>
                  <a:pt x="1067" y="566"/>
                  <a:pt x="1067" y="566"/>
                  <a:pt x="1067" y="566"/>
                </a:cubicBezTo>
                <a:cubicBezTo>
                  <a:pt x="1066" y="563"/>
                  <a:pt x="1067" y="559"/>
                  <a:pt x="1066" y="557"/>
                </a:cubicBezTo>
                <a:cubicBezTo>
                  <a:pt x="1063" y="556"/>
                  <a:pt x="1063" y="556"/>
                  <a:pt x="1063" y="556"/>
                </a:cubicBezTo>
                <a:cubicBezTo>
                  <a:pt x="1062" y="552"/>
                  <a:pt x="1060" y="549"/>
                  <a:pt x="1060" y="544"/>
                </a:cubicBezTo>
                <a:cubicBezTo>
                  <a:pt x="1060" y="540"/>
                  <a:pt x="1062" y="536"/>
                  <a:pt x="1063" y="532"/>
                </a:cubicBezTo>
                <a:cubicBezTo>
                  <a:pt x="1064" y="530"/>
                  <a:pt x="1063" y="528"/>
                  <a:pt x="1064" y="525"/>
                </a:cubicBezTo>
                <a:cubicBezTo>
                  <a:pt x="1067" y="516"/>
                  <a:pt x="1073" y="524"/>
                  <a:pt x="1076" y="527"/>
                </a:cubicBezTo>
                <a:cubicBezTo>
                  <a:pt x="1076" y="525"/>
                  <a:pt x="1076" y="523"/>
                  <a:pt x="1075" y="522"/>
                </a:cubicBezTo>
                <a:cubicBezTo>
                  <a:pt x="1074" y="522"/>
                  <a:pt x="1074" y="522"/>
                  <a:pt x="1074" y="522"/>
                </a:cubicBezTo>
                <a:cubicBezTo>
                  <a:pt x="1073" y="520"/>
                  <a:pt x="1074" y="519"/>
                  <a:pt x="1072" y="517"/>
                </a:cubicBezTo>
                <a:cubicBezTo>
                  <a:pt x="1072" y="517"/>
                  <a:pt x="1071" y="517"/>
                  <a:pt x="1070" y="517"/>
                </a:cubicBezTo>
                <a:cubicBezTo>
                  <a:pt x="1067" y="513"/>
                  <a:pt x="1067" y="513"/>
                  <a:pt x="1067" y="513"/>
                </a:cubicBezTo>
                <a:cubicBezTo>
                  <a:pt x="1066" y="510"/>
                  <a:pt x="1069" y="510"/>
                  <a:pt x="1069" y="508"/>
                </a:cubicBezTo>
                <a:cubicBezTo>
                  <a:pt x="1069" y="506"/>
                  <a:pt x="1067" y="501"/>
                  <a:pt x="1067" y="501"/>
                </a:cubicBezTo>
                <a:cubicBezTo>
                  <a:pt x="1066" y="498"/>
                  <a:pt x="1067" y="494"/>
                  <a:pt x="1068" y="491"/>
                </a:cubicBezTo>
                <a:cubicBezTo>
                  <a:pt x="1068" y="491"/>
                  <a:pt x="1065" y="491"/>
                  <a:pt x="1067" y="490"/>
                </a:cubicBezTo>
                <a:cubicBezTo>
                  <a:pt x="1067" y="490"/>
                  <a:pt x="1068" y="485"/>
                  <a:pt x="1069" y="485"/>
                </a:cubicBezTo>
                <a:cubicBezTo>
                  <a:pt x="1069" y="479"/>
                  <a:pt x="1065" y="478"/>
                  <a:pt x="1065" y="474"/>
                </a:cubicBezTo>
                <a:cubicBezTo>
                  <a:pt x="1064" y="469"/>
                  <a:pt x="1067" y="469"/>
                  <a:pt x="1066" y="464"/>
                </a:cubicBezTo>
                <a:cubicBezTo>
                  <a:pt x="1066" y="463"/>
                  <a:pt x="1064" y="461"/>
                  <a:pt x="1063" y="459"/>
                </a:cubicBezTo>
                <a:close/>
                <a:moveTo>
                  <a:pt x="1176" y="505"/>
                </a:moveTo>
                <a:cubicBezTo>
                  <a:pt x="1175" y="505"/>
                  <a:pt x="1174" y="507"/>
                  <a:pt x="1174" y="507"/>
                </a:cubicBezTo>
                <a:cubicBezTo>
                  <a:pt x="1171" y="508"/>
                  <a:pt x="1169" y="507"/>
                  <a:pt x="1170" y="509"/>
                </a:cubicBezTo>
                <a:cubicBezTo>
                  <a:pt x="1171" y="510"/>
                  <a:pt x="1170" y="511"/>
                  <a:pt x="1172" y="510"/>
                </a:cubicBezTo>
                <a:cubicBezTo>
                  <a:pt x="1172" y="510"/>
                  <a:pt x="1180" y="504"/>
                  <a:pt x="1176" y="505"/>
                </a:cubicBezTo>
                <a:close/>
                <a:moveTo>
                  <a:pt x="1164" y="518"/>
                </a:moveTo>
                <a:cubicBezTo>
                  <a:pt x="1164" y="520"/>
                  <a:pt x="1164" y="520"/>
                  <a:pt x="1164" y="520"/>
                </a:cubicBezTo>
                <a:cubicBezTo>
                  <a:pt x="1164" y="520"/>
                  <a:pt x="1164" y="521"/>
                  <a:pt x="1165" y="521"/>
                </a:cubicBezTo>
                <a:cubicBezTo>
                  <a:pt x="1165" y="521"/>
                  <a:pt x="1167" y="517"/>
                  <a:pt x="1164" y="518"/>
                </a:cubicBezTo>
                <a:close/>
                <a:moveTo>
                  <a:pt x="1158" y="528"/>
                </a:moveTo>
                <a:cubicBezTo>
                  <a:pt x="1159" y="529"/>
                  <a:pt x="1159" y="529"/>
                  <a:pt x="1159" y="529"/>
                </a:cubicBezTo>
                <a:cubicBezTo>
                  <a:pt x="1159" y="528"/>
                  <a:pt x="1159" y="528"/>
                  <a:pt x="1158" y="528"/>
                </a:cubicBezTo>
                <a:close/>
                <a:moveTo>
                  <a:pt x="1140" y="550"/>
                </a:moveTo>
                <a:cubicBezTo>
                  <a:pt x="1139" y="551"/>
                  <a:pt x="1138" y="553"/>
                  <a:pt x="1138" y="554"/>
                </a:cubicBezTo>
                <a:cubicBezTo>
                  <a:pt x="1132" y="562"/>
                  <a:pt x="1141" y="552"/>
                  <a:pt x="1141" y="552"/>
                </a:cubicBezTo>
                <a:cubicBezTo>
                  <a:pt x="1141" y="552"/>
                  <a:pt x="1141" y="551"/>
                  <a:pt x="1141" y="550"/>
                </a:cubicBezTo>
                <a:lnTo>
                  <a:pt x="1140" y="550"/>
                </a:lnTo>
                <a:close/>
                <a:moveTo>
                  <a:pt x="1125" y="562"/>
                </a:moveTo>
                <a:cubicBezTo>
                  <a:pt x="1124" y="562"/>
                  <a:pt x="1122" y="564"/>
                  <a:pt x="1121" y="565"/>
                </a:cubicBezTo>
                <a:cubicBezTo>
                  <a:pt x="1120" y="565"/>
                  <a:pt x="1120" y="565"/>
                  <a:pt x="1120" y="565"/>
                </a:cubicBezTo>
                <a:cubicBezTo>
                  <a:pt x="1120" y="566"/>
                  <a:pt x="1121" y="567"/>
                  <a:pt x="1120" y="568"/>
                </a:cubicBezTo>
                <a:cubicBezTo>
                  <a:pt x="1120" y="568"/>
                  <a:pt x="1117" y="572"/>
                  <a:pt x="1120" y="571"/>
                </a:cubicBezTo>
                <a:cubicBezTo>
                  <a:pt x="1122" y="570"/>
                  <a:pt x="1125" y="566"/>
                  <a:pt x="1126" y="564"/>
                </a:cubicBezTo>
                <a:cubicBezTo>
                  <a:pt x="1126" y="563"/>
                  <a:pt x="1126" y="561"/>
                  <a:pt x="1125" y="562"/>
                </a:cubicBezTo>
                <a:close/>
                <a:moveTo>
                  <a:pt x="1111" y="570"/>
                </a:moveTo>
                <a:cubicBezTo>
                  <a:pt x="1110" y="572"/>
                  <a:pt x="1110" y="574"/>
                  <a:pt x="1109" y="576"/>
                </a:cubicBezTo>
                <a:cubicBezTo>
                  <a:pt x="1109" y="577"/>
                  <a:pt x="1107" y="577"/>
                  <a:pt x="1107" y="577"/>
                </a:cubicBezTo>
                <a:cubicBezTo>
                  <a:pt x="1106" y="576"/>
                  <a:pt x="1107" y="576"/>
                  <a:pt x="1105" y="575"/>
                </a:cubicBezTo>
                <a:cubicBezTo>
                  <a:pt x="1104" y="575"/>
                  <a:pt x="1104" y="577"/>
                  <a:pt x="1104" y="578"/>
                </a:cubicBezTo>
                <a:cubicBezTo>
                  <a:pt x="1103" y="578"/>
                  <a:pt x="1101" y="577"/>
                  <a:pt x="1101" y="578"/>
                </a:cubicBezTo>
                <a:cubicBezTo>
                  <a:pt x="1101" y="580"/>
                  <a:pt x="1101" y="580"/>
                  <a:pt x="1101" y="580"/>
                </a:cubicBezTo>
                <a:cubicBezTo>
                  <a:pt x="1100" y="581"/>
                  <a:pt x="1098" y="582"/>
                  <a:pt x="1097" y="583"/>
                </a:cubicBezTo>
                <a:cubicBezTo>
                  <a:pt x="1096" y="584"/>
                  <a:pt x="1098" y="584"/>
                  <a:pt x="1098" y="584"/>
                </a:cubicBezTo>
                <a:cubicBezTo>
                  <a:pt x="1099" y="584"/>
                  <a:pt x="1100" y="582"/>
                  <a:pt x="1101" y="582"/>
                </a:cubicBezTo>
                <a:cubicBezTo>
                  <a:pt x="1102" y="581"/>
                  <a:pt x="1104" y="581"/>
                  <a:pt x="1105" y="580"/>
                </a:cubicBezTo>
                <a:cubicBezTo>
                  <a:pt x="1106" y="580"/>
                  <a:pt x="1106" y="579"/>
                  <a:pt x="1106" y="578"/>
                </a:cubicBezTo>
                <a:cubicBezTo>
                  <a:pt x="1108" y="577"/>
                  <a:pt x="1110" y="578"/>
                  <a:pt x="1111" y="577"/>
                </a:cubicBezTo>
                <a:cubicBezTo>
                  <a:pt x="1113" y="575"/>
                  <a:pt x="1112" y="573"/>
                  <a:pt x="1112" y="570"/>
                </a:cubicBezTo>
                <a:lnTo>
                  <a:pt x="1111" y="570"/>
                </a:lnTo>
                <a:close/>
                <a:moveTo>
                  <a:pt x="1090" y="586"/>
                </a:moveTo>
                <a:cubicBezTo>
                  <a:pt x="1089" y="588"/>
                  <a:pt x="1088" y="589"/>
                  <a:pt x="1087" y="590"/>
                </a:cubicBezTo>
                <a:cubicBezTo>
                  <a:pt x="1087" y="590"/>
                  <a:pt x="1084" y="597"/>
                  <a:pt x="1086" y="595"/>
                </a:cubicBezTo>
                <a:cubicBezTo>
                  <a:pt x="1088" y="594"/>
                  <a:pt x="1087" y="592"/>
                  <a:pt x="1088" y="591"/>
                </a:cubicBezTo>
                <a:cubicBezTo>
                  <a:pt x="1089" y="590"/>
                  <a:pt x="1091" y="589"/>
                  <a:pt x="1092" y="588"/>
                </a:cubicBezTo>
                <a:cubicBezTo>
                  <a:pt x="1093" y="588"/>
                  <a:pt x="1093" y="588"/>
                  <a:pt x="1093" y="588"/>
                </a:cubicBezTo>
                <a:cubicBezTo>
                  <a:pt x="1093" y="586"/>
                  <a:pt x="1093" y="586"/>
                  <a:pt x="1093" y="586"/>
                </a:cubicBezTo>
                <a:cubicBezTo>
                  <a:pt x="1092" y="586"/>
                  <a:pt x="1091" y="586"/>
                  <a:pt x="1090" y="586"/>
                </a:cubicBezTo>
                <a:close/>
                <a:moveTo>
                  <a:pt x="1094" y="594"/>
                </a:moveTo>
                <a:cubicBezTo>
                  <a:pt x="1094" y="594"/>
                  <a:pt x="1095" y="596"/>
                  <a:pt x="1095" y="596"/>
                </a:cubicBezTo>
                <a:cubicBezTo>
                  <a:pt x="1096" y="596"/>
                  <a:pt x="1096" y="595"/>
                  <a:pt x="1096" y="595"/>
                </a:cubicBezTo>
                <a:cubicBezTo>
                  <a:pt x="1098" y="594"/>
                  <a:pt x="1096" y="594"/>
                  <a:pt x="1094" y="594"/>
                </a:cubicBezTo>
                <a:close/>
                <a:moveTo>
                  <a:pt x="256" y="229"/>
                </a:moveTo>
                <a:cubicBezTo>
                  <a:pt x="255" y="230"/>
                  <a:pt x="253" y="230"/>
                  <a:pt x="253" y="231"/>
                </a:cubicBezTo>
                <a:cubicBezTo>
                  <a:pt x="253" y="232"/>
                  <a:pt x="253" y="233"/>
                  <a:pt x="253" y="234"/>
                </a:cubicBezTo>
                <a:cubicBezTo>
                  <a:pt x="251" y="234"/>
                  <a:pt x="253" y="236"/>
                  <a:pt x="253" y="236"/>
                </a:cubicBezTo>
                <a:cubicBezTo>
                  <a:pt x="253" y="237"/>
                  <a:pt x="253" y="238"/>
                  <a:pt x="253" y="239"/>
                </a:cubicBezTo>
                <a:cubicBezTo>
                  <a:pt x="253" y="239"/>
                  <a:pt x="255" y="239"/>
                  <a:pt x="256" y="240"/>
                </a:cubicBezTo>
                <a:cubicBezTo>
                  <a:pt x="257" y="240"/>
                  <a:pt x="257" y="241"/>
                  <a:pt x="259" y="241"/>
                </a:cubicBezTo>
                <a:cubicBezTo>
                  <a:pt x="260" y="240"/>
                  <a:pt x="265" y="233"/>
                  <a:pt x="262" y="231"/>
                </a:cubicBezTo>
                <a:cubicBezTo>
                  <a:pt x="261" y="230"/>
                  <a:pt x="257" y="230"/>
                  <a:pt x="256" y="229"/>
                </a:cubicBezTo>
                <a:close/>
                <a:moveTo>
                  <a:pt x="167" y="302"/>
                </a:moveTo>
                <a:cubicBezTo>
                  <a:pt x="168" y="302"/>
                  <a:pt x="167" y="304"/>
                  <a:pt x="167" y="304"/>
                </a:cubicBezTo>
                <a:cubicBezTo>
                  <a:pt x="165" y="305"/>
                  <a:pt x="166" y="303"/>
                  <a:pt x="167" y="302"/>
                </a:cubicBezTo>
                <a:close/>
                <a:moveTo>
                  <a:pt x="128" y="319"/>
                </a:moveTo>
                <a:cubicBezTo>
                  <a:pt x="130" y="319"/>
                  <a:pt x="132" y="321"/>
                  <a:pt x="134" y="322"/>
                </a:cubicBezTo>
                <a:cubicBezTo>
                  <a:pt x="135" y="323"/>
                  <a:pt x="135" y="323"/>
                  <a:pt x="136" y="324"/>
                </a:cubicBezTo>
                <a:cubicBezTo>
                  <a:pt x="139" y="323"/>
                  <a:pt x="137" y="326"/>
                  <a:pt x="137" y="326"/>
                </a:cubicBezTo>
                <a:cubicBezTo>
                  <a:pt x="131" y="326"/>
                  <a:pt x="131" y="326"/>
                  <a:pt x="131" y="326"/>
                </a:cubicBezTo>
                <a:cubicBezTo>
                  <a:pt x="130" y="324"/>
                  <a:pt x="130" y="323"/>
                  <a:pt x="129" y="322"/>
                </a:cubicBezTo>
                <a:cubicBezTo>
                  <a:pt x="129" y="322"/>
                  <a:pt x="126" y="319"/>
                  <a:pt x="128" y="319"/>
                </a:cubicBezTo>
                <a:close/>
                <a:moveTo>
                  <a:pt x="155" y="366"/>
                </a:moveTo>
                <a:cubicBezTo>
                  <a:pt x="159" y="366"/>
                  <a:pt x="160" y="371"/>
                  <a:pt x="154" y="370"/>
                </a:cubicBezTo>
                <a:cubicBezTo>
                  <a:pt x="151" y="369"/>
                  <a:pt x="151" y="365"/>
                  <a:pt x="155" y="366"/>
                </a:cubicBezTo>
                <a:close/>
                <a:moveTo>
                  <a:pt x="158" y="382"/>
                </a:moveTo>
                <a:cubicBezTo>
                  <a:pt x="158" y="382"/>
                  <a:pt x="162" y="388"/>
                  <a:pt x="159" y="387"/>
                </a:cubicBezTo>
                <a:cubicBezTo>
                  <a:pt x="158" y="387"/>
                  <a:pt x="158" y="385"/>
                  <a:pt x="157" y="385"/>
                </a:cubicBezTo>
                <a:cubicBezTo>
                  <a:pt x="156" y="384"/>
                  <a:pt x="155" y="385"/>
                  <a:pt x="154" y="386"/>
                </a:cubicBezTo>
                <a:cubicBezTo>
                  <a:pt x="154" y="384"/>
                  <a:pt x="154" y="384"/>
                  <a:pt x="154" y="384"/>
                </a:cubicBezTo>
                <a:cubicBezTo>
                  <a:pt x="155" y="384"/>
                  <a:pt x="156" y="385"/>
                  <a:pt x="157" y="384"/>
                </a:cubicBezTo>
                <a:cubicBezTo>
                  <a:pt x="157" y="384"/>
                  <a:pt x="157" y="383"/>
                  <a:pt x="158" y="382"/>
                </a:cubicBezTo>
                <a:close/>
                <a:moveTo>
                  <a:pt x="161" y="387"/>
                </a:moveTo>
                <a:cubicBezTo>
                  <a:pt x="164" y="390"/>
                  <a:pt x="164" y="390"/>
                  <a:pt x="169" y="391"/>
                </a:cubicBezTo>
                <a:cubicBezTo>
                  <a:pt x="168" y="393"/>
                  <a:pt x="168" y="393"/>
                  <a:pt x="167" y="393"/>
                </a:cubicBezTo>
                <a:cubicBezTo>
                  <a:pt x="167" y="395"/>
                  <a:pt x="168" y="396"/>
                  <a:pt x="168" y="397"/>
                </a:cubicBezTo>
                <a:cubicBezTo>
                  <a:pt x="168" y="398"/>
                  <a:pt x="166" y="396"/>
                  <a:pt x="165" y="397"/>
                </a:cubicBezTo>
                <a:cubicBezTo>
                  <a:pt x="165" y="397"/>
                  <a:pt x="165" y="399"/>
                  <a:pt x="165" y="399"/>
                </a:cubicBezTo>
                <a:cubicBezTo>
                  <a:pt x="164" y="399"/>
                  <a:pt x="162" y="400"/>
                  <a:pt x="162" y="400"/>
                </a:cubicBezTo>
                <a:cubicBezTo>
                  <a:pt x="160" y="400"/>
                  <a:pt x="156" y="396"/>
                  <a:pt x="155" y="395"/>
                </a:cubicBezTo>
                <a:cubicBezTo>
                  <a:pt x="154" y="394"/>
                  <a:pt x="154" y="392"/>
                  <a:pt x="153" y="391"/>
                </a:cubicBezTo>
                <a:cubicBezTo>
                  <a:pt x="148" y="387"/>
                  <a:pt x="157" y="392"/>
                  <a:pt x="157" y="392"/>
                </a:cubicBezTo>
                <a:cubicBezTo>
                  <a:pt x="157" y="392"/>
                  <a:pt x="158" y="391"/>
                  <a:pt x="160" y="391"/>
                </a:cubicBezTo>
                <a:cubicBezTo>
                  <a:pt x="160" y="390"/>
                  <a:pt x="160" y="388"/>
                  <a:pt x="161" y="387"/>
                </a:cubicBezTo>
                <a:close/>
                <a:moveTo>
                  <a:pt x="754" y="473"/>
                </a:moveTo>
                <a:cubicBezTo>
                  <a:pt x="753" y="473"/>
                  <a:pt x="753" y="474"/>
                  <a:pt x="755" y="474"/>
                </a:cubicBezTo>
                <a:cubicBezTo>
                  <a:pt x="755" y="474"/>
                  <a:pt x="756" y="472"/>
                  <a:pt x="754" y="473"/>
                </a:cubicBezTo>
                <a:close/>
                <a:moveTo>
                  <a:pt x="1126" y="199"/>
                </a:moveTo>
                <a:cubicBezTo>
                  <a:pt x="1126" y="199"/>
                  <a:pt x="1125" y="202"/>
                  <a:pt x="1126" y="201"/>
                </a:cubicBezTo>
                <a:cubicBezTo>
                  <a:pt x="1127" y="201"/>
                  <a:pt x="1127" y="198"/>
                  <a:pt x="1126" y="199"/>
                </a:cubicBezTo>
                <a:close/>
                <a:moveTo>
                  <a:pt x="1129" y="199"/>
                </a:moveTo>
                <a:cubicBezTo>
                  <a:pt x="1129" y="199"/>
                  <a:pt x="1129" y="201"/>
                  <a:pt x="1128" y="201"/>
                </a:cubicBezTo>
                <a:cubicBezTo>
                  <a:pt x="1127" y="203"/>
                  <a:pt x="1125" y="204"/>
                  <a:pt x="1123" y="205"/>
                </a:cubicBezTo>
                <a:cubicBezTo>
                  <a:pt x="1118" y="209"/>
                  <a:pt x="1118" y="211"/>
                  <a:pt x="1118" y="211"/>
                </a:cubicBezTo>
                <a:cubicBezTo>
                  <a:pt x="1117" y="212"/>
                  <a:pt x="1120" y="212"/>
                  <a:pt x="1120" y="212"/>
                </a:cubicBezTo>
                <a:cubicBezTo>
                  <a:pt x="1121" y="212"/>
                  <a:pt x="1128" y="204"/>
                  <a:pt x="1130" y="203"/>
                </a:cubicBezTo>
                <a:cubicBezTo>
                  <a:pt x="1130" y="203"/>
                  <a:pt x="1131" y="198"/>
                  <a:pt x="1129" y="199"/>
                </a:cubicBezTo>
                <a:close/>
                <a:moveTo>
                  <a:pt x="1136" y="202"/>
                </a:moveTo>
                <a:cubicBezTo>
                  <a:pt x="1135" y="205"/>
                  <a:pt x="1134" y="208"/>
                  <a:pt x="1133" y="211"/>
                </a:cubicBezTo>
                <a:cubicBezTo>
                  <a:pt x="1135" y="211"/>
                  <a:pt x="1140" y="212"/>
                  <a:pt x="1144" y="211"/>
                </a:cubicBezTo>
                <a:cubicBezTo>
                  <a:pt x="1145" y="211"/>
                  <a:pt x="1146" y="208"/>
                  <a:pt x="1144" y="209"/>
                </a:cubicBezTo>
                <a:cubicBezTo>
                  <a:pt x="1141" y="203"/>
                  <a:pt x="1142" y="205"/>
                  <a:pt x="1136" y="202"/>
                </a:cubicBezTo>
                <a:close/>
                <a:moveTo>
                  <a:pt x="1130" y="205"/>
                </a:moveTo>
                <a:cubicBezTo>
                  <a:pt x="1130" y="205"/>
                  <a:pt x="1129" y="206"/>
                  <a:pt x="1128" y="207"/>
                </a:cubicBezTo>
                <a:cubicBezTo>
                  <a:pt x="1127" y="209"/>
                  <a:pt x="1127" y="209"/>
                  <a:pt x="1127" y="209"/>
                </a:cubicBezTo>
                <a:cubicBezTo>
                  <a:pt x="1129" y="209"/>
                  <a:pt x="1131" y="209"/>
                  <a:pt x="1132" y="209"/>
                </a:cubicBezTo>
                <a:cubicBezTo>
                  <a:pt x="1131" y="208"/>
                  <a:pt x="1132" y="205"/>
                  <a:pt x="1132" y="205"/>
                </a:cubicBezTo>
                <a:cubicBezTo>
                  <a:pt x="1132" y="205"/>
                  <a:pt x="1131" y="205"/>
                  <a:pt x="1130" y="205"/>
                </a:cubicBezTo>
                <a:close/>
                <a:moveTo>
                  <a:pt x="1126" y="209"/>
                </a:moveTo>
                <a:cubicBezTo>
                  <a:pt x="1125" y="210"/>
                  <a:pt x="1123" y="212"/>
                  <a:pt x="1126" y="211"/>
                </a:cubicBezTo>
                <a:cubicBezTo>
                  <a:pt x="1126" y="211"/>
                  <a:pt x="1127" y="209"/>
                  <a:pt x="1126" y="209"/>
                </a:cubicBezTo>
                <a:close/>
                <a:moveTo>
                  <a:pt x="1217" y="227"/>
                </a:moveTo>
                <a:cubicBezTo>
                  <a:pt x="1218" y="228"/>
                  <a:pt x="1218" y="228"/>
                  <a:pt x="1218" y="228"/>
                </a:cubicBezTo>
                <a:cubicBezTo>
                  <a:pt x="1218" y="227"/>
                  <a:pt x="1219" y="227"/>
                  <a:pt x="1217" y="227"/>
                </a:cubicBezTo>
                <a:close/>
                <a:moveTo>
                  <a:pt x="1219" y="232"/>
                </a:moveTo>
                <a:cubicBezTo>
                  <a:pt x="1219" y="232"/>
                  <a:pt x="1219" y="234"/>
                  <a:pt x="1219" y="234"/>
                </a:cubicBezTo>
                <a:cubicBezTo>
                  <a:pt x="1221" y="235"/>
                  <a:pt x="1220" y="232"/>
                  <a:pt x="1219" y="232"/>
                </a:cubicBezTo>
                <a:close/>
                <a:moveTo>
                  <a:pt x="803" y="151"/>
                </a:moveTo>
                <a:cubicBezTo>
                  <a:pt x="803" y="152"/>
                  <a:pt x="803" y="152"/>
                  <a:pt x="803" y="152"/>
                </a:cubicBezTo>
                <a:cubicBezTo>
                  <a:pt x="802" y="152"/>
                  <a:pt x="800" y="152"/>
                  <a:pt x="799" y="152"/>
                </a:cubicBezTo>
                <a:cubicBezTo>
                  <a:pt x="799" y="154"/>
                  <a:pt x="799" y="154"/>
                  <a:pt x="799" y="154"/>
                </a:cubicBezTo>
                <a:cubicBezTo>
                  <a:pt x="799" y="154"/>
                  <a:pt x="798" y="155"/>
                  <a:pt x="798" y="157"/>
                </a:cubicBezTo>
                <a:cubicBezTo>
                  <a:pt x="799" y="157"/>
                  <a:pt x="801" y="157"/>
                  <a:pt x="802" y="157"/>
                </a:cubicBezTo>
                <a:cubicBezTo>
                  <a:pt x="803" y="157"/>
                  <a:pt x="803" y="155"/>
                  <a:pt x="804" y="155"/>
                </a:cubicBezTo>
                <a:cubicBezTo>
                  <a:pt x="804" y="154"/>
                  <a:pt x="804" y="153"/>
                  <a:pt x="804" y="153"/>
                </a:cubicBezTo>
                <a:cubicBezTo>
                  <a:pt x="804" y="153"/>
                  <a:pt x="806" y="151"/>
                  <a:pt x="803" y="151"/>
                </a:cubicBezTo>
                <a:close/>
                <a:moveTo>
                  <a:pt x="785" y="166"/>
                </a:moveTo>
                <a:cubicBezTo>
                  <a:pt x="785" y="166"/>
                  <a:pt x="784" y="168"/>
                  <a:pt x="784" y="168"/>
                </a:cubicBezTo>
                <a:cubicBezTo>
                  <a:pt x="783" y="169"/>
                  <a:pt x="784" y="166"/>
                  <a:pt x="785" y="166"/>
                </a:cubicBezTo>
                <a:close/>
                <a:moveTo>
                  <a:pt x="925" y="169"/>
                </a:moveTo>
                <a:cubicBezTo>
                  <a:pt x="925" y="172"/>
                  <a:pt x="925" y="172"/>
                  <a:pt x="925" y="172"/>
                </a:cubicBezTo>
                <a:cubicBezTo>
                  <a:pt x="926" y="172"/>
                  <a:pt x="927" y="172"/>
                  <a:pt x="928" y="172"/>
                </a:cubicBezTo>
                <a:cubicBezTo>
                  <a:pt x="927" y="169"/>
                  <a:pt x="927" y="169"/>
                  <a:pt x="927" y="169"/>
                </a:cubicBezTo>
                <a:cubicBezTo>
                  <a:pt x="927" y="169"/>
                  <a:pt x="925" y="170"/>
                  <a:pt x="925" y="169"/>
                </a:cubicBezTo>
                <a:close/>
                <a:moveTo>
                  <a:pt x="808" y="173"/>
                </a:moveTo>
                <a:cubicBezTo>
                  <a:pt x="808" y="173"/>
                  <a:pt x="810" y="174"/>
                  <a:pt x="810" y="174"/>
                </a:cubicBezTo>
                <a:cubicBezTo>
                  <a:pt x="810" y="175"/>
                  <a:pt x="810" y="176"/>
                  <a:pt x="811" y="177"/>
                </a:cubicBezTo>
                <a:cubicBezTo>
                  <a:pt x="809" y="179"/>
                  <a:pt x="807" y="182"/>
                  <a:pt x="805" y="184"/>
                </a:cubicBezTo>
                <a:cubicBezTo>
                  <a:pt x="804" y="184"/>
                  <a:pt x="806" y="185"/>
                  <a:pt x="805" y="186"/>
                </a:cubicBezTo>
                <a:cubicBezTo>
                  <a:pt x="804" y="186"/>
                  <a:pt x="804" y="186"/>
                  <a:pt x="804" y="186"/>
                </a:cubicBezTo>
                <a:cubicBezTo>
                  <a:pt x="804" y="186"/>
                  <a:pt x="804" y="183"/>
                  <a:pt x="803" y="183"/>
                </a:cubicBezTo>
                <a:cubicBezTo>
                  <a:pt x="803" y="183"/>
                  <a:pt x="805" y="181"/>
                  <a:pt x="805" y="181"/>
                </a:cubicBezTo>
                <a:cubicBezTo>
                  <a:pt x="807" y="176"/>
                  <a:pt x="801" y="178"/>
                  <a:pt x="808" y="175"/>
                </a:cubicBezTo>
                <a:cubicBezTo>
                  <a:pt x="808" y="174"/>
                  <a:pt x="807" y="174"/>
                  <a:pt x="808" y="173"/>
                </a:cubicBezTo>
                <a:close/>
                <a:moveTo>
                  <a:pt x="918" y="173"/>
                </a:moveTo>
                <a:cubicBezTo>
                  <a:pt x="918" y="173"/>
                  <a:pt x="916" y="176"/>
                  <a:pt x="918" y="175"/>
                </a:cubicBezTo>
                <a:cubicBezTo>
                  <a:pt x="919" y="175"/>
                  <a:pt x="921" y="172"/>
                  <a:pt x="918" y="173"/>
                </a:cubicBezTo>
                <a:close/>
                <a:moveTo>
                  <a:pt x="921" y="173"/>
                </a:moveTo>
                <a:cubicBezTo>
                  <a:pt x="920" y="173"/>
                  <a:pt x="922" y="174"/>
                  <a:pt x="922" y="174"/>
                </a:cubicBezTo>
                <a:cubicBezTo>
                  <a:pt x="921" y="174"/>
                  <a:pt x="923" y="172"/>
                  <a:pt x="921" y="173"/>
                </a:cubicBezTo>
                <a:close/>
                <a:moveTo>
                  <a:pt x="929" y="173"/>
                </a:moveTo>
                <a:cubicBezTo>
                  <a:pt x="928" y="174"/>
                  <a:pt x="926" y="176"/>
                  <a:pt x="929" y="175"/>
                </a:cubicBezTo>
                <a:cubicBezTo>
                  <a:pt x="929" y="175"/>
                  <a:pt x="931" y="173"/>
                  <a:pt x="929" y="173"/>
                </a:cubicBezTo>
                <a:close/>
                <a:moveTo>
                  <a:pt x="895" y="174"/>
                </a:moveTo>
                <a:cubicBezTo>
                  <a:pt x="894" y="176"/>
                  <a:pt x="894" y="176"/>
                  <a:pt x="894" y="176"/>
                </a:cubicBezTo>
                <a:cubicBezTo>
                  <a:pt x="898" y="176"/>
                  <a:pt x="897" y="174"/>
                  <a:pt x="895" y="174"/>
                </a:cubicBezTo>
                <a:close/>
                <a:moveTo>
                  <a:pt x="931" y="175"/>
                </a:moveTo>
                <a:cubicBezTo>
                  <a:pt x="930" y="175"/>
                  <a:pt x="931" y="176"/>
                  <a:pt x="932" y="176"/>
                </a:cubicBezTo>
                <a:cubicBezTo>
                  <a:pt x="935" y="176"/>
                  <a:pt x="936" y="174"/>
                  <a:pt x="931" y="175"/>
                </a:cubicBezTo>
                <a:close/>
                <a:moveTo>
                  <a:pt x="912" y="175"/>
                </a:moveTo>
                <a:cubicBezTo>
                  <a:pt x="912" y="177"/>
                  <a:pt x="910" y="181"/>
                  <a:pt x="912" y="181"/>
                </a:cubicBezTo>
                <a:cubicBezTo>
                  <a:pt x="912" y="181"/>
                  <a:pt x="913" y="179"/>
                  <a:pt x="913" y="179"/>
                </a:cubicBezTo>
                <a:cubicBezTo>
                  <a:pt x="914" y="179"/>
                  <a:pt x="915" y="179"/>
                  <a:pt x="916" y="179"/>
                </a:cubicBezTo>
                <a:cubicBezTo>
                  <a:pt x="915" y="178"/>
                  <a:pt x="915" y="177"/>
                  <a:pt x="914" y="175"/>
                </a:cubicBezTo>
                <a:cubicBezTo>
                  <a:pt x="914" y="175"/>
                  <a:pt x="912" y="176"/>
                  <a:pt x="912" y="175"/>
                </a:cubicBezTo>
                <a:close/>
                <a:moveTo>
                  <a:pt x="938" y="176"/>
                </a:moveTo>
                <a:cubicBezTo>
                  <a:pt x="938" y="176"/>
                  <a:pt x="936" y="177"/>
                  <a:pt x="936" y="177"/>
                </a:cubicBezTo>
                <a:cubicBezTo>
                  <a:pt x="936" y="178"/>
                  <a:pt x="936" y="178"/>
                  <a:pt x="936" y="178"/>
                </a:cubicBezTo>
                <a:cubicBezTo>
                  <a:pt x="938" y="179"/>
                  <a:pt x="939" y="179"/>
                  <a:pt x="942" y="179"/>
                </a:cubicBezTo>
                <a:cubicBezTo>
                  <a:pt x="942" y="179"/>
                  <a:pt x="942" y="178"/>
                  <a:pt x="942" y="177"/>
                </a:cubicBezTo>
                <a:cubicBezTo>
                  <a:pt x="943" y="178"/>
                  <a:pt x="943" y="177"/>
                  <a:pt x="943" y="176"/>
                </a:cubicBezTo>
                <a:cubicBezTo>
                  <a:pt x="941" y="176"/>
                  <a:pt x="938" y="176"/>
                  <a:pt x="938" y="176"/>
                </a:cubicBezTo>
                <a:close/>
                <a:moveTo>
                  <a:pt x="926" y="178"/>
                </a:moveTo>
                <a:cubicBezTo>
                  <a:pt x="926" y="178"/>
                  <a:pt x="920" y="185"/>
                  <a:pt x="925" y="183"/>
                </a:cubicBezTo>
                <a:cubicBezTo>
                  <a:pt x="925" y="181"/>
                  <a:pt x="925" y="181"/>
                  <a:pt x="925" y="181"/>
                </a:cubicBezTo>
                <a:cubicBezTo>
                  <a:pt x="927" y="180"/>
                  <a:pt x="930" y="176"/>
                  <a:pt x="926" y="178"/>
                </a:cubicBezTo>
                <a:close/>
                <a:moveTo>
                  <a:pt x="889" y="179"/>
                </a:moveTo>
                <a:cubicBezTo>
                  <a:pt x="891" y="180"/>
                  <a:pt x="891" y="180"/>
                  <a:pt x="891" y="180"/>
                </a:cubicBezTo>
                <a:cubicBezTo>
                  <a:pt x="893" y="180"/>
                  <a:pt x="892" y="179"/>
                  <a:pt x="893" y="179"/>
                </a:cubicBezTo>
                <a:cubicBezTo>
                  <a:pt x="892" y="179"/>
                  <a:pt x="890" y="179"/>
                  <a:pt x="889" y="179"/>
                </a:cubicBezTo>
                <a:close/>
                <a:moveTo>
                  <a:pt x="919" y="181"/>
                </a:moveTo>
                <a:cubicBezTo>
                  <a:pt x="919" y="182"/>
                  <a:pt x="918" y="183"/>
                  <a:pt x="918" y="183"/>
                </a:cubicBezTo>
                <a:cubicBezTo>
                  <a:pt x="919" y="184"/>
                  <a:pt x="919" y="185"/>
                  <a:pt x="920" y="185"/>
                </a:cubicBezTo>
                <a:cubicBezTo>
                  <a:pt x="923" y="186"/>
                  <a:pt x="919" y="181"/>
                  <a:pt x="919" y="181"/>
                </a:cubicBezTo>
                <a:close/>
                <a:moveTo>
                  <a:pt x="933" y="181"/>
                </a:moveTo>
                <a:cubicBezTo>
                  <a:pt x="934" y="183"/>
                  <a:pt x="934" y="183"/>
                  <a:pt x="934" y="183"/>
                </a:cubicBezTo>
                <a:cubicBezTo>
                  <a:pt x="934" y="183"/>
                  <a:pt x="935" y="181"/>
                  <a:pt x="933" y="181"/>
                </a:cubicBezTo>
                <a:close/>
                <a:moveTo>
                  <a:pt x="939" y="182"/>
                </a:moveTo>
                <a:cubicBezTo>
                  <a:pt x="939" y="184"/>
                  <a:pt x="938" y="185"/>
                  <a:pt x="939" y="186"/>
                </a:cubicBezTo>
                <a:cubicBezTo>
                  <a:pt x="940" y="187"/>
                  <a:pt x="940" y="187"/>
                  <a:pt x="940" y="187"/>
                </a:cubicBezTo>
                <a:cubicBezTo>
                  <a:pt x="943" y="187"/>
                  <a:pt x="943" y="187"/>
                  <a:pt x="943" y="187"/>
                </a:cubicBezTo>
                <a:cubicBezTo>
                  <a:pt x="943" y="187"/>
                  <a:pt x="943" y="185"/>
                  <a:pt x="943" y="185"/>
                </a:cubicBezTo>
                <a:cubicBezTo>
                  <a:pt x="942" y="184"/>
                  <a:pt x="941" y="183"/>
                  <a:pt x="941" y="182"/>
                </a:cubicBezTo>
                <a:cubicBezTo>
                  <a:pt x="940" y="182"/>
                  <a:pt x="939" y="182"/>
                  <a:pt x="939" y="182"/>
                </a:cubicBezTo>
                <a:close/>
                <a:moveTo>
                  <a:pt x="931" y="183"/>
                </a:moveTo>
                <a:cubicBezTo>
                  <a:pt x="930" y="185"/>
                  <a:pt x="929" y="186"/>
                  <a:pt x="928" y="187"/>
                </a:cubicBezTo>
                <a:cubicBezTo>
                  <a:pt x="936" y="189"/>
                  <a:pt x="940" y="188"/>
                  <a:pt x="931" y="183"/>
                </a:cubicBezTo>
                <a:close/>
                <a:moveTo>
                  <a:pt x="922" y="186"/>
                </a:moveTo>
                <a:cubicBezTo>
                  <a:pt x="921" y="186"/>
                  <a:pt x="920" y="189"/>
                  <a:pt x="920" y="189"/>
                </a:cubicBezTo>
                <a:cubicBezTo>
                  <a:pt x="921" y="189"/>
                  <a:pt x="921" y="190"/>
                  <a:pt x="922" y="191"/>
                </a:cubicBezTo>
                <a:cubicBezTo>
                  <a:pt x="922" y="190"/>
                  <a:pt x="923" y="190"/>
                  <a:pt x="924" y="190"/>
                </a:cubicBezTo>
                <a:cubicBezTo>
                  <a:pt x="924" y="189"/>
                  <a:pt x="924" y="189"/>
                  <a:pt x="924" y="189"/>
                </a:cubicBezTo>
                <a:cubicBezTo>
                  <a:pt x="923" y="188"/>
                  <a:pt x="922" y="186"/>
                  <a:pt x="922" y="186"/>
                </a:cubicBezTo>
                <a:close/>
                <a:moveTo>
                  <a:pt x="932" y="189"/>
                </a:moveTo>
                <a:cubicBezTo>
                  <a:pt x="933" y="191"/>
                  <a:pt x="933" y="191"/>
                  <a:pt x="933" y="191"/>
                </a:cubicBezTo>
                <a:cubicBezTo>
                  <a:pt x="934" y="191"/>
                  <a:pt x="936" y="191"/>
                  <a:pt x="936" y="191"/>
                </a:cubicBezTo>
                <a:cubicBezTo>
                  <a:pt x="936" y="189"/>
                  <a:pt x="936" y="189"/>
                  <a:pt x="936" y="189"/>
                </a:cubicBezTo>
                <a:cubicBezTo>
                  <a:pt x="935" y="189"/>
                  <a:pt x="933" y="190"/>
                  <a:pt x="932" y="189"/>
                </a:cubicBezTo>
                <a:close/>
                <a:moveTo>
                  <a:pt x="938" y="191"/>
                </a:moveTo>
                <a:cubicBezTo>
                  <a:pt x="938" y="191"/>
                  <a:pt x="935" y="194"/>
                  <a:pt x="938" y="193"/>
                </a:cubicBezTo>
                <a:cubicBezTo>
                  <a:pt x="938" y="193"/>
                  <a:pt x="940" y="190"/>
                  <a:pt x="938" y="191"/>
                </a:cubicBezTo>
                <a:close/>
                <a:moveTo>
                  <a:pt x="619" y="28"/>
                </a:moveTo>
                <a:cubicBezTo>
                  <a:pt x="618" y="29"/>
                  <a:pt x="618" y="29"/>
                  <a:pt x="618" y="29"/>
                </a:cubicBezTo>
                <a:cubicBezTo>
                  <a:pt x="613" y="31"/>
                  <a:pt x="616" y="33"/>
                  <a:pt x="620" y="33"/>
                </a:cubicBezTo>
                <a:cubicBezTo>
                  <a:pt x="622" y="33"/>
                  <a:pt x="624" y="31"/>
                  <a:pt x="626" y="30"/>
                </a:cubicBezTo>
                <a:cubicBezTo>
                  <a:pt x="626" y="30"/>
                  <a:pt x="624" y="30"/>
                  <a:pt x="625" y="29"/>
                </a:cubicBezTo>
                <a:cubicBezTo>
                  <a:pt x="624" y="29"/>
                  <a:pt x="622" y="29"/>
                  <a:pt x="621" y="29"/>
                </a:cubicBezTo>
                <a:cubicBezTo>
                  <a:pt x="620" y="29"/>
                  <a:pt x="620" y="28"/>
                  <a:pt x="619" y="28"/>
                </a:cubicBezTo>
                <a:close/>
                <a:moveTo>
                  <a:pt x="626" y="52"/>
                </a:moveTo>
                <a:cubicBezTo>
                  <a:pt x="625" y="53"/>
                  <a:pt x="627" y="55"/>
                  <a:pt x="626" y="56"/>
                </a:cubicBezTo>
                <a:cubicBezTo>
                  <a:pt x="626" y="56"/>
                  <a:pt x="624" y="57"/>
                  <a:pt x="624" y="57"/>
                </a:cubicBezTo>
                <a:cubicBezTo>
                  <a:pt x="624" y="59"/>
                  <a:pt x="624" y="60"/>
                  <a:pt x="625" y="61"/>
                </a:cubicBezTo>
                <a:cubicBezTo>
                  <a:pt x="626" y="62"/>
                  <a:pt x="626" y="62"/>
                  <a:pt x="626" y="62"/>
                </a:cubicBezTo>
                <a:cubicBezTo>
                  <a:pt x="626" y="63"/>
                  <a:pt x="625" y="62"/>
                  <a:pt x="625" y="64"/>
                </a:cubicBezTo>
                <a:cubicBezTo>
                  <a:pt x="628" y="64"/>
                  <a:pt x="638" y="64"/>
                  <a:pt x="642" y="62"/>
                </a:cubicBezTo>
                <a:cubicBezTo>
                  <a:pt x="648" y="59"/>
                  <a:pt x="637" y="56"/>
                  <a:pt x="635" y="55"/>
                </a:cubicBezTo>
                <a:cubicBezTo>
                  <a:pt x="634" y="55"/>
                  <a:pt x="634" y="53"/>
                  <a:pt x="633" y="52"/>
                </a:cubicBezTo>
                <a:cubicBezTo>
                  <a:pt x="632" y="52"/>
                  <a:pt x="627" y="52"/>
                  <a:pt x="626" y="52"/>
                </a:cubicBezTo>
                <a:close/>
                <a:moveTo>
                  <a:pt x="668" y="113"/>
                </a:moveTo>
                <a:cubicBezTo>
                  <a:pt x="668" y="113"/>
                  <a:pt x="668" y="114"/>
                  <a:pt x="668" y="114"/>
                </a:cubicBezTo>
                <a:cubicBezTo>
                  <a:pt x="666" y="114"/>
                  <a:pt x="665" y="114"/>
                  <a:pt x="664" y="114"/>
                </a:cubicBezTo>
                <a:cubicBezTo>
                  <a:pt x="664" y="114"/>
                  <a:pt x="661" y="114"/>
                  <a:pt x="660" y="114"/>
                </a:cubicBezTo>
                <a:cubicBezTo>
                  <a:pt x="659" y="116"/>
                  <a:pt x="659" y="116"/>
                  <a:pt x="659" y="116"/>
                </a:cubicBezTo>
                <a:cubicBezTo>
                  <a:pt x="661" y="116"/>
                  <a:pt x="664" y="119"/>
                  <a:pt x="668" y="118"/>
                </a:cubicBezTo>
                <a:cubicBezTo>
                  <a:pt x="668" y="118"/>
                  <a:pt x="675" y="113"/>
                  <a:pt x="668" y="113"/>
                </a:cubicBezTo>
                <a:close/>
                <a:moveTo>
                  <a:pt x="636" y="119"/>
                </a:moveTo>
                <a:cubicBezTo>
                  <a:pt x="636" y="121"/>
                  <a:pt x="636" y="121"/>
                  <a:pt x="636" y="121"/>
                </a:cubicBezTo>
                <a:cubicBezTo>
                  <a:pt x="639" y="121"/>
                  <a:pt x="639" y="119"/>
                  <a:pt x="636" y="119"/>
                </a:cubicBezTo>
                <a:close/>
                <a:moveTo>
                  <a:pt x="575" y="165"/>
                </a:moveTo>
                <a:cubicBezTo>
                  <a:pt x="578" y="164"/>
                  <a:pt x="577" y="166"/>
                  <a:pt x="577" y="166"/>
                </a:cubicBezTo>
                <a:cubicBezTo>
                  <a:pt x="576" y="166"/>
                  <a:pt x="575" y="166"/>
                  <a:pt x="575" y="166"/>
                </a:cubicBezTo>
                <a:cubicBezTo>
                  <a:pt x="574" y="167"/>
                  <a:pt x="574" y="168"/>
                  <a:pt x="573" y="169"/>
                </a:cubicBezTo>
                <a:cubicBezTo>
                  <a:pt x="571" y="170"/>
                  <a:pt x="574" y="165"/>
                  <a:pt x="575" y="165"/>
                </a:cubicBezTo>
                <a:close/>
                <a:moveTo>
                  <a:pt x="724" y="184"/>
                </a:moveTo>
                <a:cubicBezTo>
                  <a:pt x="727" y="184"/>
                  <a:pt x="733" y="186"/>
                  <a:pt x="726" y="187"/>
                </a:cubicBezTo>
                <a:cubicBezTo>
                  <a:pt x="723" y="187"/>
                  <a:pt x="721" y="184"/>
                  <a:pt x="724" y="184"/>
                </a:cubicBezTo>
                <a:close/>
                <a:moveTo>
                  <a:pt x="712" y="192"/>
                </a:moveTo>
                <a:cubicBezTo>
                  <a:pt x="712" y="192"/>
                  <a:pt x="713" y="193"/>
                  <a:pt x="713" y="194"/>
                </a:cubicBezTo>
                <a:cubicBezTo>
                  <a:pt x="711" y="194"/>
                  <a:pt x="710" y="192"/>
                  <a:pt x="712" y="192"/>
                </a:cubicBezTo>
                <a:close/>
                <a:moveTo>
                  <a:pt x="442" y="160"/>
                </a:moveTo>
                <a:cubicBezTo>
                  <a:pt x="442" y="161"/>
                  <a:pt x="440" y="161"/>
                  <a:pt x="440" y="161"/>
                </a:cubicBezTo>
                <a:cubicBezTo>
                  <a:pt x="440" y="163"/>
                  <a:pt x="441" y="164"/>
                  <a:pt x="440" y="165"/>
                </a:cubicBezTo>
                <a:cubicBezTo>
                  <a:pt x="440" y="166"/>
                  <a:pt x="438" y="167"/>
                  <a:pt x="438" y="167"/>
                </a:cubicBezTo>
                <a:cubicBezTo>
                  <a:pt x="438" y="167"/>
                  <a:pt x="439" y="168"/>
                  <a:pt x="438" y="169"/>
                </a:cubicBezTo>
                <a:cubicBezTo>
                  <a:pt x="439" y="169"/>
                  <a:pt x="442" y="169"/>
                  <a:pt x="441" y="169"/>
                </a:cubicBezTo>
                <a:cubicBezTo>
                  <a:pt x="447" y="167"/>
                  <a:pt x="446" y="168"/>
                  <a:pt x="446" y="161"/>
                </a:cubicBezTo>
                <a:cubicBezTo>
                  <a:pt x="445" y="161"/>
                  <a:pt x="444" y="161"/>
                  <a:pt x="442" y="160"/>
                </a:cubicBezTo>
                <a:close/>
                <a:moveTo>
                  <a:pt x="515" y="166"/>
                </a:moveTo>
                <a:cubicBezTo>
                  <a:pt x="514" y="167"/>
                  <a:pt x="513" y="168"/>
                  <a:pt x="512" y="169"/>
                </a:cubicBezTo>
                <a:cubicBezTo>
                  <a:pt x="512" y="170"/>
                  <a:pt x="511" y="171"/>
                  <a:pt x="512" y="171"/>
                </a:cubicBezTo>
                <a:cubicBezTo>
                  <a:pt x="512" y="172"/>
                  <a:pt x="513" y="172"/>
                  <a:pt x="514" y="173"/>
                </a:cubicBezTo>
                <a:cubicBezTo>
                  <a:pt x="514" y="173"/>
                  <a:pt x="515" y="174"/>
                  <a:pt x="515" y="174"/>
                </a:cubicBezTo>
                <a:cubicBezTo>
                  <a:pt x="516" y="174"/>
                  <a:pt x="517" y="174"/>
                  <a:pt x="518" y="174"/>
                </a:cubicBezTo>
                <a:cubicBezTo>
                  <a:pt x="519" y="172"/>
                  <a:pt x="520" y="169"/>
                  <a:pt x="518" y="167"/>
                </a:cubicBezTo>
                <a:cubicBezTo>
                  <a:pt x="518" y="166"/>
                  <a:pt x="516" y="167"/>
                  <a:pt x="515" y="166"/>
                </a:cubicBezTo>
                <a:close/>
                <a:moveTo>
                  <a:pt x="470" y="171"/>
                </a:moveTo>
                <a:cubicBezTo>
                  <a:pt x="470" y="172"/>
                  <a:pt x="470" y="174"/>
                  <a:pt x="471" y="174"/>
                </a:cubicBezTo>
                <a:cubicBezTo>
                  <a:pt x="472" y="174"/>
                  <a:pt x="471" y="174"/>
                  <a:pt x="472" y="173"/>
                </a:cubicBezTo>
                <a:cubicBezTo>
                  <a:pt x="473" y="173"/>
                  <a:pt x="472" y="171"/>
                  <a:pt x="472" y="171"/>
                </a:cubicBezTo>
                <a:cubicBezTo>
                  <a:pt x="471" y="171"/>
                  <a:pt x="470" y="172"/>
                  <a:pt x="470" y="171"/>
                </a:cubicBezTo>
                <a:close/>
                <a:moveTo>
                  <a:pt x="506" y="177"/>
                </a:moveTo>
                <a:cubicBezTo>
                  <a:pt x="505" y="178"/>
                  <a:pt x="503" y="181"/>
                  <a:pt x="502" y="181"/>
                </a:cubicBezTo>
                <a:cubicBezTo>
                  <a:pt x="501" y="182"/>
                  <a:pt x="501" y="181"/>
                  <a:pt x="500" y="182"/>
                </a:cubicBezTo>
                <a:cubicBezTo>
                  <a:pt x="500" y="183"/>
                  <a:pt x="501" y="184"/>
                  <a:pt x="500" y="185"/>
                </a:cubicBezTo>
                <a:cubicBezTo>
                  <a:pt x="502" y="185"/>
                  <a:pt x="502" y="185"/>
                  <a:pt x="502" y="185"/>
                </a:cubicBezTo>
                <a:cubicBezTo>
                  <a:pt x="503" y="185"/>
                  <a:pt x="504" y="183"/>
                  <a:pt x="505" y="183"/>
                </a:cubicBezTo>
                <a:cubicBezTo>
                  <a:pt x="507" y="182"/>
                  <a:pt x="508" y="183"/>
                  <a:pt x="509" y="183"/>
                </a:cubicBezTo>
                <a:cubicBezTo>
                  <a:pt x="510" y="182"/>
                  <a:pt x="511" y="181"/>
                  <a:pt x="512" y="181"/>
                </a:cubicBezTo>
                <a:cubicBezTo>
                  <a:pt x="512" y="180"/>
                  <a:pt x="512" y="179"/>
                  <a:pt x="512" y="179"/>
                </a:cubicBezTo>
                <a:cubicBezTo>
                  <a:pt x="510" y="178"/>
                  <a:pt x="508" y="177"/>
                  <a:pt x="506" y="177"/>
                </a:cubicBezTo>
                <a:close/>
                <a:moveTo>
                  <a:pt x="505" y="211"/>
                </a:moveTo>
                <a:cubicBezTo>
                  <a:pt x="506" y="212"/>
                  <a:pt x="506" y="212"/>
                  <a:pt x="506" y="212"/>
                </a:cubicBezTo>
                <a:cubicBezTo>
                  <a:pt x="509" y="213"/>
                  <a:pt x="508" y="213"/>
                  <a:pt x="505" y="214"/>
                </a:cubicBezTo>
                <a:cubicBezTo>
                  <a:pt x="505" y="214"/>
                  <a:pt x="503" y="210"/>
                  <a:pt x="505" y="211"/>
                </a:cubicBezTo>
                <a:close/>
                <a:moveTo>
                  <a:pt x="321" y="211"/>
                </a:moveTo>
                <a:cubicBezTo>
                  <a:pt x="322" y="212"/>
                  <a:pt x="322" y="213"/>
                  <a:pt x="322" y="213"/>
                </a:cubicBezTo>
                <a:cubicBezTo>
                  <a:pt x="323" y="214"/>
                  <a:pt x="325" y="214"/>
                  <a:pt x="324" y="213"/>
                </a:cubicBezTo>
                <a:cubicBezTo>
                  <a:pt x="323" y="212"/>
                  <a:pt x="322" y="212"/>
                  <a:pt x="321" y="211"/>
                </a:cubicBezTo>
                <a:close/>
                <a:moveTo>
                  <a:pt x="338" y="216"/>
                </a:moveTo>
                <a:cubicBezTo>
                  <a:pt x="338" y="216"/>
                  <a:pt x="338" y="219"/>
                  <a:pt x="338" y="219"/>
                </a:cubicBezTo>
                <a:cubicBezTo>
                  <a:pt x="338" y="219"/>
                  <a:pt x="337" y="219"/>
                  <a:pt x="337" y="219"/>
                </a:cubicBezTo>
                <a:cubicBezTo>
                  <a:pt x="337" y="219"/>
                  <a:pt x="337" y="222"/>
                  <a:pt x="337" y="221"/>
                </a:cubicBezTo>
                <a:cubicBezTo>
                  <a:pt x="338" y="222"/>
                  <a:pt x="337" y="223"/>
                  <a:pt x="337" y="223"/>
                </a:cubicBezTo>
                <a:cubicBezTo>
                  <a:pt x="338" y="224"/>
                  <a:pt x="339" y="225"/>
                  <a:pt x="339" y="225"/>
                </a:cubicBezTo>
                <a:cubicBezTo>
                  <a:pt x="340" y="226"/>
                  <a:pt x="343" y="224"/>
                  <a:pt x="345" y="225"/>
                </a:cubicBezTo>
                <a:cubicBezTo>
                  <a:pt x="345" y="225"/>
                  <a:pt x="347" y="229"/>
                  <a:pt x="347" y="229"/>
                </a:cubicBezTo>
                <a:cubicBezTo>
                  <a:pt x="348" y="229"/>
                  <a:pt x="350" y="229"/>
                  <a:pt x="351" y="229"/>
                </a:cubicBezTo>
                <a:cubicBezTo>
                  <a:pt x="351" y="229"/>
                  <a:pt x="353" y="230"/>
                  <a:pt x="354" y="229"/>
                </a:cubicBezTo>
                <a:cubicBezTo>
                  <a:pt x="354" y="229"/>
                  <a:pt x="355" y="228"/>
                  <a:pt x="355" y="228"/>
                </a:cubicBezTo>
                <a:cubicBezTo>
                  <a:pt x="354" y="225"/>
                  <a:pt x="353" y="224"/>
                  <a:pt x="349" y="222"/>
                </a:cubicBezTo>
                <a:cubicBezTo>
                  <a:pt x="348" y="221"/>
                  <a:pt x="346" y="221"/>
                  <a:pt x="345" y="220"/>
                </a:cubicBezTo>
                <a:cubicBezTo>
                  <a:pt x="344" y="219"/>
                  <a:pt x="342" y="216"/>
                  <a:pt x="341" y="216"/>
                </a:cubicBezTo>
                <a:cubicBezTo>
                  <a:pt x="340" y="216"/>
                  <a:pt x="339" y="216"/>
                  <a:pt x="338" y="216"/>
                </a:cubicBezTo>
                <a:close/>
                <a:moveTo>
                  <a:pt x="0" y="456"/>
                </a:moveTo>
                <a:cubicBezTo>
                  <a:pt x="0" y="456"/>
                  <a:pt x="3" y="459"/>
                  <a:pt x="10" y="461"/>
                </a:cubicBezTo>
                <a:cubicBezTo>
                  <a:pt x="16" y="463"/>
                  <a:pt x="18" y="462"/>
                  <a:pt x="21" y="462"/>
                </a:cubicBezTo>
                <a:cubicBezTo>
                  <a:pt x="25" y="462"/>
                  <a:pt x="26" y="463"/>
                  <a:pt x="26" y="463"/>
                </a:cubicBezTo>
                <a:cubicBezTo>
                  <a:pt x="30" y="461"/>
                  <a:pt x="30" y="461"/>
                  <a:pt x="30" y="461"/>
                </a:cubicBezTo>
                <a:cubicBezTo>
                  <a:pt x="28" y="453"/>
                  <a:pt x="28" y="453"/>
                  <a:pt x="28" y="453"/>
                </a:cubicBezTo>
                <a:cubicBezTo>
                  <a:pt x="28" y="453"/>
                  <a:pt x="20" y="453"/>
                  <a:pt x="18" y="451"/>
                </a:cubicBezTo>
                <a:cubicBezTo>
                  <a:pt x="16" y="449"/>
                  <a:pt x="11" y="443"/>
                  <a:pt x="11" y="443"/>
                </a:cubicBezTo>
                <a:cubicBezTo>
                  <a:pt x="10" y="444"/>
                  <a:pt x="9" y="445"/>
                  <a:pt x="8" y="445"/>
                </a:cubicBezTo>
                <a:cubicBezTo>
                  <a:pt x="8" y="445"/>
                  <a:pt x="10" y="440"/>
                  <a:pt x="8" y="441"/>
                </a:cubicBezTo>
                <a:cubicBezTo>
                  <a:pt x="8" y="441"/>
                  <a:pt x="6" y="442"/>
                  <a:pt x="8" y="442"/>
                </a:cubicBezTo>
                <a:cubicBezTo>
                  <a:pt x="7" y="443"/>
                  <a:pt x="6" y="443"/>
                  <a:pt x="5" y="444"/>
                </a:cubicBezTo>
                <a:cubicBezTo>
                  <a:pt x="4" y="444"/>
                  <a:pt x="4" y="444"/>
                  <a:pt x="4" y="444"/>
                </a:cubicBezTo>
                <a:cubicBezTo>
                  <a:pt x="3" y="445"/>
                  <a:pt x="3" y="447"/>
                  <a:pt x="2" y="449"/>
                </a:cubicBezTo>
                <a:cubicBezTo>
                  <a:pt x="3" y="449"/>
                  <a:pt x="4" y="448"/>
                  <a:pt x="4" y="449"/>
                </a:cubicBezTo>
                <a:cubicBezTo>
                  <a:pt x="4" y="449"/>
                  <a:pt x="3" y="450"/>
                  <a:pt x="2" y="450"/>
                </a:cubicBezTo>
                <a:cubicBezTo>
                  <a:pt x="2" y="451"/>
                  <a:pt x="3" y="452"/>
                  <a:pt x="2" y="453"/>
                </a:cubicBezTo>
                <a:cubicBezTo>
                  <a:pt x="2" y="453"/>
                  <a:pt x="1" y="454"/>
                  <a:pt x="0" y="454"/>
                </a:cubicBezTo>
                <a:cubicBezTo>
                  <a:pt x="0" y="455"/>
                  <a:pt x="0" y="455"/>
                  <a:pt x="0" y="456"/>
                </a:cubicBezTo>
                <a:close/>
                <a:moveTo>
                  <a:pt x="354" y="46"/>
                </a:moveTo>
                <a:cubicBezTo>
                  <a:pt x="356" y="47"/>
                  <a:pt x="358" y="49"/>
                  <a:pt x="360" y="48"/>
                </a:cubicBezTo>
                <a:cubicBezTo>
                  <a:pt x="362" y="47"/>
                  <a:pt x="360" y="41"/>
                  <a:pt x="359" y="40"/>
                </a:cubicBezTo>
                <a:cubicBezTo>
                  <a:pt x="361" y="40"/>
                  <a:pt x="363" y="41"/>
                  <a:pt x="365" y="40"/>
                </a:cubicBezTo>
                <a:cubicBezTo>
                  <a:pt x="366" y="39"/>
                  <a:pt x="366" y="39"/>
                  <a:pt x="366" y="39"/>
                </a:cubicBezTo>
                <a:cubicBezTo>
                  <a:pt x="367" y="39"/>
                  <a:pt x="368" y="39"/>
                  <a:pt x="369" y="40"/>
                </a:cubicBezTo>
                <a:cubicBezTo>
                  <a:pt x="369" y="39"/>
                  <a:pt x="369" y="38"/>
                  <a:pt x="369" y="37"/>
                </a:cubicBezTo>
                <a:cubicBezTo>
                  <a:pt x="369" y="36"/>
                  <a:pt x="367" y="34"/>
                  <a:pt x="366" y="33"/>
                </a:cubicBezTo>
                <a:cubicBezTo>
                  <a:pt x="365" y="33"/>
                  <a:pt x="364" y="34"/>
                  <a:pt x="363" y="34"/>
                </a:cubicBezTo>
                <a:cubicBezTo>
                  <a:pt x="361" y="32"/>
                  <a:pt x="366" y="31"/>
                  <a:pt x="359" y="31"/>
                </a:cubicBezTo>
                <a:cubicBezTo>
                  <a:pt x="357" y="32"/>
                  <a:pt x="357" y="32"/>
                  <a:pt x="357" y="32"/>
                </a:cubicBezTo>
                <a:cubicBezTo>
                  <a:pt x="355" y="32"/>
                  <a:pt x="355" y="31"/>
                  <a:pt x="353" y="31"/>
                </a:cubicBezTo>
                <a:cubicBezTo>
                  <a:pt x="353" y="32"/>
                  <a:pt x="352" y="35"/>
                  <a:pt x="351" y="36"/>
                </a:cubicBezTo>
                <a:cubicBezTo>
                  <a:pt x="350" y="38"/>
                  <a:pt x="347" y="38"/>
                  <a:pt x="347" y="41"/>
                </a:cubicBezTo>
                <a:cubicBezTo>
                  <a:pt x="346" y="46"/>
                  <a:pt x="348" y="48"/>
                  <a:pt x="353" y="47"/>
                </a:cubicBezTo>
                <a:lnTo>
                  <a:pt x="354" y="46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2" name="Google Shape;472;p102"/>
          <p:cNvSpPr/>
          <p:nvPr/>
        </p:nvSpPr>
        <p:spPr>
          <a:xfrm>
            <a:off x="6770137" y="3186015"/>
            <a:ext cx="212728" cy="163881"/>
          </a:xfrm>
          <a:custGeom>
            <a:avLst/>
            <a:gdLst/>
            <a:ahLst/>
            <a:cxnLst/>
            <a:rect l="l" t="t" r="r" b="b"/>
            <a:pathLst>
              <a:path w="74" h="59" extrusionOk="0">
                <a:moveTo>
                  <a:pt x="74" y="39"/>
                </a:moveTo>
                <a:cubicBezTo>
                  <a:pt x="74" y="39"/>
                  <a:pt x="70" y="38"/>
                  <a:pt x="69" y="39"/>
                </a:cubicBezTo>
                <a:cubicBezTo>
                  <a:pt x="69" y="41"/>
                  <a:pt x="66" y="39"/>
                  <a:pt x="66" y="39"/>
                </a:cubicBezTo>
                <a:cubicBezTo>
                  <a:pt x="66" y="39"/>
                  <a:pt x="65" y="39"/>
                  <a:pt x="64" y="38"/>
                </a:cubicBezTo>
                <a:cubicBezTo>
                  <a:pt x="64" y="38"/>
                  <a:pt x="63" y="38"/>
                  <a:pt x="62" y="37"/>
                </a:cubicBezTo>
                <a:cubicBezTo>
                  <a:pt x="60" y="36"/>
                  <a:pt x="63" y="33"/>
                  <a:pt x="61" y="32"/>
                </a:cubicBezTo>
                <a:cubicBezTo>
                  <a:pt x="60" y="32"/>
                  <a:pt x="62" y="29"/>
                  <a:pt x="61" y="27"/>
                </a:cubicBezTo>
                <a:cubicBezTo>
                  <a:pt x="61" y="25"/>
                  <a:pt x="63" y="25"/>
                  <a:pt x="61" y="23"/>
                </a:cubicBezTo>
                <a:cubicBezTo>
                  <a:pt x="60" y="22"/>
                  <a:pt x="62" y="20"/>
                  <a:pt x="61" y="18"/>
                </a:cubicBezTo>
                <a:cubicBezTo>
                  <a:pt x="60" y="16"/>
                  <a:pt x="60" y="15"/>
                  <a:pt x="57" y="12"/>
                </a:cubicBezTo>
                <a:cubicBezTo>
                  <a:pt x="55" y="9"/>
                  <a:pt x="55" y="10"/>
                  <a:pt x="54" y="6"/>
                </a:cubicBezTo>
                <a:cubicBezTo>
                  <a:pt x="53" y="3"/>
                  <a:pt x="48" y="0"/>
                  <a:pt x="48" y="0"/>
                </a:cubicBezTo>
                <a:cubicBezTo>
                  <a:pt x="48" y="0"/>
                  <a:pt x="45" y="1"/>
                  <a:pt x="45" y="3"/>
                </a:cubicBezTo>
                <a:cubicBezTo>
                  <a:pt x="44" y="5"/>
                  <a:pt x="43" y="5"/>
                  <a:pt x="41" y="5"/>
                </a:cubicBezTo>
                <a:cubicBezTo>
                  <a:pt x="39" y="5"/>
                  <a:pt x="39" y="7"/>
                  <a:pt x="36" y="8"/>
                </a:cubicBezTo>
                <a:cubicBezTo>
                  <a:pt x="34" y="9"/>
                  <a:pt x="34" y="9"/>
                  <a:pt x="33" y="7"/>
                </a:cubicBezTo>
                <a:cubicBezTo>
                  <a:pt x="31" y="5"/>
                  <a:pt x="30" y="5"/>
                  <a:pt x="27" y="5"/>
                </a:cubicBezTo>
                <a:cubicBezTo>
                  <a:pt x="24" y="5"/>
                  <a:pt x="23" y="5"/>
                  <a:pt x="22" y="3"/>
                </a:cubicBezTo>
                <a:cubicBezTo>
                  <a:pt x="21" y="1"/>
                  <a:pt x="18" y="2"/>
                  <a:pt x="18" y="2"/>
                </a:cubicBezTo>
                <a:cubicBezTo>
                  <a:pt x="18" y="2"/>
                  <a:pt x="18" y="8"/>
                  <a:pt x="17" y="10"/>
                </a:cubicBezTo>
                <a:cubicBezTo>
                  <a:pt x="17" y="12"/>
                  <a:pt x="16" y="12"/>
                  <a:pt x="12" y="14"/>
                </a:cubicBezTo>
                <a:cubicBezTo>
                  <a:pt x="9" y="17"/>
                  <a:pt x="11" y="24"/>
                  <a:pt x="8" y="30"/>
                </a:cubicBezTo>
                <a:cubicBezTo>
                  <a:pt x="5" y="35"/>
                  <a:pt x="2" y="35"/>
                  <a:pt x="2" y="35"/>
                </a:cubicBezTo>
                <a:cubicBezTo>
                  <a:pt x="2" y="35"/>
                  <a:pt x="1" y="35"/>
                  <a:pt x="0" y="35"/>
                </a:cubicBezTo>
                <a:cubicBezTo>
                  <a:pt x="0" y="35"/>
                  <a:pt x="4" y="39"/>
                  <a:pt x="4" y="41"/>
                </a:cubicBezTo>
                <a:cubicBezTo>
                  <a:pt x="4" y="43"/>
                  <a:pt x="3" y="44"/>
                  <a:pt x="5" y="44"/>
                </a:cubicBezTo>
                <a:cubicBezTo>
                  <a:pt x="7" y="44"/>
                  <a:pt x="7" y="44"/>
                  <a:pt x="8" y="46"/>
                </a:cubicBezTo>
                <a:cubicBezTo>
                  <a:pt x="10" y="49"/>
                  <a:pt x="11" y="46"/>
                  <a:pt x="12" y="45"/>
                </a:cubicBezTo>
                <a:cubicBezTo>
                  <a:pt x="13" y="44"/>
                  <a:pt x="15" y="45"/>
                  <a:pt x="17" y="46"/>
                </a:cubicBezTo>
                <a:cubicBezTo>
                  <a:pt x="20" y="48"/>
                  <a:pt x="19" y="48"/>
                  <a:pt x="17" y="48"/>
                </a:cubicBezTo>
                <a:cubicBezTo>
                  <a:pt x="14" y="48"/>
                  <a:pt x="14" y="50"/>
                  <a:pt x="16" y="51"/>
                </a:cubicBezTo>
                <a:cubicBezTo>
                  <a:pt x="17" y="53"/>
                  <a:pt x="20" y="53"/>
                  <a:pt x="20" y="53"/>
                </a:cubicBezTo>
                <a:cubicBezTo>
                  <a:pt x="20" y="53"/>
                  <a:pt x="26" y="54"/>
                  <a:pt x="24" y="55"/>
                </a:cubicBezTo>
                <a:cubicBezTo>
                  <a:pt x="22" y="57"/>
                  <a:pt x="22" y="59"/>
                  <a:pt x="26" y="59"/>
                </a:cubicBezTo>
                <a:cubicBezTo>
                  <a:pt x="31" y="59"/>
                  <a:pt x="28" y="57"/>
                  <a:pt x="31" y="58"/>
                </a:cubicBezTo>
                <a:cubicBezTo>
                  <a:pt x="35" y="59"/>
                  <a:pt x="34" y="59"/>
                  <a:pt x="39" y="58"/>
                </a:cubicBezTo>
                <a:cubicBezTo>
                  <a:pt x="43" y="57"/>
                  <a:pt x="42" y="58"/>
                  <a:pt x="44" y="56"/>
                </a:cubicBezTo>
                <a:cubicBezTo>
                  <a:pt x="46" y="54"/>
                  <a:pt x="47" y="52"/>
                  <a:pt x="49" y="53"/>
                </a:cubicBezTo>
                <a:cubicBezTo>
                  <a:pt x="51" y="53"/>
                  <a:pt x="52" y="56"/>
                  <a:pt x="55" y="55"/>
                </a:cubicBezTo>
                <a:cubicBezTo>
                  <a:pt x="59" y="53"/>
                  <a:pt x="59" y="53"/>
                  <a:pt x="62" y="54"/>
                </a:cubicBezTo>
                <a:cubicBezTo>
                  <a:pt x="63" y="54"/>
                  <a:pt x="65" y="56"/>
                  <a:pt x="65" y="56"/>
                </a:cubicBezTo>
                <a:cubicBezTo>
                  <a:pt x="68" y="54"/>
                  <a:pt x="68" y="54"/>
                  <a:pt x="68" y="54"/>
                </a:cubicBezTo>
                <a:cubicBezTo>
                  <a:pt x="69" y="52"/>
                  <a:pt x="67" y="53"/>
                  <a:pt x="67" y="51"/>
                </a:cubicBezTo>
                <a:cubicBezTo>
                  <a:pt x="68" y="51"/>
                  <a:pt x="69" y="51"/>
                  <a:pt x="69" y="49"/>
                </a:cubicBezTo>
                <a:cubicBezTo>
                  <a:pt x="69" y="49"/>
                  <a:pt x="70" y="50"/>
                  <a:pt x="71" y="51"/>
                </a:cubicBezTo>
                <a:cubicBezTo>
                  <a:pt x="71" y="50"/>
                  <a:pt x="71" y="49"/>
                  <a:pt x="72" y="49"/>
                </a:cubicBezTo>
                <a:cubicBezTo>
                  <a:pt x="72" y="47"/>
                  <a:pt x="72" y="45"/>
                  <a:pt x="72" y="43"/>
                </a:cubicBezTo>
                <a:cubicBezTo>
                  <a:pt x="72" y="43"/>
                  <a:pt x="73" y="43"/>
                  <a:pt x="73" y="42"/>
                </a:cubicBezTo>
                <a:cubicBezTo>
                  <a:pt x="72" y="42"/>
                  <a:pt x="72" y="42"/>
                  <a:pt x="72" y="42"/>
                </a:cubicBezTo>
                <a:cubicBezTo>
                  <a:pt x="72" y="42"/>
                  <a:pt x="72" y="40"/>
                  <a:pt x="72" y="40"/>
                </a:cubicBezTo>
                <a:cubicBezTo>
                  <a:pt x="72" y="40"/>
                  <a:pt x="73" y="40"/>
                  <a:pt x="74" y="41"/>
                </a:cubicBezTo>
                <a:cubicBezTo>
                  <a:pt x="74" y="41"/>
                  <a:pt x="74" y="41"/>
                  <a:pt x="74" y="39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3" name="Google Shape;473;p102"/>
          <p:cNvSpPr/>
          <p:nvPr/>
        </p:nvSpPr>
        <p:spPr>
          <a:xfrm>
            <a:off x="7494881" y="3928849"/>
            <a:ext cx="23473" cy="33906"/>
          </a:xfrm>
          <a:custGeom>
            <a:avLst/>
            <a:gdLst/>
            <a:ahLst/>
            <a:cxnLst/>
            <a:rect l="l" t="t" r="r" b="b"/>
            <a:pathLst>
              <a:path w="8" h="12" extrusionOk="0">
                <a:moveTo>
                  <a:pt x="0" y="8"/>
                </a:moveTo>
                <a:cubicBezTo>
                  <a:pt x="0" y="8"/>
                  <a:pt x="0" y="6"/>
                  <a:pt x="0" y="6"/>
                </a:cubicBezTo>
                <a:cubicBezTo>
                  <a:pt x="4" y="4"/>
                  <a:pt x="4" y="4"/>
                  <a:pt x="5" y="0"/>
                </a:cubicBezTo>
                <a:cubicBezTo>
                  <a:pt x="5" y="0"/>
                  <a:pt x="7" y="0"/>
                  <a:pt x="7" y="0"/>
                </a:cubicBezTo>
                <a:cubicBezTo>
                  <a:pt x="8" y="3"/>
                  <a:pt x="8" y="7"/>
                  <a:pt x="7" y="12"/>
                </a:cubicBezTo>
                <a:cubicBezTo>
                  <a:pt x="4" y="11"/>
                  <a:pt x="4" y="11"/>
                  <a:pt x="4" y="11"/>
                </a:cubicBezTo>
                <a:lnTo>
                  <a:pt x="0" y="8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4" name="Google Shape;474;p102"/>
          <p:cNvSpPr/>
          <p:nvPr/>
        </p:nvSpPr>
        <p:spPr>
          <a:xfrm>
            <a:off x="4584170" y="4147828"/>
            <a:ext cx="42546" cy="22604"/>
          </a:xfrm>
          <a:custGeom>
            <a:avLst/>
            <a:gdLst/>
            <a:ahLst/>
            <a:cxnLst/>
            <a:rect l="l" t="t" r="r" b="b"/>
            <a:pathLst>
              <a:path w="15" h="8" extrusionOk="0">
                <a:moveTo>
                  <a:pt x="1" y="1"/>
                </a:moveTo>
                <a:cubicBezTo>
                  <a:pt x="1" y="1"/>
                  <a:pt x="0" y="3"/>
                  <a:pt x="0" y="4"/>
                </a:cubicBezTo>
                <a:cubicBezTo>
                  <a:pt x="1" y="4"/>
                  <a:pt x="1" y="6"/>
                  <a:pt x="2" y="6"/>
                </a:cubicBezTo>
                <a:cubicBezTo>
                  <a:pt x="6" y="8"/>
                  <a:pt x="9" y="6"/>
                  <a:pt x="11" y="4"/>
                </a:cubicBezTo>
                <a:cubicBezTo>
                  <a:pt x="15" y="0"/>
                  <a:pt x="5" y="1"/>
                  <a:pt x="1" y="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5" name="Google Shape;475;p102"/>
          <p:cNvSpPr/>
          <p:nvPr/>
        </p:nvSpPr>
        <p:spPr>
          <a:xfrm>
            <a:off x="6002849" y="3404711"/>
            <a:ext cx="77756" cy="172358"/>
          </a:xfrm>
          <a:custGeom>
            <a:avLst/>
            <a:gdLst/>
            <a:ahLst/>
            <a:cxnLst/>
            <a:rect l="l" t="t" r="r" b="b"/>
            <a:pathLst>
              <a:path w="27" h="62" extrusionOk="0">
                <a:moveTo>
                  <a:pt x="21" y="59"/>
                </a:moveTo>
                <a:cubicBezTo>
                  <a:pt x="21" y="59"/>
                  <a:pt x="21" y="56"/>
                  <a:pt x="23" y="53"/>
                </a:cubicBezTo>
                <a:cubicBezTo>
                  <a:pt x="24" y="51"/>
                  <a:pt x="22" y="53"/>
                  <a:pt x="20" y="51"/>
                </a:cubicBezTo>
                <a:cubicBezTo>
                  <a:pt x="18" y="48"/>
                  <a:pt x="20" y="48"/>
                  <a:pt x="21" y="45"/>
                </a:cubicBezTo>
                <a:cubicBezTo>
                  <a:pt x="22" y="41"/>
                  <a:pt x="22" y="44"/>
                  <a:pt x="21" y="41"/>
                </a:cubicBezTo>
                <a:cubicBezTo>
                  <a:pt x="17" y="36"/>
                  <a:pt x="20" y="37"/>
                  <a:pt x="22" y="34"/>
                </a:cubicBezTo>
                <a:cubicBezTo>
                  <a:pt x="23" y="32"/>
                  <a:pt x="22" y="31"/>
                  <a:pt x="22" y="28"/>
                </a:cubicBezTo>
                <a:cubicBezTo>
                  <a:pt x="22" y="25"/>
                  <a:pt x="20" y="26"/>
                  <a:pt x="23" y="23"/>
                </a:cubicBezTo>
                <a:cubicBezTo>
                  <a:pt x="25" y="22"/>
                  <a:pt x="24" y="18"/>
                  <a:pt x="22" y="14"/>
                </a:cubicBezTo>
                <a:cubicBezTo>
                  <a:pt x="20" y="11"/>
                  <a:pt x="23" y="12"/>
                  <a:pt x="25" y="8"/>
                </a:cubicBezTo>
                <a:cubicBezTo>
                  <a:pt x="27" y="4"/>
                  <a:pt x="26" y="5"/>
                  <a:pt x="24" y="5"/>
                </a:cubicBezTo>
                <a:cubicBezTo>
                  <a:pt x="22" y="4"/>
                  <a:pt x="24" y="3"/>
                  <a:pt x="21" y="3"/>
                </a:cubicBezTo>
                <a:cubicBezTo>
                  <a:pt x="18" y="3"/>
                  <a:pt x="19" y="3"/>
                  <a:pt x="15" y="4"/>
                </a:cubicBezTo>
                <a:cubicBezTo>
                  <a:pt x="11" y="4"/>
                  <a:pt x="14" y="4"/>
                  <a:pt x="13" y="2"/>
                </a:cubicBezTo>
                <a:cubicBezTo>
                  <a:pt x="12" y="0"/>
                  <a:pt x="8" y="3"/>
                  <a:pt x="8" y="3"/>
                </a:cubicBezTo>
                <a:cubicBezTo>
                  <a:pt x="9" y="7"/>
                  <a:pt x="10" y="16"/>
                  <a:pt x="9" y="20"/>
                </a:cubicBezTo>
                <a:cubicBezTo>
                  <a:pt x="9" y="21"/>
                  <a:pt x="6" y="22"/>
                  <a:pt x="6" y="22"/>
                </a:cubicBezTo>
                <a:cubicBezTo>
                  <a:pt x="6" y="23"/>
                  <a:pt x="7" y="24"/>
                  <a:pt x="7" y="26"/>
                </a:cubicBezTo>
                <a:cubicBezTo>
                  <a:pt x="7" y="26"/>
                  <a:pt x="5" y="28"/>
                  <a:pt x="5" y="28"/>
                </a:cubicBezTo>
                <a:cubicBezTo>
                  <a:pt x="5" y="29"/>
                  <a:pt x="5" y="30"/>
                  <a:pt x="5" y="31"/>
                </a:cubicBezTo>
                <a:cubicBezTo>
                  <a:pt x="5" y="31"/>
                  <a:pt x="3" y="32"/>
                  <a:pt x="3" y="32"/>
                </a:cubicBezTo>
                <a:cubicBezTo>
                  <a:pt x="2" y="33"/>
                  <a:pt x="4" y="35"/>
                  <a:pt x="2" y="36"/>
                </a:cubicBezTo>
                <a:cubicBezTo>
                  <a:pt x="0" y="37"/>
                  <a:pt x="3" y="40"/>
                  <a:pt x="3" y="40"/>
                </a:cubicBezTo>
                <a:cubicBezTo>
                  <a:pt x="3" y="40"/>
                  <a:pt x="5" y="38"/>
                  <a:pt x="5" y="38"/>
                </a:cubicBezTo>
                <a:cubicBezTo>
                  <a:pt x="5" y="39"/>
                  <a:pt x="5" y="40"/>
                  <a:pt x="5" y="41"/>
                </a:cubicBezTo>
                <a:cubicBezTo>
                  <a:pt x="5" y="41"/>
                  <a:pt x="4" y="41"/>
                  <a:pt x="3" y="42"/>
                </a:cubicBezTo>
                <a:cubicBezTo>
                  <a:pt x="4" y="42"/>
                  <a:pt x="3" y="43"/>
                  <a:pt x="3" y="44"/>
                </a:cubicBezTo>
                <a:cubicBezTo>
                  <a:pt x="4" y="44"/>
                  <a:pt x="5" y="44"/>
                  <a:pt x="5" y="44"/>
                </a:cubicBezTo>
                <a:cubicBezTo>
                  <a:pt x="6" y="45"/>
                  <a:pt x="5" y="49"/>
                  <a:pt x="7" y="50"/>
                </a:cubicBezTo>
                <a:cubicBezTo>
                  <a:pt x="7" y="51"/>
                  <a:pt x="7" y="51"/>
                  <a:pt x="7" y="51"/>
                </a:cubicBezTo>
                <a:cubicBezTo>
                  <a:pt x="6" y="54"/>
                  <a:pt x="5" y="56"/>
                  <a:pt x="5" y="60"/>
                </a:cubicBezTo>
                <a:cubicBezTo>
                  <a:pt x="7" y="60"/>
                  <a:pt x="10" y="59"/>
                  <a:pt x="13" y="60"/>
                </a:cubicBezTo>
                <a:cubicBezTo>
                  <a:pt x="14" y="60"/>
                  <a:pt x="13" y="62"/>
                  <a:pt x="15" y="62"/>
                </a:cubicBezTo>
                <a:cubicBezTo>
                  <a:pt x="17" y="62"/>
                  <a:pt x="20" y="59"/>
                  <a:pt x="21" y="59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6" name="Google Shape;476;p102"/>
          <p:cNvSpPr/>
          <p:nvPr/>
        </p:nvSpPr>
        <p:spPr>
          <a:xfrm>
            <a:off x="6589685" y="2963643"/>
            <a:ext cx="275813" cy="216154"/>
          </a:xfrm>
          <a:custGeom>
            <a:avLst/>
            <a:gdLst/>
            <a:ahLst/>
            <a:cxnLst/>
            <a:rect l="l" t="t" r="r" b="b"/>
            <a:pathLst>
              <a:path w="96" h="78" extrusionOk="0">
                <a:moveTo>
                  <a:pt x="49" y="6"/>
                </a:moveTo>
                <a:cubicBezTo>
                  <a:pt x="46" y="5"/>
                  <a:pt x="48" y="3"/>
                  <a:pt x="48" y="3"/>
                </a:cubicBezTo>
                <a:cubicBezTo>
                  <a:pt x="47" y="3"/>
                  <a:pt x="46" y="3"/>
                  <a:pt x="45" y="4"/>
                </a:cubicBezTo>
                <a:cubicBezTo>
                  <a:pt x="44" y="5"/>
                  <a:pt x="43" y="6"/>
                  <a:pt x="42" y="6"/>
                </a:cubicBezTo>
                <a:cubicBezTo>
                  <a:pt x="40" y="6"/>
                  <a:pt x="40" y="4"/>
                  <a:pt x="39" y="4"/>
                </a:cubicBezTo>
                <a:cubicBezTo>
                  <a:pt x="39" y="4"/>
                  <a:pt x="39" y="2"/>
                  <a:pt x="39" y="2"/>
                </a:cubicBezTo>
                <a:cubicBezTo>
                  <a:pt x="40" y="3"/>
                  <a:pt x="41" y="3"/>
                  <a:pt x="41" y="3"/>
                </a:cubicBezTo>
                <a:cubicBezTo>
                  <a:pt x="40" y="3"/>
                  <a:pt x="41" y="3"/>
                  <a:pt x="41" y="2"/>
                </a:cubicBezTo>
                <a:cubicBezTo>
                  <a:pt x="43" y="1"/>
                  <a:pt x="39" y="0"/>
                  <a:pt x="39" y="0"/>
                </a:cubicBezTo>
                <a:cubicBezTo>
                  <a:pt x="38" y="0"/>
                  <a:pt x="31" y="1"/>
                  <a:pt x="30" y="2"/>
                </a:cubicBezTo>
                <a:cubicBezTo>
                  <a:pt x="29" y="2"/>
                  <a:pt x="28" y="4"/>
                  <a:pt x="27" y="4"/>
                </a:cubicBezTo>
                <a:cubicBezTo>
                  <a:pt x="26" y="5"/>
                  <a:pt x="24" y="4"/>
                  <a:pt x="23" y="4"/>
                </a:cubicBezTo>
                <a:cubicBezTo>
                  <a:pt x="22" y="5"/>
                  <a:pt x="22" y="7"/>
                  <a:pt x="20" y="8"/>
                </a:cubicBezTo>
                <a:cubicBezTo>
                  <a:pt x="19" y="8"/>
                  <a:pt x="19" y="7"/>
                  <a:pt x="17" y="7"/>
                </a:cubicBezTo>
                <a:cubicBezTo>
                  <a:pt x="15" y="8"/>
                  <a:pt x="15" y="8"/>
                  <a:pt x="15" y="8"/>
                </a:cubicBezTo>
                <a:cubicBezTo>
                  <a:pt x="13" y="9"/>
                  <a:pt x="9" y="10"/>
                  <a:pt x="7" y="10"/>
                </a:cubicBezTo>
                <a:cubicBezTo>
                  <a:pt x="5" y="10"/>
                  <a:pt x="4" y="10"/>
                  <a:pt x="3" y="10"/>
                </a:cubicBezTo>
                <a:cubicBezTo>
                  <a:pt x="3" y="10"/>
                  <a:pt x="3" y="18"/>
                  <a:pt x="1" y="20"/>
                </a:cubicBezTo>
                <a:cubicBezTo>
                  <a:pt x="0" y="22"/>
                  <a:pt x="4" y="26"/>
                  <a:pt x="4" y="26"/>
                </a:cubicBezTo>
                <a:cubicBezTo>
                  <a:pt x="4" y="26"/>
                  <a:pt x="3" y="29"/>
                  <a:pt x="3" y="32"/>
                </a:cubicBezTo>
                <a:cubicBezTo>
                  <a:pt x="3" y="35"/>
                  <a:pt x="5" y="35"/>
                  <a:pt x="5" y="37"/>
                </a:cubicBezTo>
                <a:cubicBezTo>
                  <a:pt x="5" y="39"/>
                  <a:pt x="5" y="48"/>
                  <a:pt x="5" y="48"/>
                </a:cubicBezTo>
                <a:cubicBezTo>
                  <a:pt x="8" y="49"/>
                  <a:pt x="8" y="49"/>
                  <a:pt x="8" y="49"/>
                </a:cubicBezTo>
                <a:cubicBezTo>
                  <a:pt x="8" y="49"/>
                  <a:pt x="11" y="50"/>
                  <a:pt x="13" y="50"/>
                </a:cubicBezTo>
                <a:cubicBezTo>
                  <a:pt x="15" y="50"/>
                  <a:pt x="15" y="53"/>
                  <a:pt x="17" y="52"/>
                </a:cubicBezTo>
                <a:cubicBezTo>
                  <a:pt x="19" y="51"/>
                  <a:pt x="20" y="55"/>
                  <a:pt x="23" y="56"/>
                </a:cubicBezTo>
                <a:cubicBezTo>
                  <a:pt x="25" y="58"/>
                  <a:pt x="26" y="58"/>
                  <a:pt x="28" y="57"/>
                </a:cubicBezTo>
                <a:cubicBezTo>
                  <a:pt x="30" y="56"/>
                  <a:pt x="32" y="62"/>
                  <a:pt x="33" y="61"/>
                </a:cubicBezTo>
                <a:cubicBezTo>
                  <a:pt x="34" y="60"/>
                  <a:pt x="36" y="66"/>
                  <a:pt x="36" y="66"/>
                </a:cubicBezTo>
                <a:cubicBezTo>
                  <a:pt x="36" y="66"/>
                  <a:pt x="36" y="66"/>
                  <a:pt x="40" y="66"/>
                </a:cubicBezTo>
                <a:cubicBezTo>
                  <a:pt x="43" y="66"/>
                  <a:pt x="41" y="65"/>
                  <a:pt x="45" y="66"/>
                </a:cubicBezTo>
                <a:cubicBezTo>
                  <a:pt x="47" y="67"/>
                  <a:pt x="48" y="68"/>
                  <a:pt x="50" y="69"/>
                </a:cubicBezTo>
                <a:cubicBezTo>
                  <a:pt x="53" y="70"/>
                  <a:pt x="55" y="72"/>
                  <a:pt x="56" y="69"/>
                </a:cubicBezTo>
                <a:cubicBezTo>
                  <a:pt x="57" y="66"/>
                  <a:pt x="59" y="68"/>
                  <a:pt x="61" y="67"/>
                </a:cubicBezTo>
                <a:cubicBezTo>
                  <a:pt x="65" y="66"/>
                  <a:pt x="67" y="61"/>
                  <a:pt x="69" y="63"/>
                </a:cubicBezTo>
                <a:cubicBezTo>
                  <a:pt x="72" y="65"/>
                  <a:pt x="73" y="67"/>
                  <a:pt x="75" y="67"/>
                </a:cubicBezTo>
                <a:cubicBezTo>
                  <a:pt x="77" y="67"/>
                  <a:pt x="77" y="69"/>
                  <a:pt x="80" y="70"/>
                </a:cubicBezTo>
                <a:cubicBezTo>
                  <a:pt x="82" y="71"/>
                  <a:pt x="81" y="71"/>
                  <a:pt x="82" y="74"/>
                </a:cubicBezTo>
                <a:cubicBezTo>
                  <a:pt x="83" y="76"/>
                  <a:pt x="86" y="78"/>
                  <a:pt x="86" y="78"/>
                </a:cubicBezTo>
                <a:cubicBezTo>
                  <a:pt x="86" y="78"/>
                  <a:pt x="91" y="76"/>
                  <a:pt x="91" y="74"/>
                </a:cubicBezTo>
                <a:cubicBezTo>
                  <a:pt x="90" y="72"/>
                  <a:pt x="88" y="70"/>
                  <a:pt x="90" y="68"/>
                </a:cubicBezTo>
                <a:cubicBezTo>
                  <a:pt x="91" y="66"/>
                  <a:pt x="91" y="65"/>
                  <a:pt x="92" y="63"/>
                </a:cubicBezTo>
                <a:cubicBezTo>
                  <a:pt x="93" y="61"/>
                  <a:pt x="94" y="58"/>
                  <a:pt x="94" y="58"/>
                </a:cubicBezTo>
                <a:cubicBezTo>
                  <a:pt x="94" y="58"/>
                  <a:pt x="90" y="53"/>
                  <a:pt x="91" y="51"/>
                </a:cubicBezTo>
                <a:cubicBezTo>
                  <a:pt x="92" y="49"/>
                  <a:pt x="93" y="48"/>
                  <a:pt x="93" y="45"/>
                </a:cubicBezTo>
                <a:cubicBezTo>
                  <a:pt x="92" y="42"/>
                  <a:pt x="94" y="43"/>
                  <a:pt x="93" y="42"/>
                </a:cubicBezTo>
                <a:cubicBezTo>
                  <a:pt x="92" y="40"/>
                  <a:pt x="90" y="37"/>
                  <a:pt x="93" y="36"/>
                </a:cubicBezTo>
                <a:cubicBezTo>
                  <a:pt x="93" y="36"/>
                  <a:pt x="92" y="31"/>
                  <a:pt x="92" y="29"/>
                </a:cubicBezTo>
                <a:cubicBezTo>
                  <a:pt x="92" y="27"/>
                  <a:pt x="96" y="23"/>
                  <a:pt x="94" y="21"/>
                </a:cubicBezTo>
                <a:cubicBezTo>
                  <a:pt x="92" y="19"/>
                  <a:pt x="92" y="14"/>
                  <a:pt x="92" y="14"/>
                </a:cubicBezTo>
                <a:cubicBezTo>
                  <a:pt x="92" y="14"/>
                  <a:pt x="93" y="12"/>
                  <a:pt x="90" y="11"/>
                </a:cubicBezTo>
                <a:cubicBezTo>
                  <a:pt x="88" y="10"/>
                  <a:pt x="79" y="10"/>
                  <a:pt x="79" y="10"/>
                </a:cubicBezTo>
                <a:cubicBezTo>
                  <a:pt x="75" y="12"/>
                  <a:pt x="75" y="12"/>
                  <a:pt x="75" y="12"/>
                </a:cubicBezTo>
                <a:cubicBezTo>
                  <a:pt x="75" y="12"/>
                  <a:pt x="74" y="11"/>
                  <a:pt x="70" y="11"/>
                </a:cubicBezTo>
                <a:cubicBezTo>
                  <a:pt x="67" y="11"/>
                  <a:pt x="65" y="12"/>
                  <a:pt x="59" y="10"/>
                </a:cubicBezTo>
                <a:cubicBezTo>
                  <a:pt x="52" y="8"/>
                  <a:pt x="49" y="5"/>
                  <a:pt x="49" y="5"/>
                </a:cubicBezTo>
                <a:cubicBezTo>
                  <a:pt x="49" y="5"/>
                  <a:pt x="49" y="6"/>
                  <a:pt x="49" y="6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7" name="Google Shape;477;p102"/>
          <p:cNvSpPr/>
          <p:nvPr/>
        </p:nvSpPr>
        <p:spPr>
          <a:xfrm>
            <a:off x="9138024" y="4153479"/>
            <a:ext cx="236201" cy="396988"/>
          </a:xfrm>
          <a:custGeom>
            <a:avLst/>
            <a:gdLst/>
            <a:ahLst/>
            <a:cxnLst/>
            <a:rect l="l" t="t" r="r" b="b"/>
            <a:pathLst>
              <a:path w="82" h="143" extrusionOk="0">
                <a:moveTo>
                  <a:pt x="73" y="102"/>
                </a:moveTo>
                <a:cubicBezTo>
                  <a:pt x="72" y="103"/>
                  <a:pt x="72" y="103"/>
                  <a:pt x="71" y="103"/>
                </a:cubicBezTo>
                <a:cubicBezTo>
                  <a:pt x="72" y="103"/>
                  <a:pt x="71" y="109"/>
                  <a:pt x="71" y="109"/>
                </a:cubicBezTo>
                <a:cubicBezTo>
                  <a:pt x="70" y="110"/>
                  <a:pt x="68" y="108"/>
                  <a:pt x="68" y="108"/>
                </a:cubicBezTo>
                <a:cubicBezTo>
                  <a:pt x="68" y="109"/>
                  <a:pt x="66" y="109"/>
                  <a:pt x="66" y="109"/>
                </a:cubicBezTo>
                <a:cubicBezTo>
                  <a:pt x="65" y="111"/>
                  <a:pt x="66" y="112"/>
                  <a:pt x="65" y="113"/>
                </a:cubicBezTo>
                <a:cubicBezTo>
                  <a:pt x="64" y="112"/>
                  <a:pt x="62" y="111"/>
                  <a:pt x="61" y="111"/>
                </a:cubicBezTo>
                <a:cubicBezTo>
                  <a:pt x="60" y="112"/>
                  <a:pt x="61" y="114"/>
                  <a:pt x="60" y="114"/>
                </a:cubicBezTo>
                <a:cubicBezTo>
                  <a:pt x="59" y="114"/>
                  <a:pt x="55" y="115"/>
                  <a:pt x="55" y="115"/>
                </a:cubicBezTo>
                <a:cubicBezTo>
                  <a:pt x="54" y="115"/>
                  <a:pt x="55" y="113"/>
                  <a:pt x="55" y="113"/>
                </a:cubicBezTo>
                <a:cubicBezTo>
                  <a:pt x="55" y="113"/>
                  <a:pt x="55" y="112"/>
                  <a:pt x="55" y="111"/>
                </a:cubicBezTo>
                <a:cubicBezTo>
                  <a:pt x="55" y="111"/>
                  <a:pt x="54" y="111"/>
                  <a:pt x="54" y="111"/>
                </a:cubicBezTo>
                <a:cubicBezTo>
                  <a:pt x="54" y="111"/>
                  <a:pt x="54" y="111"/>
                  <a:pt x="54" y="111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0" y="112"/>
                  <a:pt x="49" y="112"/>
                  <a:pt x="49" y="113"/>
                </a:cubicBezTo>
                <a:cubicBezTo>
                  <a:pt x="48" y="113"/>
                  <a:pt x="49" y="115"/>
                  <a:pt x="49" y="115"/>
                </a:cubicBezTo>
                <a:cubicBezTo>
                  <a:pt x="47" y="116"/>
                  <a:pt x="44" y="117"/>
                  <a:pt x="42" y="117"/>
                </a:cubicBezTo>
                <a:cubicBezTo>
                  <a:pt x="42" y="119"/>
                  <a:pt x="43" y="121"/>
                  <a:pt x="42" y="123"/>
                </a:cubicBezTo>
                <a:cubicBezTo>
                  <a:pt x="42" y="124"/>
                  <a:pt x="40" y="125"/>
                  <a:pt x="40" y="125"/>
                </a:cubicBezTo>
                <a:cubicBezTo>
                  <a:pt x="40" y="127"/>
                  <a:pt x="41" y="126"/>
                  <a:pt x="41" y="127"/>
                </a:cubicBezTo>
                <a:cubicBezTo>
                  <a:pt x="41" y="127"/>
                  <a:pt x="43" y="127"/>
                  <a:pt x="43" y="127"/>
                </a:cubicBezTo>
                <a:cubicBezTo>
                  <a:pt x="44" y="126"/>
                  <a:pt x="43" y="126"/>
                  <a:pt x="44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8" y="122"/>
                  <a:pt x="47" y="122"/>
                  <a:pt x="48" y="124"/>
                </a:cubicBezTo>
                <a:cubicBezTo>
                  <a:pt x="51" y="124"/>
                  <a:pt x="53" y="124"/>
                  <a:pt x="55" y="124"/>
                </a:cubicBezTo>
                <a:cubicBezTo>
                  <a:pt x="55" y="124"/>
                  <a:pt x="55" y="122"/>
                  <a:pt x="57" y="123"/>
                </a:cubicBezTo>
                <a:cubicBezTo>
                  <a:pt x="57" y="123"/>
                  <a:pt x="59" y="125"/>
                  <a:pt x="59" y="125"/>
                </a:cubicBezTo>
                <a:cubicBezTo>
                  <a:pt x="60" y="124"/>
                  <a:pt x="60" y="126"/>
                  <a:pt x="60" y="127"/>
                </a:cubicBezTo>
                <a:cubicBezTo>
                  <a:pt x="59" y="127"/>
                  <a:pt x="59" y="127"/>
                  <a:pt x="59" y="127"/>
                </a:cubicBezTo>
                <a:cubicBezTo>
                  <a:pt x="58" y="129"/>
                  <a:pt x="56" y="133"/>
                  <a:pt x="58" y="136"/>
                </a:cubicBezTo>
                <a:cubicBezTo>
                  <a:pt x="58" y="137"/>
                  <a:pt x="61" y="137"/>
                  <a:pt x="61" y="137"/>
                </a:cubicBezTo>
                <a:cubicBezTo>
                  <a:pt x="65" y="140"/>
                  <a:pt x="63" y="140"/>
                  <a:pt x="69" y="139"/>
                </a:cubicBezTo>
                <a:cubicBezTo>
                  <a:pt x="68" y="140"/>
                  <a:pt x="69" y="143"/>
                  <a:pt x="69" y="143"/>
                </a:cubicBezTo>
                <a:cubicBezTo>
                  <a:pt x="70" y="143"/>
                  <a:pt x="72" y="143"/>
                  <a:pt x="72" y="142"/>
                </a:cubicBezTo>
                <a:cubicBezTo>
                  <a:pt x="74" y="139"/>
                  <a:pt x="73" y="135"/>
                  <a:pt x="71" y="132"/>
                </a:cubicBezTo>
                <a:cubicBezTo>
                  <a:pt x="71" y="132"/>
                  <a:pt x="74" y="131"/>
                  <a:pt x="75" y="135"/>
                </a:cubicBezTo>
                <a:cubicBezTo>
                  <a:pt x="76" y="135"/>
                  <a:pt x="76" y="135"/>
                  <a:pt x="76" y="135"/>
                </a:cubicBezTo>
                <a:cubicBezTo>
                  <a:pt x="75" y="131"/>
                  <a:pt x="75" y="130"/>
                  <a:pt x="74" y="127"/>
                </a:cubicBezTo>
                <a:cubicBezTo>
                  <a:pt x="75" y="126"/>
                  <a:pt x="77" y="125"/>
                  <a:pt x="77" y="124"/>
                </a:cubicBezTo>
                <a:cubicBezTo>
                  <a:pt x="78" y="123"/>
                  <a:pt x="78" y="120"/>
                  <a:pt x="79" y="120"/>
                </a:cubicBezTo>
                <a:cubicBezTo>
                  <a:pt x="81" y="120"/>
                  <a:pt x="81" y="120"/>
                  <a:pt x="81" y="120"/>
                </a:cubicBezTo>
                <a:cubicBezTo>
                  <a:pt x="82" y="117"/>
                  <a:pt x="80" y="115"/>
                  <a:pt x="79" y="113"/>
                </a:cubicBezTo>
                <a:cubicBezTo>
                  <a:pt x="78" y="110"/>
                  <a:pt x="77" y="107"/>
                  <a:pt x="77" y="103"/>
                </a:cubicBezTo>
                <a:cubicBezTo>
                  <a:pt x="75" y="103"/>
                  <a:pt x="74" y="103"/>
                  <a:pt x="73" y="102"/>
                </a:cubicBezTo>
                <a:close/>
                <a:moveTo>
                  <a:pt x="61" y="93"/>
                </a:moveTo>
                <a:cubicBezTo>
                  <a:pt x="61" y="94"/>
                  <a:pt x="60" y="95"/>
                  <a:pt x="59" y="95"/>
                </a:cubicBezTo>
                <a:cubicBezTo>
                  <a:pt x="59" y="95"/>
                  <a:pt x="59" y="97"/>
                  <a:pt x="59" y="97"/>
                </a:cubicBezTo>
                <a:cubicBezTo>
                  <a:pt x="62" y="98"/>
                  <a:pt x="63" y="98"/>
                  <a:pt x="65" y="98"/>
                </a:cubicBezTo>
                <a:cubicBezTo>
                  <a:pt x="66" y="96"/>
                  <a:pt x="66" y="96"/>
                  <a:pt x="66" y="96"/>
                </a:cubicBezTo>
                <a:cubicBezTo>
                  <a:pt x="65" y="96"/>
                  <a:pt x="65" y="94"/>
                  <a:pt x="64" y="93"/>
                </a:cubicBezTo>
                <a:cubicBezTo>
                  <a:pt x="63" y="93"/>
                  <a:pt x="62" y="94"/>
                  <a:pt x="61" y="93"/>
                </a:cubicBezTo>
                <a:close/>
                <a:moveTo>
                  <a:pt x="47" y="89"/>
                </a:moveTo>
                <a:cubicBezTo>
                  <a:pt x="47" y="89"/>
                  <a:pt x="46" y="90"/>
                  <a:pt x="48" y="90"/>
                </a:cubicBezTo>
                <a:cubicBezTo>
                  <a:pt x="48" y="89"/>
                  <a:pt x="49" y="89"/>
                  <a:pt x="47" y="89"/>
                </a:cubicBezTo>
                <a:close/>
                <a:moveTo>
                  <a:pt x="51" y="86"/>
                </a:moveTo>
                <a:cubicBezTo>
                  <a:pt x="51" y="87"/>
                  <a:pt x="50" y="89"/>
                  <a:pt x="50" y="92"/>
                </a:cubicBezTo>
                <a:cubicBezTo>
                  <a:pt x="46" y="94"/>
                  <a:pt x="41" y="94"/>
                  <a:pt x="45" y="99"/>
                </a:cubicBezTo>
                <a:cubicBezTo>
                  <a:pt x="46" y="101"/>
                  <a:pt x="47" y="100"/>
                  <a:pt x="49" y="101"/>
                </a:cubicBezTo>
                <a:cubicBezTo>
                  <a:pt x="50" y="102"/>
                  <a:pt x="51" y="103"/>
                  <a:pt x="52" y="103"/>
                </a:cubicBezTo>
                <a:cubicBezTo>
                  <a:pt x="52" y="103"/>
                  <a:pt x="52" y="96"/>
                  <a:pt x="52" y="94"/>
                </a:cubicBezTo>
                <a:cubicBezTo>
                  <a:pt x="52" y="94"/>
                  <a:pt x="55" y="90"/>
                  <a:pt x="55" y="89"/>
                </a:cubicBezTo>
                <a:cubicBezTo>
                  <a:pt x="56" y="89"/>
                  <a:pt x="55" y="88"/>
                  <a:pt x="55" y="88"/>
                </a:cubicBezTo>
                <a:cubicBezTo>
                  <a:pt x="54" y="87"/>
                  <a:pt x="54" y="86"/>
                  <a:pt x="54" y="86"/>
                </a:cubicBezTo>
                <a:cubicBezTo>
                  <a:pt x="53" y="86"/>
                  <a:pt x="52" y="86"/>
                  <a:pt x="51" y="86"/>
                </a:cubicBezTo>
                <a:close/>
                <a:moveTo>
                  <a:pt x="59" y="84"/>
                </a:moveTo>
                <a:cubicBezTo>
                  <a:pt x="58" y="85"/>
                  <a:pt x="59" y="86"/>
                  <a:pt x="59" y="87"/>
                </a:cubicBezTo>
                <a:cubicBezTo>
                  <a:pt x="58" y="89"/>
                  <a:pt x="50" y="96"/>
                  <a:pt x="55" y="99"/>
                </a:cubicBezTo>
                <a:cubicBezTo>
                  <a:pt x="55" y="98"/>
                  <a:pt x="56" y="97"/>
                  <a:pt x="56" y="97"/>
                </a:cubicBezTo>
                <a:cubicBezTo>
                  <a:pt x="57" y="96"/>
                  <a:pt x="56" y="95"/>
                  <a:pt x="57" y="93"/>
                </a:cubicBezTo>
                <a:cubicBezTo>
                  <a:pt x="57" y="93"/>
                  <a:pt x="59" y="92"/>
                  <a:pt x="59" y="92"/>
                </a:cubicBezTo>
                <a:cubicBezTo>
                  <a:pt x="61" y="91"/>
                  <a:pt x="60" y="88"/>
                  <a:pt x="60" y="84"/>
                </a:cubicBezTo>
                <a:lnTo>
                  <a:pt x="59" y="84"/>
                </a:lnTo>
                <a:close/>
                <a:moveTo>
                  <a:pt x="19" y="82"/>
                </a:moveTo>
                <a:cubicBezTo>
                  <a:pt x="19" y="82"/>
                  <a:pt x="19" y="85"/>
                  <a:pt x="19" y="86"/>
                </a:cubicBezTo>
                <a:cubicBezTo>
                  <a:pt x="19" y="86"/>
                  <a:pt x="15" y="89"/>
                  <a:pt x="15" y="89"/>
                </a:cubicBezTo>
                <a:cubicBezTo>
                  <a:pt x="14" y="91"/>
                  <a:pt x="16" y="91"/>
                  <a:pt x="15" y="92"/>
                </a:cubicBezTo>
                <a:cubicBezTo>
                  <a:pt x="15" y="93"/>
                  <a:pt x="13" y="94"/>
                  <a:pt x="13" y="94"/>
                </a:cubicBezTo>
                <a:cubicBezTo>
                  <a:pt x="12" y="96"/>
                  <a:pt x="12" y="98"/>
                  <a:pt x="11" y="99"/>
                </a:cubicBezTo>
                <a:cubicBezTo>
                  <a:pt x="10" y="100"/>
                  <a:pt x="8" y="101"/>
                  <a:pt x="8" y="101"/>
                </a:cubicBezTo>
                <a:cubicBezTo>
                  <a:pt x="8" y="102"/>
                  <a:pt x="8" y="103"/>
                  <a:pt x="8" y="103"/>
                </a:cubicBezTo>
                <a:cubicBezTo>
                  <a:pt x="7" y="104"/>
                  <a:pt x="6" y="104"/>
                  <a:pt x="5" y="104"/>
                </a:cubicBezTo>
                <a:cubicBezTo>
                  <a:pt x="4" y="104"/>
                  <a:pt x="5" y="106"/>
                  <a:pt x="4" y="106"/>
                </a:cubicBezTo>
                <a:cubicBezTo>
                  <a:pt x="4" y="106"/>
                  <a:pt x="3" y="106"/>
                  <a:pt x="2" y="106"/>
                </a:cubicBezTo>
                <a:cubicBezTo>
                  <a:pt x="1" y="108"/>
                  <a:pt x="1" y="110"/>
                  <a:pt x="0" y="113"/>
                </a:cubicBezTo>
                <a:cubicBezTo>
                  <a:pt x="2" y="110"/>
                  <a:pt x="9" y="107"/>
                  <a:pt x="11" y="105"/>
                </a:cubicBezTo>
                <a:cubicBezTo>
                  <a:pt x="12" y="104"/>
                  <a:pt x="11" y="103"/>
                  <a:pt x="11" y="103"/>
                </a:cubicBezTo>
                <a:cubicBezTo>
                  <a:pt x="12" y="102"/>
                  <a:pt x="14" y="100"/>
                  <a:pt x="14" y="99"/>
                </a:cubicBezTo>
                <a:cubicBezTo>
                  <a:pt x="15" y="99"/>
                  <a:pt x="15" y="99"/>
                  <a:pt x="15" y="99"/>
                </a:cubicBezTo>
                <a:cubicBezTo>
                  <a:pt x="15" y="98"/>
                  <a:pt x="14" y="97"/>
                  <a:pt x="15" y="97"/>
                </a:cubicBezTo>
                <a:cubicBezTo>
                  <a:pt x="16" y="96"/>
                  <a:pt x="18" y="96"/>
                  <a:pt x="19" y="95"/>
                </a:cubicBezTo>
                <a:cubicBezTo>
                  <a:pt x="19" y="94"/>
                  <a:pt x="19" y="93"/>
                  <a:pt x="19" y="92"/>
                </a:cubicBezTo>
                <a:cubicBezTo>
                  <a:pt x="20" y="92"/>
                  <a:pt x="21" y="92"/>
                  <a:pt x="21" y="91"/>
                </a:cubicBezTo>
                <a:cubicBezTo>
                  <a:pt x="22" y="91"/>
                  <a:pt x="22" y="84"/>
                  <a:pt x="21" y="84"/>
                </a:cubicBezTo>
                <a:cubicBezTo>
                  <a:pt x="21" y="84"/>
                  <a:pt x="21" y="82"/>
                  <a:pt x="21" y="82"/>
                </a:cubicBezTo>
                <a:lnTo>
                  <a:pt x="19" y="82"/>
                </a:lnTo>
                <a:close/>
                <a:moveTo>
                  <a:pt x="65" y="81"/>
                </a:moveTo>
                <a:cubicBezTo>
                  <a:pt x="65" y="81"/>
                  <a:pt x="64" y="83"/>
                  <a:pt x="65" y="84"/>
                </a:cubicBezTo>
                <a:cubicBezTo>
                  <a:pt x="65" y="84"/>
                  <a:pt x="67" y="84"/>
                  <a:pt x="67" y="84"/>
                </a:cubicBezTo>
                <a:cubicBezTo>
                  <a:pt x="67" y="85"/>
                  <a:pt x="67" y="85"/>
                  <a:pt x="67" y="85"/>
                </a:cubicBezTo>
                <a:cubicBezTo>
                  <a:pt x="68" y="84"/>
                  <a:pt x="68" y="86"/>
                  <a:pt x="68" y="86"/>
                </a:cubicBezTo>
                <a:cubicBezTo>
                  <a:pt x="66" y="86"/>
                  <a:pt x="67" y="88"/>
                  <a:pt x="67" y="89"/>
                </a:cubicBezTo>
                <a:cubicBezTo>
                  <a:pt x="67" y="90"/>
                  <a:pt x="67" y="90"/>
                  <a:pt x="67" y="90"/>
                </a:cubicBezTo>
                <a:cubicBezTo>
                  <a:pt x="68" y="90"/>
                  <a:pt x="69" y="91"/>
                  <a:pt x="69" y="91"/>
                </a:cubicBezTo>
                <a:cubicBezTo>
                  <a:pt x="70" y="92"/>
                  <a:pt x="69" y="93"/>
                  <a:pt x="70" y="93"/>
                </a:cubicBezTo>
                <a:cubicBezTo>
                  <a:pt x="70" y="94"/>
                  <a:pt x="72" y="94"/>
                  <a:pt x="73" y="94"/>
                </a:cubicBezTo>
                <a:cubicBezTo>
                  <a:pt x="72" y="93"/>
                  <a:pt x="71" y="93"/>
                  <a:pt x="71" y="92"/>
                </a:cubicBezTo>
                <a:cubicBezTo>
                  <a:pt x="71" y="90"/>
                  <a:pt x="72" y="91"/>
                  <a:pt x="72" y="89"/>
                </a:cubicBezTo>
                <a:cubicBezTo>
                  <a:pt x="72" y="88"/>
                  <a:pt x="70" y="87"/>
                  <a:pt x="70" y="86"/>
                </a:cubicBezTo>
                <a:cubicBezTo>
                  <a:pt x="70" y="85"/>
                  <a:pt x="71" y="84"/>
                  <a:pt x="71" y="84"/>
                </a:cubicBezTo>
                <a:cubicBezTo>
                  <a:pt x="71" y="83"/>
                  <a:pt x="71" y="82"/>
                  <a:pt x="70" y="82"/>
                </a:cubicBezTo>
                <a:cubicBezTo>
                  <a:pt x="68" y="81"/>
                  <a:pt x="67" y="81"/>
                  <a:pt x="65" y="81"/>
                </a:cubicBezTo>
                <a:close/>
                <a:moveTo>
                  <a:pt x="42" y="78"/>
                </a:moveTo>
                <a:cubicBezTo>
                  <a:pt x="41" y="83"/>
                  <a:pt x="41" y="86"/>
                  <a:pt x="40" y="91"/>
                </a:cubicBezTo>
                <a:cubicBezTo>
                  <a:pt x="42" y="90"/>
                  <a:pt x="45" y="88"/>
                  <a:pt x="46" y="88"/>
                </a:cubicBezTo>
                <a:cubicBezTo>
                  <a:pt x="46" y="87"/>
                  <a:pt x="48" y="88"/>
                  <a:pt x="48" y="88"/>
                </a:cubicBezTo>
                <a:cubicBezTo>
                  <a:pt x="49" y="87"/>
                  <a:pt x="48" y="85"/>
                  <a:pt x="49" y="85"/>
                </a:cubicBezTo>
                <a:cubicBezTo>
                  <a:pt x="49" y="85"/>
                  <a:pt x="50" y="84"/>
                  <a:pt x="50" y="84"/>
                </a:cubicBezTo>
                <a:cubicBezTo>
                  <a:pt x="50" y="83"/>
                  <a:pt x="50" y="81"/>
                  <a:pt x="50" y="80"/>
                </a:cubicBezTo>
                <a:cubicBezTo>
                  <a:pt x="47" y="79"/>
                  <a:pt x="45" y="79"/>
                  <a:pt x="42" y="78"/>
                </a:cubicBezTo>
                <a:close/>
                <a:moveTo>
                  <a:pt x="53" y="72"/>
                </a:moveTo>
                <a:cubicBezTo>
                  <a:pt x="53" y="73"/>
                  <a:pt x="53" y="73"/>
                  <a:pt x="53" y="73"/>
                </a:cubicBezTo>
                <a:cubicBezTo>
                  <a:pt x="52" y="72"/>
                  <a:pt x="52" y="75"/>
                  <a:pt x="52" y="76"/>
                </a:cubicBezTo>
                <a:cubicBezTo>
                  <a:pt x="54" y="76"/>
                  <a:pt x="57" y="77"/>
                  <a:pt x="58" y="77"/>
                </a:cubicBezTo>
                <a:cubicBezTo>
                  <a:pt x="65" y="77"/>
                  <a:pt x="53" y="72"/>
                  <a:pt x="53" y="72"/>
                </a:cubicBezTo>
                <a:close/>
                <a:moveTo>
                  <a:pt x="23" y="72"/>
                </a:moveTo>
                <a:cubicBezTo>
                  <a:pt x="23" y="74"/>
                  <a:pt x="23" y="74"/>
                  <a:pt x="23" y="74"/>
                </a:cubicBezTo>
                <a:cubicBezTo>
                  <a:pt x="23" y="74"/>
                  <a:pt x="28" y="75"/>
                  <a:pt x="25" y="74"/>
                </a:cubicBezTo>
                <a:cubicBezTo>
                  <a:pt x="25" y="73"/>
                  <a:pt x="24" y="72"/>
                  <a:pt x="23" y="72"/>
                </a:cubicBezTo>
                <a:close/>
                <a:moveTo>
                  <a:pt x="41" y="68"/>
                </a:moveTo>
                <a:cubicBezTo>
                  <a:pt x="41" y="68"/>
                  <a:pt x="42" y="71"/>
                  <a:pt x="42" y="71"/>
                </a:cubicBezTo>
                <a:cubicBezTo>
                  <a:pt x="44" y="72"/>
                  <a:pt x="43" y="70"/>
                  <a:pt x="43" y="69"/>
                </a:cubicBezTo>
                <a:cubicBezTo>
                  <a:pt x="42" y="69"/>
                  <a:pt x="42" y="69"/>
                  <a:pt x="41" y="68"/>
                </a:cubicBezTo>
                <a:close/>
                <a:moveTo>
                  <a:pt x="65" y="66"/>
                </a:moveTo>
                <a:cubicBezTo>
                  <a:pt x="65" y="67"/>
                  <a:pt x="63" y="68"/>
                  <a:pt x="63" y="69"/>
                </a:cubicBezTo>
                <a:cubicBezTo>
                  <a:pt x="63" y="70"/>
                  <a:pt x="62" y="70"/>
                  <a:pt x="63" y="71"/>
                </a:cubicBezTo>
                <a:cubicBezTo>
                  <a:pt x="63" y="72"/>
                  <a:pt x="67" y="75"/>
                  <a:pt x="67" y="76"/>
                </a:cubicBezTo>
                <a:cubicBezTo>
                  <a:pt x="68" y="78"/>
                  <a:pt x="67" y="79"/>
                  <a:pt x="68" y="80"/>
                </a:cubicBezTo>
                <a:cubicBezTo>
                  <a:pt x="69" y="80"/>
                  <a:pt x="72" y="81"/>
                  <a:pt x="72" y="81"/>
                </a:cubicBezTo>
                <a:cubicBezTo>
                  <a:pt x="73" y="81"/>
                  <a:pt x="73" y="81"/>
                  <a:pt x="73" y="81"/>
                </a:cubicBezTo>
                <a:cubicBezTo>
                  <a:pt x="73" y="81"/>
                  <a:pt x="74" y="82"/>
                  <a:pt x="75" y="83"/>
                </a:cubicBezTo>
                <a:cubicBezTo>
                  <a:pt x="74" y="81"/>
                  <a:pt x="72" y="79"/>
                  <a:pt x="71" y="78"/>
                </a:cubicBezTo>
                <a:cubicBezTo>
                  <a:pt x="71" y="77"/>
                  <a:pt x="70" y="76"/>
                  <a:pt x="70" y="76"/>
                </a:cubicBezTo>
                <a:cubicBezTo>
                  <a:pt x="70" y="75"/>
                  <a:pt x="72" y="70"/>
                  <a:pt x="71" y="69"/>
                </a:cubicBezTo>
                <a:cubicBezTo>
                  <a:pt x="70" y="69"/>
                  <a:pt x="70" y="69"/>
                  <a:pt x="70" y="69"/>
                </a:cubicBezTo>
                <a:cubicBezTo>
                  <a:pt x="70" y="67"/>
                  <a:pt x="70" y="67"/>
                  <a:pt x="69" y="66"/>
                </a:cubicBezTo>
                <a:cubicBezTo>
                  <a:pt x="68" y="66"/>
                  <a:pt x="66" y="67"/>
                  <a:pt x="65" y="66"/>
                </a:cubicBezTo>
                <a:close/>
                <a:moveTo>
                  <a:pt x="29" y="57"/>
                </a:moveTo>
                <a:cubicBezTo>
                  <a:pt x="29" y="57"/>
                  <a:pt x="28" y="58"/>
                  <a:pt x="28" y="58"/>
                </a:cubicBezTo>
                <a:cubicBezTo>
                  <a:pt x="24" y="58"/>
                  <a:pt x="30" y="59"/>
                  <a:pt x="30" y="60"/>
                </a:cubicBezTo>
                <a:cubicBezTo>
                  <a:pt x="31" y="61"/>
                  <a:pt x="31" y="65"/>
                  <a:pt x="33" y="66"/>
                </a:cubicBezTo>
                <a:cubicBezTo>
                  <a:pt x="34" y="66"/>
                  <a:pt x="35" y="66"/>
                  <a:pt x="36" y="66"/>
                </a:cubicBezTo>
                <a:cubicBezTo>
                  <a:pt x="36" y="69"/>
                  <a:pt x="34" y="69"/>
                  <a:pt x="37" y="71"/>
                </a:cubicBezTo>
                <a:cubicBezTo>
                  <a:pt x="41" y="68"/>
                  <a:pt x="36" y="56"/>
                  <a:pt x="29" y="57"/>
                </a:cubicBezTo>
                <a:close/>
                <a:moveTo>
                  <a:pt x="61" y="53"/>
                </a:moveTo>
                <a:cubicBezTo>
                  <a:pt x="61" y="53"/>
                  <a:pt x="61" y="55"/>
                  <a:pt x="61" y="56"/>
                </a:cubicBezTo>
                <a:cubicBezTo>
                  <a:pt x="64" y="57"/>
                  <a:pt x="63" y="53"/>
                  <a:pt x="61" y="53"/>
                </a:cubicBezTo>
                <a:close/>
                <a:moveTo>
                  <a:pt x="32" y="0"/>
                </a:moveTo>
                <a:cubicBezTo>
                  <a:pt x="32" y="1"/>
                  <a:pt x="30" y="5"/>
                  <a:pt x="30" y="5"/>
                </a:cubicBezTo>
                <a:cubicBezTo>
                  <a:pt x="30" y="5"/>
                  <a:pt x="31" y="7"/>
                  <a:pt x="31" y="8"/>
                </a:cubicBezTo>
                <a:cubicBezTo>
                  <a:pt x="31" y="9"/>
                  <a:pt x="28" y="12"/>
                  <a:pt x="28" y="13"/>
                </a:cubicBezTo>
                <a:cubicBezTo>
                  <a:pt x="28" y="17"/>
                  <a:pt x="30" y="18"/>
                  <a:pt x="29" y="22"/>
                </a:cubicBezTo>
                <a:cubicBezTo>
                  <a:pt x="29" y="22"/>
                  <a:pt x="28" y="22"/>
                  <a:pt x="28" y="22"/>
                </a:cubicBezTo>
                <a:cubicBezTo>
                  <a:pt x="27" y="24"/>
                  <a:pt x="27" y="26"/>
                  <a:pt x="28" y="29"/>
                </a:cubicBezTo>
                <a:cubicBezTo>
                  <a:pt x="27" y="29"/>
                  <a:pt x="27" y="30"/>
                  <a:pt x="25" y="30"/>
                </a:cubicBezTo>
                <a:cubicBezTo>
                  <a:pt x="25" y="30"/>
                  <a:pt x="24" y="28"/>
                  <a:pt x="23" y="28"/>
                </a:cubicBezTo>
                <a:cubicBezTo>
                  <a:pt x="22" y="27"/>
                  <a:pt x="24" y="29"/>
                  <a:pt x="22" y="28"/>
                </a:cubicBezTo>
                <a:cubicBezTo>
                  <a:pt x="23" y="30"/>
                  <a:pt x="22" y="31"/>
                  <a:pt x="23" y="32"/>
                </a:cubicBezTo>
                <a:cubicBezTo>
                  <a:pt x="23" y="33"/>
                  <a:pt x="25" y="34"/>
                  <a:pt x="25" y="34"/>
                </a:cubicBezTo>
                <a:cubicBezTo>
                  <a:pt x="25" y="36"/>
                  <a:pt x="24" y="38"/>
                  <a:pt x="25" y="40"/>
                </a:cubicBezTo>
                <a:cubicBezTo>
                  <a:pt x="25" y="40"/>
                  <a:pt x="28" y="44"/>
                  <a:pt x="29" y="45"/>
                </a:cubicBezTo>
                <a:cubicBezTo>
                  <a:pt x="30" y="44"/>
                  <a:pt x="29" y="44"/>
                  <a:pt x="30" y="42"/>
                </a:cubicBezTo>
                <a:cubicBezTo>
                  <a:pt x="31" y="42"/>
                  <a:pt x="32" y="43"/>
                  <a:pt x="32" y="42"/>
                </a:cubicBezTo>
                <a:cubicBezTo>
                  <a:pt x="30" y="52"/>
                  <a:pt x="31" y="50"/>
                  <a:pt x="35" y="57"/>
                </a:cubicBezTo>
                <a:cubicBezTo>
                  <a:pt x="35" y="57"/>
                  <a:pt x="37" y="57"/>
                  <a:pt x="37" y="56"/>
                </a:cubicBezTo>
                <a:cubicBezTo>
                  <a:pt x="39" y="55"/>
                  <a:pt x="38" y="53"/>
                  <a:pt x="42" y="54"/>
                </a:cubicBezTo>
                <a:cubicBezTo>
                  <a:pt x="43" y="55"/>
                  <a:pt x="43" y="55"/>
                  <a:pt x="43" y="55"/>
                </a:cubicBezTo>
                <a:cubicBezTo>
                  <a:pt x="44" y="55"/>
                  <a:pt x="45" y="55"/>
                  <a:pt x="45" y="55"/>
                </a:cubicBezTo>
                <a:cubicBezTo>
                  <a:pt x="46" y="56"/>
                  <a:pt x="46" y="58"/>
                  <a:pt x="47" y="59"/>
                </a:cubicBezTo>
                <a:cubicBezTo>
                  <a:pt x="53" y="58"/>
                  <a:pt x="43" y="55"/>
                  <a:pt x="49" y="54"/>
                </a:cubicBezTo>
                <a:cubicBezTo>
                  <a:pt x="50" y="55"/>
                  <a:pt x="49" y="55"/>
                  <a:pt x="50" y="56"/>
                </a:cubicBezTo>
                <a:cubicBezTo>
                  <a:pt x="51" y="57"/>
                  <a:pt x="51" y="57"/>
                  <a:pt x="52" y="58"/>
                </a:cubicBezTo>
                <a:cubicBezTo>
                  <a:pt x="53" y="59"/>
                  <a:pt x="53" y="61"/>
                  <a:pt x="54" y="62"/>
                </a:cubicBezTo>
                <a:cubicBezTo>
                  <a:pt x="54" y="63"/>
                  <a:pt x="56" y="62"/>
                  <a:pt x="56" y="62"/>
                </a:cubicBezTo>
                <a:cubicBezTo>
                  <a:pt x="57" y="63"/>
                  <a:pt x="57" y="65"/>
                  <a:pt x="58" y="66"/>
                </a:cubicBezTo>
                <a:cubicBezTo>
                  <a:pt x="59" y="66"/>
                  <a:pt x="59" y="66"/>
                  <a:pt x="59" y="66"/>
                </a:cubicBezTo>
                <a:cubicBezTo>
                  <a:pt x="61" y="57"/>
                  <a:pt x="58" y="61"/>
                  <a:pt x="57" y="56"/>
                </a:cubicBezTo>
                <a:cubicBezTo>
                  <a:pt x="56" y="54"/>
                  <a:pt x="58" y="54"/>
                  <a:pt x="57" y="52"/>
                </a:cubicBezTo>
                <a:cubicBezTo>
                  <a:pt x="57" y="51"/>
                  <a:pt x="56" y="50"/>
                  <a:pt x="55" y="50"/>
                </a:cubicBezTo>
                <a:cubicBezTo>
                  <a:pt x="55" y="50"/>
                  <a:pt x="53" y="52"/>
                  <a:pt x="53" y="52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50"/>
                  <a:pt x="51" y="49"/>
                  <a:pt x="51" y="48"/>
                </a:cubicBezTo>
                <a:cubicBezTo>
                  <a:pt x="50" y="48"/>
                  <a:pt x="51" y="47"/>
                  <a:pt x="49" y="47"/>
                </a:cubicBezTo>
                <a:cubicBezTo>
                  <a:pt x="49" y="47"/>
                  <a:pt x="49" y="48"/>
                  <a:pt x="49" y="48"/>
                </a:cubicBezTo>
                <a:cubicBezTo>
                  <a:pt x="47" y="49"/>
                  <a:pt x="46" y="48"/>
                  <a:pt x="45" y="48"/>
                </a:cubicBezTo>
                <a:cubicBezTo>
                  <a:pt x="44" y="48"/>
                  <a:pt x="42" y="50"/>
                  <a:pt x="41" y="50"/>
                </a:cubicBezTo>
                <a:cubicBezTo>
                  <a:pt x="41" y="50"/>
                  <a:pt x="40" y="49"/>
                  <a:pt x="39" y="49"/>
                </a:cubicBezTo>
                <a:cubicBezTo>
                  <a:pt x="39" y="48"/>
                  <a:pt x="39" y="45"/>
                  <a:pt x="38" y="44"/>
                </a:cubicBezTo>
                <a:cubicBezTo>
                  <a:pt x="37" y="43"/>
                  <a:pt x="37" y="43"/>
                  <a:pt x="37" y="43"/>
                </a:cubicBezTo>
                <a:cubicBezTo>
                  <a:pt x="37" y="42"/>
                  <a:pt x="37" y="37"/>
                  <a:pt x="37" y="37"/>
                </a:cubicBezTo>
                <a:cubicBezTo>
                  <a:pt x="38" y="33"/>
                  <a:pt x="37" y="31"/>
                  <a:pt x="40" y="30"/>
                </a:cubicBezTo>
                <a:cubicBezTo>
                  <a:pt x="41" y="30"/>
                  <a:pt x="41" y="30"/>
                  <a:pt x="41" y="30"/>
                </a:cubicBezTo>
                <a:cubicBezTo>
                  <a:pt x="43" y="28"/>
                  <a:pt x="43" y="24"/>
                  <a:pt x="43" y="22"/>
                </a:cubicBezTo>
                <a:cubicBezTo>
                  <a:pt x="44" y="23"/>
                  <a:pt x="45" y="23"/>
                  <a:pt x="45" y="23"/>
                </a:cubicBezTo>
                <a:cubicBezTo>
                  <a:pt x="46" y="23"/>
                  <a:pt x="46" y="21"/>
                  <a:pt x="47" y="20"/>
                </a:cubicBezTo>
                <a:cubicBezTo>
                  <a:pt x="46" y="18"/>
                  <a:pt x="46" y="16"/>
                  <a:pt x="45" y="14"/>
                </a:cubicBezTo>
                <a:cubicBezTo>
                  <a:pt x="45" y="14"/>
                  <a:pt x="43" y="13"/>
                  <a:pt x="43" y="12"/>
                </a:cubicBezTo>
                <a:cubicBezTo>
                  <a:pt x="42" y="9"/>
                  <a:pt x="43" y="5"/>
                  <a:pt x="45" y="3"/>
                </a:cubicBezTo>
                <a:cubicBezTo>
                  <a:pt x="45" y="3"/>
                  <a:pt x="44" y="2"/>
                  <a:pt x="44" y="1"/>
                </a:cubicBezTo>
                <a:cubicBezTo>
                  <a:pt x="42" y="2"/>
                  <a:pt x="38" y="6"/>
                  <a:pt x="35" y="2"/>
                </a:cubicBezTo>
                <a:cubicBezTo>
                  <a:pt x="35" y="2"/>
                  <a:pt x="36" y="1"/>
                  <a:pt x="35" y="0"/>
                </a:cubicBezTo>
                <a:cubicBezTo>
                  <a:pt x="34" y="0"/>
                  <a:pt x="33" y="1"/>
                  <a:pt x="32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8" name="Google Shape;478;p102"/>
          <p:cNvSpPr/>
          <p:nvPr/>
        </p:nvSpPr>
        <p:spPr>
          <a:xfrm>
            <a:off x="4215930" y="4718588"/>
            <a:ext cx="308089" cy="535440"/>
          </a:xfrm>
          <a:custGeom>
            <a:avLst/>
            <a:gdLst/>
            <a:ahLst/>
            <a:cxnLst/>
            <a:rect l="l" t="t" r="r" b="b"/>
            <a:pathLst>
              <a:path w="107" h="193" extrusionOk="0">
                <a:moveTo>
                  <a:pt x="104" y="167"/>
                </a:moveTo>
                <a:cubicBezTo>
                  <a:pt x="104" y="167"/>
                  <a:pt x="104" y="164"/>
                  <a:pt x="103" y="163"/>
                </a:cubicBezTo>
                <a:cubicBezTo>
                  <a:pt x="102" y="161"/>
                  <a:pt x="103" y="159"/>
                  <a:pt x="103" y="159"/>
                </a:cubicBezTo>
                <a:cubicBezTo>
                  <a:pt x="103" y="159"/>
                  <a:pt x="102" y="157"/>
                  <a:pt x="101" y="154"/>
                </a:cubicBezTo>
                <a:cubicBezTo>
                  <a:pt x="100" y="152"/>
                  <a:pt x="102" y="147"/>
                  <a:pt x="102" y="147"/>
                </a:cubicBezTo>
                <a:cubicBezTo>
                  <a:pt x="104" y="140"/>
                  <a:pt x="104" y="140"/>
                  <a:pt x="104" y="140"/>
                </a:cubicBezTo>
                <a:cubicBezTo>
                  <a:pt x="99" y="129"/>
                  <a:pt x="99" y="129"/>
                  <a:pt x="99" y="129"/>
                </a:cubicBezTo>
                <a:cubicBezTo>
                  <a:pt x="89" y="126"/>
                  <a:pt x="89" y="126"/>
                  <a:pt x="89" y="126"/>
                </a:cubicBezTo>
                <a:cubicBezTo>
                  <a:pt x="91" y="100"/>
                  <a:pt x="91" y="100"/>
                  <a:pt x="91" y="100"/>
                </a:cubicBezTo>
                <a:cubicBezTo>
                  <a:pt x="91" y="100"/>
                  <a:pt x="91" y="96"/>
                  <a:pt x="89" y="98"/>
                </a:cubicBezTo>
                <a:cubicBezTo>
                  <a:pt x="87" y="100"/>
                  <a:pt x="83" y="102"/>
                  <a:pt x="83" y="102"/>
                </a:cubicBezTo>
                <a:cubicBezTo>
                  <a:pt x="75" y="102"/>
                  <a:pt x="75" y="102"/>
                  <a:pt x="75" y="102"/>
                </a:cubicBezTo>
                <a:cubicBezTo>
                  <a:pt x="75" y="102"/>
                  <a:pt x="73" y="101"/>
                  <a:pt x="73" y="98"/>
                </a:cubicBezTo>
                <a:cubicBezTo>
                  <a:pt x="73" y="96"/>
                  <a:pt x="68" y="95"/>
                  <a:pt x="67" y="93"/>
                </a:cubicBezTo>
                <a:cubicBezTo>
                  <a:pt x="66" y="90"/>
                  <a:pt x="62" y="88"/>
                  <a:pt x="62" y="88"/>
                </a:cubicBezTo>
                <a:cubicBezTo>
                  <a:pt x="63" y="84"/>
                  <a:pt x="63" y="84"/>
                  <a:pt x="63" y="84"/>
                </a:cubicBezTo>
                <a:cubicBezTo>
                  <a:pt x="63" y="84"/>
                  <a:pt x="63" y="80"/>
                  <a:pt x="62" y="80"/>
                </a:cubicBezTo>
                <a:cubicBezTo>
                  <a:pt x="60" y="79"/>
                  <a:pt x="60" y="75"/>
                  <a:pt x="60" y="74"/>
                </a:cubicBezTo>
                <a:cubicBezTo>
                  <a:pt x="60" y="72"/>
                  <a:pt x="64" y="74"/>
                  <a:pt x="64" y="74"/>
                </a:cubicBezTo>
                <a:cubicBezTo>
                  <a:pt x="64" y="74"/>
                  <a:pt x="64" y="71"/>
                  <a:pt x="64" y="69"/>
                </a:cubicBezTo>
                <a:cubicBezTo>
                  <a:pt x="64" y="67"/>
                  <a:pt x="65" y="66"/>
                  <a:pt x="67" y="63"/>
                </a:cubicBezTo>
                <a:cubicBezTo>
                  <a:pt x="68" y="61"/>
                  <a:pt x="68" y="58"/>
                  <a:pt x="69" y="56"/>
                </a:cubicBezTo>
                <a:cubicBezTo>
                  <a:pt x="70" y="53"/>
                  <a:pt x="74" y="52"/>
                  <a:pt x="76" y="50"/>
                </a:cubicBezTo>
                <a:cubicBezTo>
                  <a:pt x="78" y="48"/>
                  <a:pt x="82" y="48"/>
                  <a:pt x="84" y="47"/>
                </a:cubicBezTo>
                <a:cubicBezTo>
                  <a:pt x="86" y="46"/>
                  <a:pt x="88" y="46"/>
                  <a:pt x="91" y="46"/>
                </a:cubicBezTo>
                <a:cubicBezTo>
                  <a:pt x="93" y="46"/>
                  <a:pt x="93" y="43"/>
                  <a:pt x="93" y="43"/>
                </a:cubicBezTo>
                <a:cubicBezTo>
                  <a:pt x="91" y="41"/>
                  <a:pt x="91" y="41"/>
                  <a:pt x="91" y="41"/>
                </a:cubicBezTo>
                <a:cubicBezTo>
                  <a:pt x="86" y="41"/>
                  <a:pt x="86" y="41"/>
                  <a:pt x="86" y="41"/>
                </a:cubicBezTo>
                <a:cubicBezTo>
                  <a:pt x="95" y="25"/>
                  <a:pt x="95" y="25"/>
                  <a:pt x="95" y="25"/>
                </a:cubicBezTo>
                <a:cubicBezTo>
                  <a:pt x="95" y="25"/>
                  <a:pt x="93" y="22"/>
                  <a:pt x="91" y="22"/>
                </a:cubicBezTo>
                <a:cubicBezTo>
                  <a:pt x="89" y="22"/>
                  <a:pt x="85" y="21"/>
                  <a:pt x="84" y="20"/>
                </a:cubicBezTo>
                <a:cubicBezTo>
                  <a:pt x="83" y="18"/>
                  <a:pt x="78" y="19"/>
                  <a:pt x="78" y="19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22"/>
                  <a:pt x="74" y="20"/>
                  <a:pt x="73" y="20"/>
                </a:cubicBezTo>
                <a:cubicBezTo>
                  <a:pt x="71" y="20"/>
                  <a:pt x="70" y="17"/>
                  <a:pt x="70" y="17"/>
                </a:cubicBezTo>
                <a:cubicBezTo>
                  <a:pt x="69" y="14"/>
                  <a:pt x="69" y="14"/>
                  <a:pt x="69" y="14"/>
                </a:cubicBezTo>
                <a:cubicBezTo>
                  <a:pt x="65" y="14"/>
                  <a:pt x="65" y="14"/>
                  <a:pt x="65" y="14"/>
                </a:cubicBezTo>
                <a:cubicBezTo>
                  <a:pt x="65" y="14"/>
                  <a:pt x="60" y="11"/>
                  <a:pt x="60" y="10"/>
                </a:cubicBezTo>
                <a:cubicBezTo>
                  <a:pt x="61" y="8"/>
                  <a:pt x="58" y="5"/>
                  <a:pt x="57" y="5"/>
                </a:cubicBezTo>
                <a:cubicBezTo>
                  <a:pt x="55" y="5"/>
                  <a:pt x="55" y="0"/>
                  <a:pt x="55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6" y="3"/>
                  <a:pt x="46" y="3"/>
                  <a:pt x="46" y="3"/>
                </a:cubicBezTo>
                <a:cubicBezTo>
                  <a:pt x="49" y="5"/>
                  <a:pt x="49" y="5"/>
                  <a:pt x="49" y="5"/>
                </a:cubicBezTo>
                <a:cubicBezTo>
                  <a:pt x="49" y="5"/>
                  <a:pt x="49" y="7"/>
                  <a:pt x="50" y="10"/>
                </a:cubicBezTo>
                <a:cubicBezTo>
                  <a:pt x="51" y="13"/>
                  <a:pt x="50" y="16"/>
                  <a:pt x="50" y="16"/>
                </a:cubicBezTo>
                <a:cubicBezTo>
                  <a:pt x="49" y="16"/>
                  <a:pt x="49" y="16"/>
                  <a:pt x="49" y="16"/>
                </a:cubicBezTo>
                <a:cubicBezTo>
                  <a:pt x="49" y="16"/>
                  <a:pt x="49" y="23"/>
                  <a:pt x="42" y="27"/>
                </a:cubicBezTo>
                <a:cubicBezTo>
                  <a:pt x="36" y="31"/>
                  <a:pt x="33" y="33"/>
                  <a:pt x="31" y="34"/>
                </a:cubicBezTo>
                <a:cubicBezTo>
                  <a:pt x="30" y="36"/>
                  <a:pt x="30" y="37"/>
                  <a:pt x="28" y="39"/>
                </a:cubicBezTo>
                <a:cubicBezTo>
                  <a:pt x="26" y="42"/>
                  <a:pt x="24" y="43"/>
                  <a:pt x="22" y="49"/>
                </a:cubicBezTo>
                <a:cubicBezTo>
                  <a:pt x="21" y="52"/>
                  <a:pt x="18" y="53"/>
                  <a:pt x="18" y="53"/>
                </a:cubicBezTo>
                <a:cubicBezTo>
                  <a:pt x="18" y="53"/>
                  <a:pt x="16" y="54"/>
                  <a:pt x="15" y="52"/>
                </a:cubicBezTo>
                <a:cubicBezTo>
                  <a:pt x="14" y="49"/>
                  <a:pt x="13" y="47"/>
                  <a:pt x="13" y="47"/>
                </a:cubicBezTo>
                <a:cubicBezTo>
                  <a:pt x="13" y="47"/>
                  <a:pt x="11" y="49"/>
                  <a:pt x="9" y="49"/>
                </a:cubicBezTo>
                <a:cubicBezTo>
                  <a:pt x="7" y="49"/>
                  <a:pt x="5" y="46"/>
                  <a:pt x="5" y="46"/>
                </a:cubicBezTo>
                <a:cubicBezTo>
                  <a:pt x="9" y="43"/>
                  <a:pt x="9" y="43"/>
                  <a:pt x="9" y="43"/>
                </a:cubicBezTo>
                <a:cubicBezTo>
                  <a:pt x="8" y="42"/>
                  <a:pt x="8" y="42"/>
                  <a:pt x="8" y="42"/>
                </a:cubicBezTo>
                <a:cubicBezTo>
                  <a:pt x="7" y="38"/>
                  <a:pt x="7" y="38"/>
                  <a:pt x="7" y="38"/>
                </a:cubicBezTo>
                <a:cubicBezTo>
                  <a:pt x="4" y="41"/>
                  <a:pt x="2" y="43"/>
                  <a:pt x="1" y="46"/>
                </a:cubicBezTo>
                <a:cubicBezTo>
                  <a:pt x="1" y="47"/>
                  <a:pt x="1" y="50"/>
                  <a:pt x="0" y="49"/>
                </a:cubicBezTo>
                <a:cubicBezTo>
                  <a:pt x="0" y="49"/>
                  <a:pt x="1" y="51"/>
                  <a:pt x="2" y="52"/>
                </a:cubicBezTo>
                <a:cubicBezTo>
                  <a:pt x="2" y="52"/>
                  <a:pt x="3" y="52"/>
                  <a:pt x="3" y="52"/>
                </a:cubicBezTo>
                <a:cubicBezTo>
                  <a:pt x="3" y="53"/>
                  <a:pt x="3" y="53"/>
                  <a:pt x="3" y="53"/>
                </a:cubicBezTo>
                <a:cubicBezTo>
                  <a:pt x="3" y="52"/>
                  <a:pt x="2" y="55"/>
                  <a:pt x="2" y="56"/>
                </a:cubicBezTo>
                <a:cubicBezTo>
                  <a:pt x="2" y="56"/>
                  <a:pt x="4" y="58"/>
                  <a:pt x="4" y="58"/>
                </a:cubicBezTo>
                <a:cubicBezTo>
                  <a:pt x="5" y="60"/>
                  <a:pt x="4" y="63"/>
                  <a:pt x="3" y="64"/>
                </a:cubicBezTo>
                <a:cubicBezTo>
                  <a:pt x="7" y="67"/>
                  <a:pt x="10" y="69"/>
                  <a:pt x="13" y="73"/>
                </a:cubicBezTo>
                <a:cubicBezTo>
                  <a:pt x="13" y="73"/>
                  <a:pt x="15" y="74"/>
                  <a:pt x="15" y="74"/>
                </a:cubicBezTo>
                <a:cubicBezTo>
                  <a:pt x="15" y="75"/>
                  <a:pt x="15" y="76"/>
                  <a:pt x="15" y="76"/>
                </a:cubicBezTo>
                <a:cubicBezTo>
                  <a:pt x="16" y="78"/>
                  <a:pt x="19" y="78"/>
                  <a:pt x="20" y="80"/>
                </a:cubicBezTo>
                <a:cubicBezTo>
                  <a:pt x="20" y="80"/>
                  <a:pt x="20" y="81"/>
                  <a:pt x="20" y="82"/>
                </a:cubicBezTo>
                <a:cubicBezTo>
                  <a:pt x="22" y="84"/>
                  <a:pt x="24" y="85"/>
                  <a:pt x="26" y="87"/>
                </a:cubicBezTo>
                <a:cubicBezTo>
                  <a:pt x="27" y="89"/>
                  <a:pt x="28" y="91"/>
                  <a:pt x="29" y="93"/>
                </a:cubicBezTo>
                <a:cubicBezTo>
                  <a:pt x="29" y="93"/>
                  <a:pt x="30" y="93"/>
                  <a:pt x="30" y="94"/>
                </a:cubicBezTo>
                <a:cubicBezTo>
                  <a:pt x="31" y="95"/>
                  <a:pt x="30" y="96"/>
                  <a:pt x="31" y="98"/>
                </a:cubicBezTo>
                <a:cubicBezTo>
                  <a:pt x="31" y="98"/>
                  <a:pt x="33" y="98"/>
                  <a:pt x="33" y="99"/>
                </a:cubicBezTo>
                <a:cubicBezTo>
                  <a:pt x="33" y="100"/>
                  <a:pt x="33" y="102"/>
                  <a:pt x="33" y="104"/>
                </a:cubicBezTo>
                <a:cubicBezTo>
                  <a:pt x="33" y="104"/>
                  <a:pt x="35" y="106"/>
                  <a:pt x="35" y="106"/>
                </a:cubicBezTo>
                <a:cubicBezTo>
                  <a:pt x="35" y="108"/>
                  <a:pt x="35" y="109"/>
                  <a:pt x="35" y="111"/>
                </a:cubicBezTo>
                <a:cubicBezTo>
                  <a:pt x="35" y="111"/>
                  <a:pt x="39" y="119"/>
                  <a:pt x="36" y="119"/>
                </a:cubicBezTo>
                <a:cubicBezTo>
                  <a:pt x="38" y="122"/>
                  <a:pt x="41" y="123"/>
                  <a:pt x="40" y="127"/>
                </a:cubicBezTo>
                <a:cubicBezTo>
                  <a:pt x="40" y="127"/>
                  <a:pt x="40" y="129"/>
                  <a:pt x="40" y="129"/>
                </a:cubicBezTo>
                <a:cubicBezTo>
                  <a:pt x="41" y="129"/>
                  <a:pt x="42" y="129"/>
                  <a:pt x="43" y="129"/>
                </a:cubicBezTo>
                <a:cubicBezTo>
                  <a:pt x="44" y="131"/>
                  <a:pt x="45" y="135"/>
                  <a:pt x="46" y="137"/>
                </a:cubicBezTo>
                <a:cubicBezTo>
                  <a:pt x="46" y="138"/>
                  <a:pt x="47" y="138"/>
                  <a:pt x="48" y="139"/>
                </a:cubicBezTo>
                <a:cubicBezTo>
                  <a:pt x="49" y="143"/>
                  <a:pt x="48" y="147"/>
                  <a:pt x="47" y="150"/>
                </a:cubicBezTo>
                <a:cubicBezTo>
                  <a:pt x="49" y="152"/>
                  <a:pt x="52" y="155"/>
                  <a:pt x="54" y="159"/>
                </a:cubicBezTo>
                <a:cubicBezTo>
                  <a:pt x="54" y="160"/>
                  <a:pt x="53" y="161"/>
                  <a:pt x="54" y="162"/>
                </a:cubicBezTo>
                <a:cubicBezTo>
                  <a:pt x="55" y="163"/>
                  <a:pt x="60" y="165"/>
                  <a:pt x="61" y="167"/>
                </a:cubicBezTo>
                <a:cubicBezTo>
                  <a:pt x="63" y="168"/>
                  <a:pt x="65" y="169"/>
                  <a:pt x="66" y="171"/>
                </a:cubicBezTo>
                <a:cubicBezTo>
                  <a:pt x="67" y="171"/>
                  <a:pt x="66" y="172"/>
                  <a:pt x="67" y="173"/>
                </a:cubicBezTo>
                <a:cubicBezTo>
                  <a:pt x="67" y="173"/>
                  <a:pt x="68" y="173"/>
                  <a:pt x="69" y="173"/>
                </a:cubicBezTo>
                <a:cubicBezTo>
                  <a:pt x="69" y="173"/>
                  <a:pt x="70" y="174"/>
                  <a:pt x="71" y="175"/>
                </a:cubicBezTo>
                <a:cubicBezTo>
                  <a:pt x="72" y="175"/>
                  <a:pt x="73" y="175"/>
                  <a:pt x="75" y="175"/>
                </a:cubicBezTo>
                <a:cubicBezTo>
                  <a:pt x="75" y="175"/>
                  <a:pt x="75" y="177"/>
                  <a:pt x="75" y="177"/>
                </a:cubicBezTo>
                <a:cubicBezTo>
                  <a:pt x="79" y="178"/>
                  <a:pt x="80" y="179"/>
                  <a:pt x="83" y="181"/>
                </a:cubicBezTo>
                <a:cubicBezTo>
                  <a:pt x="83" y="181"/>
                  <a:pt x="84" y="180"/>
                  <a:pt x="85" y="181"/>
                </a:cubicBezTo>
                <a:cubicBezTo>
                  <a:pt x="86" y="181"/>
                  <a:pt x="87" y="183"/>
                  <a:pt x="88" y="183"/>
                </a:cubicBezTo>
                <a:cubicBezTo>
                  <a:pt x="89" y="183"/>
                  <a:pt x="90" y="183"/>
                  <a:pt x="90" y="183"/>
                </a:cubicBezTo>
                <a:cubicBezTo>
                  <a:pt x="92" y="185"/>
                  <a:pt x="91" y="187"/>
                  <a:pt x="93" y="189"/>
                </a:cubicBezTo>
                <a:cubicBezTo>
                  <a:pt x="93" y="190"/>
                  <a:pt x="95" y="192"/>
                  <a:pt x="97" y="193"/>
                </a:cubicBezTo>
                <a:cubicBezTo>
                  <a:pt x="97" y="193"/>
                  <a:pt x="99" y="192"/>
                  <a:pt x="100" y="190"/>
                </a:cubicBezTo>
                <a:cubicBezTo>
                  <a:pt x="100" y="188"/>
                  <a:pt x="102" y="187"/>
                  <a:pt x="102" y="187"/>
                </a:cubicBezTo>
                <a:cubicBezTo>
                  <a:pt x="100" y="182"/>
                  <a:pt x="100" y="182"/>
                  <a:pt x="100" y="182"/>
                </a:cubicBezTo>
                <a:cubicBezTo>
                  <a:pt x="100" y="182"/>
                  <a:pt x="104" y="177"/>
                  <a:pt x="105" y="175"/>
                </a:cubicBezTo>
                <a:cubicBezTo>
                  <a:pt x="107" y="173"/>
                  <a:pt x="105" y="170"/>
                  <a:pt x="105" y="170"/>
                </a:cubicBezTo>
                <a:cubicBezTo>
                  <a:pt x="105" y="170"/>
                  <a:pt x="105" y="170"/>
                  <a:pt x="105" y="170"/>
                </a:cubicBezTo>
                <a:cubicBezTo>
                  <a:pt x="104" y="169"/>
                  <a:pt x="102" y="167"/>
                  <a:pt x="101" y="166"/>
                </a:cubicBezTo>
                <a:cubicBezTo>
                  <a:pt x="100" y="166"/>
                  <a:pt x="99" y="167"/>
                  <a:pt x="98" y="167"/>
                </a:cubicBezTo>
                <a:cubicBezTo>
                  <a:pt x="98" y="165"/>
                  <a:pt x="98" y="164"/>
                  <a:pt x="98" y="161"/>
                </a:cubicBezTo>
                <a:cubicBezTo>
                  <a:pt x="99" y="161"/>
                  <a:pt x="100" y="161"/>
                  <a:pt x="100" y="161"/>
                </a:cubicBezTo>
                <a:cubicBezTo>
                  <a:pt x="101" y="162"/>
                  <a:pt x="102" y="163"/>
                  <a:pt x="103" y="164"/>
                </a:cubicBezTo>
                <a:cubicBezTo>
                  <a:pt x="103" y="164"/>
                  <a:pt x="102" y="166"/>
                  <a:pt x="103" y="166"/>
                </a:cubicBezTo>
                <a:cubicBezTo>
                  <a:pt x="103" y="166"/>
                  <a:pt x="103" y="167"/>
                  <a:pt x="104" y="167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9" name="Google Shape;479;p102"/>
          <p:cNvSpPr/>
          <p:nvPr/>
        </p:nvSpPr>
        <p:spPr>
          <a:xfrm>
            <a:off x="4686867" y="5285109"/>
            <a:ext cx="196591" cy="254299"/>
          </a:xfrm>
          <a:custGeom>
            <a:avLst/>
            <a:gdLst/>
            <a:ahLst/>
            <a:cxnLst/>
            <a:rect l="l" t="t" r="r" b="b"/>
            <a:pathLst>
              <a:path w="68" h="92" extrusionOk="0">
                <a:moveTo>
                  <a:pt x="35" y="5"/>
                </a:moveTo>
                <a:cubicBezTo>
                  <a:pt x="31" y="2"/>
                  <a:pt x="31" y="2"/>
                  <a:pt x="31" y="2"/>
                </a:cubicBezTo>
                <a:cubicBezTo>
                  <a:pt x="23" y="0"/>
                  <a:pt x="23" y="0"/>
                  <a:pt x="23" y="0"/>
                </a:cubicBezTo>
                <a:cubicBezTo>
                  <a:pt x="13" y="1"/>
                  <a:pt x="13" y="1"/>
                  <a:pt x="13" y="1"/>
                </a:cubicBezTo>
                <a:cubicBezTo>
                  <a:pt x="13" y="1"/>
                  <a:pt x="8" y="7"/>
                  <a:pt x="8" y="9"/>
                </a:cubicBezTo>
                <a:cubicBezTo>
                  <a:pt x="8" y="10"/>
                  <a:pt x="5" y="15"/>
                  <a:pt x="5" y="15"/>
                </a:cubicBezTo>
                <a:cubicBezTo>
                  <a:pt x="5" y="18"/>
                  <a:pt x="5" y="18"/>
                  <a:pt x="5" y="18"/>
                </a:cubicBezTo>
                <a:cubicBezTo>
                  <a:pt x="0" y="30"/>
                  <a:pt x="0" y="30"/>
                  <a:pt x="0" y="30"/>
                </a:cubicBezTo>
                <a:cubicBezTo>
                  <a:pt x="5" y="33"/>
                  <a:pt x="5" y="33"/>
                  <a:pt x="5" y="33"/>
                </a:cubicBezTo>
                <a:cubicBezTo>
                  <a:pt x="5" y="33"/>
                  <a:pt x="6" y="36"/>
                  <a:pt x="7" y="37"/>
                </a:cubicBezTo>
                <a:cubicBezTo>
                  <a:pt x="8" y="39"/>
                  <a:pt x="8" y="41"/>
                  <a:pt x="10" y="42"/>
                </a:cubicBezTo>
                <a:cubicBezTo>
                  <a:pt x="12" y="42"/>
                  <a:pt x="12" y="44"/>
                  <a:pt x="14" y="45"/>
                </a:cubicBezTo>
                <a:cubicBezTo>
                  <a:pt x="15" y="47"/>
                  <a:pt x="15" y="52"/>
                  <a:pt x="18" y="52"/>
                </a:cubicBezTo>
                <a:cubicBezTo>
                  <a:pt x="20" y="52"/>
                  <a:pt x="20" y="53"/>
                  <a:pt x="23" y="56"/>
                </a:cubicBezTo>
                <a:cubicBezTo>
                  <a:pt x="25" y="59"/>
                  <a:pt x="27" y="56"/>
                  <a:pt x="29" y="58"/>
                </a:cubicBezTo>
                <a:cubicBezTo>
                  <a:pt x="31" y="60"/>
                  <a:pt x="31" y="61"/>
                  <a:pt x="32" y="61"/>
                </a:cubicBezTo>
                <a:cubicBezTo>
                  <a:pt x="34" y="62"/>
                  <a:pt x="35" y="66"/>
                  <a:pt x="38" y="68"/>
                </a:cubicBezTo>
                <a:cubicBezTo>
                  <a:pt x="41" y="69"/>
                  <a:pt x="38" y="71"/>
                  <a:pt x="38" y="74"/>
                </a:cubicBezTo>
                <a:cubicBezTo>
                  <a:pt x="38" y="77"/>
                  <a:pt x="36" y="80"/>
                  <a:pt x="34" y="82"/>
                </a:cubicBezTo>
                <a:cubicBezTo>
                  <a:pt x="33" y="85"/>
                  <a:pt x="31" y="89"/>
                  <a:pt x="31" y="89"/>
                </a:cubicBezTo>
                <a:cubicBezTo>
                  <a:pt x="31" y="89"/>
                  <a:pt x="32" y="90"/>
                  <a:pt x="34" y="89"/>
                </a:cubicBezTo>
                <a:cubicBezTo>
                  <a:pt x="36" y="89"/>
                  <a:pt x="38" y="89"/>
                  <a:pt x="40" y="90"/>
                </a:cubicBezTo>
                <a:cubicBezTo>
                  <a:pt x="42" y="92"/>
                  <a:pt x="44" y="91"/>
                  <a:pt x="46" y="91"/>
                </a:cubicBezTo>
                <a:cubicBezTo>
                  <a:pt x="48" y="91"/>
                  <a:pt x="51" y="91"/>
                  <a:pt x="53" y="92"/>
                </a:cubicBezTo>
                <a:cubicBezTo>
                  <a:pt x="56" y="92"/>
                  <a:pt x="58" y="91"/>
                  <a:pt x="58" y="91"/>
                </a:cubicBezTo>
                <a:cubicBezTo>
                  <a:pt x="58" y="91"/>
                  <a:pt x="59" y="91"/>
                  <a:pt x="59" y="89"/>
                </a:cubicBezTo>
                <a:cubicBezTo>
                  <a:pt x="60" y="87"/>
                  <a:pt x="62" y="86"/>
                  <a:pt x="64" y="84"/>
                </a:cubicBezTo>
                <a:cubicBezTo>
                  <a:pt x="65" y="83"/>
                  <a:pt x="65" y="77"/>
                  <a:pt x="64" y="76"/>
                </a:cubicBezTo>
                <a:cubicBezTo>
                  <a:pt x="63" y="74"/>
                  <a:pt x="66" y="71"/>
                  <a:pt x="66" y="71"/>
                </a:cubicBezTo>
                <a:cubicBezTo>
                  <a:pt x="66" y="71"/>
                  <a:pt x="65" y="63"/>
                  <a:pt x="67" y="61"/>
                </a:cubicBezTo>
                <a:cubicBezTo>
                  <a:pt x="68" y="59"/>
                  <a:pt x="68" y="54"/>
                  <a:pt x="68" y="52"/>
                </a:cubicBezTo>
                <a:cubicBezTo>
                  <a:pt x="68" y="51"/>
                  <a:pt x="65" y="52"/>
                  <a:pt x="63" y="53"/>
                </a:cubicBezTo>
                <a:cubicBezTo>
                  <a:pt x="62" y="54"/>
                  <a:pt x="61" y="51"/>
                  <a:pt x="61" y="48"/>
                </a:cubicBezTo>
                <a:cubicBezTo>
                  <a:pt x="61" y="45"/>
                  <a:pt x="61" y="42"/>
                  <a:pt x="61" y="38"/>
                </a:cubicBezTo>
                <a:cubicBezTo>
                  <a:pt x="61" y="35"/>
                  <a:pt x="60" y="34"/>
                  <a:pt x="57" y="34"/>
                </a:cubicBezTo>
                <a:cubicBezTo>
                  <a:pt x="54" y="34"/>
                  <a:pt x="54" y="31"/>
                  <a:pt x="54" y="31"/>
                </a:cubicBezTo>
                <a:cubicBezTo>
                  <a:pt x="53" y="29"/>
                  <a:pt x="53" y="29"/>
                  <a:pt x="53" y="29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0"/>
                  <a:pt x="41" y="30"/>
                  <a:pt x="41" y="28"/>
                </a:cubicBezTo>
                <a:cubicBezTo>
                  <a:pt x="41" y="25"/>
                  <a:pt x="39" y="24"/>
                  <a:pt x="40" y="20"/>
                </a:cubicBezTo>
                <a:cubicBezTo>
                  <a:pt x="40" y="17"/>
                  <a:pt x="41" y="14"/>
                  <a:pt x="39" y="12"/>
                </a:cubicBezTo>
                <a:cubicBezTo>
                  <a:pt x="38" y="10"/>
                  <a:pt x="37" y="9"/>
                  <a:pt x="37" y="9"/>
                </a:cubicBezTo>
                <a:lnTo>
                  <a:pt x="35" y="5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0" name="Google Shape;480;p102"/>
          <p:cNvSpPr/>
          <p:nvPr/>
        </p:nvSpPr>
        <p:spPr>
          <a:xfrm>
            <a:off x="9718993" y="4786401"/>
            <a:ext cx="379976" cy="254299"/>
          </a:xfrm>
          <a:custGeom>
            <a:avLst/>
            <a:gdLst/>
            <a:ahLst/>
            <a:cxnLst/>
            <a:rect l="l" t="t" r="r" b="b"/>
            <a:pathLst>
              <a:path w="132" h="92" extrusionOk="0">
                <a:moveTo>
                  <a:pt x="1" y="6"/>
                </a:moveTo>
                <a:cubicBezTo>
                  <a:pt x="2" y="45"/>
                  <a:pt x="2" y="45"/>
                  <a:pt x="2" y="45"/>
                </a:cubicBezTo>
                <a:cubicBezTo>
                  <a:pt x="0" y="48"/>
                  <a:pt x="0" y="48"/>
                  <a:pt x="0" y="48"/>
                </a:cubicBezTo>
                <a:cubicBezTo>
                  <a:pt x="2" y="52"/>
                  <a:pt x="2" y="52"/>
                  <a:pt x="2" y="52"/>
                </a:cubicBezTo>
                <a:cubicBezTo>
                  <a:pt x="2" y="75"/>
                  <a:pt x="2" y="75"/>
                  <a:pt x="2" y="75"/>
                </a:cubicBezTo>
                <a:cubicBezTo>
                  <a:pt x="5" y="75"/>
                  <a:pt x="9" y="75"/>
                  <a:pt x="11" y="75"/>
                </a:cubicBezTo>
                <a:cubicBezTo>
                  <a:pt x="11" y="75"/>
                  <a:pt x="13" y="73"/>
                  <a:pt x="13" y="73"/>
                </a:cubicBezTo>
                <a:cubicBezTo>
                  <a:pt x="14" y="73"/>
                  <a:pt x="14" y="74"/>
                  <a:pt x="14" y="74"/>
                </a:cubicBezTo>
                <a:cubicBezTo>
                  <a:pt x="17" y="75"/>
                  <a:pt x="22" y="73"/>
                  <a:pt x="23" y="72"/>
                </a:cubicBezTo>
                <a:cubicBezTo>
                  <a:pt x="23" y="71"/>
                  <a:pt x="23" y="71"/>
                  <a:pt x="23" y="71"/>
                </a:cubicBezTo>
                <a:cubicBezTo>
                  <a:pt x="23" y="71"/>
                  <a:pt x="25" y="70"/>
                  <a:pt x="25" y="70"/>
                </a:cubicBezTo>
                <a:cubicBezTo>
                  <a:pt x="25" y="68"/>
                  <a:pt x="24" y="67"/>
                  <a:pt x="24" y="65"/>
                </a:cubicBezTo>
                <a:cubicBezTo>
                  <a:pt x="24" y="65"/>
                  <a:pt x="26" y="62"/>
                  <a:pt x="26" y="62"/>
                </a:cubicBezTo>
                <a:cubicBezTo>
                  <a:pt x="28" y="62"/>
                  <a:pt x="26" y="62"/>
                  <a:pt x="27" y="63"/>
                </a:cubicBezTo>
                <a:cubicBezTo>
                  <a:pt x="29" y="64"/>
                  <a:pt x="28" y="62"/>
                  <a:pt x="31" y="62"/>
                </a:cubicBezTo>
                <a:cubicBezTo>
                  <a:pt x="32" y="62"/>
                  <a:pt x="34" y="64"/>
                  <a:pt x="35" y="64"/>
                </a:cubicBezTo>
                <a:cubicBezTo>
                  <a:pt x="38" y="65"/>
                  <a:pt x="40" y="63"/>
                  <a:pt x="43" y="65"/>
                </a:cubicBezTo>
                <a:cubicBezTo>
                  <a:pt x="44" y="65"/>
                  <a:pt x="49" y="70"/>
                  <a:pt x="49" y="71"/>
                </a:cubicBezTo>
                <a:cubicBezTo>
                  <a:pt x="50" y="72"/>
                  <a:pt x="49" y="74"/>
                  <a:pt x="49" y="75"/>
                </a:cubicBezTo>
                <a:cubicBezTo>
                  <a:pt x="51" y="75"/>
                  <a:pt x="51" y="75"/>
                  <a:pt x="51" y="75"/>
                </a:cubicBezTo>
                <a:cubicBezTo>
                  <a:pt x="51" y="76"/>
                  <a:pt x="51" y="76"/>
                  <a:pt x="51" y="76"/>
                </a:cubicBezTo>
                <a:cubicBezTo>
                  <a:pt x="53" y="80"/>
                  <a:pt x="54" y="77"/>
                  <a:pt x="56" y="79"/>
                </a:cubicBezTo>
                <a:cubicBezTo>
                  <a:pt x="56" y="79"/>
                  <a:pt x="56" y="80"/>
                  <a:pt x="56" y="81"/>
                </a:cubicBezTo>
                <a:cubicBezTo>
                  <a:pt x="56" y="82"/>
                  <a:pt x="60" y="82"/>
                  <a:pt x="60" y="84"/>
                </a:cubicBezTo>
                <a:cubicBezTo>
                  <a:pt x="60" y="84"/>
                  <a:pt x="60" y="86"/>
                  <a:pt x="60" y="86"/>
                </a:cubicBezTo>
                <a:cubicBezTo>
                  <a:pt x="61" y="87"/>
                  <a:pt x="62" y="86"/>
                  <a:pt x="63" y="86"/>
                </a:cubicBezTo>
                <a:cubicBezTo>
                  <a:pt x="63" y="86"/>
                  <a:pt x="65" y="88"/>
                  <a:pt x="65" y="88"/>
                </a:cubicBezTo>
                <a:cubicBezTo>
                  <a:pt x="67" y="89"/>
                  <a:pt x="67" y="87"/>
                  <a:pt x="68" y="88"/>
                </a:cubicBezTo>
                <a:cubicBezTo>
                  <a:pt x="69" y="89"/>
                  <a:pt x="69" y="89"/>
                  <a:pt x="69" y="89"/>
                </a:cubicBezTo>
                <a:cubicBezTo>
                  <a:pt x="72" y="90"/>
                  <a:pt x="74" y="89"/>
                  <a:pt x="76" y="90"/>
                </a:cubicBezTo>
                <a:cubicBezTo>
                  <a:pt x="76" y="90"/>
                  <a:pt x="77" y="91"/>
                  <a:pt x="77" y="92"/>
                </a:cubicBezTo>
                <a:cubicBezTo>
                  <a:pt x="79" y="92"/>
                  <a:pt x="81" y="92"/>
                  <a:pt x="83" y="92"/>
                </a:cubicBezTo>
                <a:cubicBezTo>
                  <a:pt x="83" y="91"/>
                  <a:pt x="83" y="90"/>
                  <a:pt x="83" y="88"/>
                </a:cubicBezTo>
                <a:cubicBezTo>
                  <a:pt x="82" y="88"/>
                  <a:pt x="81" y="88"/>
                  <a:pt x="79" y="88"/>
                </a:cubicBezTo>
                <a:cubicBezTo>
                  <a:pt x="79" y="87"/>
                  <a:pt x="79" y="86"/>
                  <a:pt x="78" y="86"/>
                </a:cubicBezTo>
                <a:cubicBezTo>
                  <a:pt x="78" y="84"/>
                  <a:pt x="79" y="84"/>
                  <a:pt x="79" y="83"/>
                </a:cubicBezTo>
                <a:cubicBezTo>
                  <a:pt x="78" y="83"/>
                  <a:pt x="77" y="82"/>
                  <a:pt x="77" y="82"/>
                </a:cubicBezTo>
                <a:cubicBezTo>
                  <a:pt x="75" y="81"/>
                  <a:pt x="75" y="82"/>
                  <a:pt x="74" y="82"/>
                </a:cubicBezTo>
                <a:cubicBezTo>
                  <a:pt x="73" y="80"/>
                  <a:pt x="72" y="78"/>
                  <a:pt x="72" y="76"/>
                </a:cubicBezTo>
                <a:cubicBezTo>
                  <a:pt x="70" y="75"/>
                  <a:pt x="69" y="75"/>
                  <a:pt x="67" y="75"/>
                </a:cubicBezTo>
                <a:cubicBezTo>
                  <a:pt x="66" y="74"/>
                  <a:pt x="67" y="72"/>
                  <a:pt x="67" y="71"/>
                </a:cubicBezTo>
                <a:cubicBezTo>
                  <a:pt x="67" y="70"/>
                  <a:pt x="65" y="69"/>
                  <a:pt x="65" y="69"/>
                </a:cubicBezTo>
                <a:cubicBezTo>
                  <a:pt x="65" y="68"/>
                  <a:pt x="65" y="67"/>
                  <a:pt x="65" y="66"/>
                </a:cubicBezTo>
                <a:cubicBezTo>
                  <a:pt x="64" y="65"/>
                  <a:pt x="63" y="66"/>
                  <a:pt x="61" y="65"/>
                </a:cubicBezTo>
                <a:cubicBezTo>
                  <a:pt x="57" y="63"/>
                  <a:pt x="56" y="59"/>
                  <a:pt x="57" y="54"/>
                </a:cubicBezTo>
                <a:cubicBezTo>
                  <a:pt x="55" y="55"/>
                  <a:pt x="56" y="51"/>
                  <a:pt x="56" y="51"/>
                </a:cubicBezTo>
                <a:cubicBezTo>
                  <a:pt x="57" y="51"/>
                  <a:pt x="58" y="52"/>
                  <a:pt x="59" y="52"/>
                </a:cubicBezTo>
                <a:cubicBezTo>
                  <a:pt x="61" y="50"/>
                  <a:pt x="61" y="50"/>
                  <a:pt x="61" y="50"/>
                </a:cubicBezTo>
                <a:cubicBezTo>
                  <a:pt x="62" y="49"/>
                  <a:pt x="62" y="49"/>
                  <a:pt x="62" y="49"/>
                </a:cubicBezTo>
                <a:cubicBezTo>
                  <a:pt x="62" y="48"/>
                  <a:pt x="62" y="46"/>
                  <a:pt x="62" y="45"/>
                </a:cubicBezTo>
                <a:cubicBezTo>
                  <a:pt x="62" y="45"/>
                  <a:pt x="61" y="44"/>
                  <a:pt x="61" y="44"/>
                </a:cubicBezTo>
                <a:cubicBezTo>
                  <a:pt x="60" y="43"/>
                  <a:pt x="61" y="43"/>
                  <a:pt x="60" y="42"/>
                </a:cubicBezTo>
                <a:cubicBezTo>
                  <a:pt x="58" y="42"/>
                  <a:pt x="58" y="41"/>
                  <a:pt x="57" y="41"/>
                </a:cubicBezTo>
                <a:cubicBezTo>
                  <a:pt x="57" y="41"/>
                  <a:pt x="56" y="42"/>
                  <a:pt x="56" y="42"/>
                </a:cubicBezTo>
                <a:cubicBezTo>
                  <a:pt x="56" y="42"/>
                  <a:pt x="54" y="42"/>
                  <a:pt x="54" y="42"/>
                </a:cubicBezTo>
                <a:cubicBezTo>
                  <a:pt x="54" y="41"/>
                  <a:pt x="53" y="40"/>
                  <a:pt x="53" y="39"/>
                </a:cubicBezTo>
                <a:cubicBezTo>
                  <a:pt x="51" y="38"/>
                  <a:pt x="51" y="38"/>
                  <a:pt x="51" y="38"/>
                </a:cubicBezTo>
                <a:cubicBezTo>
                  <a:pt x="51" y="38"/>
                  <a:pt x="52" y="36"/>
                  <a:pt x="51" y="36"/>
                </a:cubicBezTo>
                <a:cubicBezTo>
                  <a:pt x="49" y="35"/>
                  <a:pt x="45" y="36"/>
                  <a:pt x="43" y="34"/>
                </a:cubicBezTo>
                <a:cubicBezTo>
                  <a:pt x="42" y="33"/>
                  <a:pt x="44" y="32"/>
                  <a:pt x="43" y="31"/>
                </a:cubicBezTo>
                <a:cubicBezTo>
                  <a:pt x="43" y="29"/>
                  <a:pt x="39" y="24"/>
                  <a:pt x="38" y="23"/>
                </a:cubicBezTo>
                <a:cubicBezTo>
                  <a:pt x="37" y="22"/>
                  <a:pt x="35" y="23"/>
                  <a:pt x="34" y="23"/>
                </a:cubicBezTo>
                <a:cubicBezTo>
                  <a:pt x="32" y="22"/>
                  <a:pt x="32" y="18"/>
                  <a:pt x="30" y="18"/>
                </a:cubicBezTo>
                <a:cubicBezTo>
                  <a:pt x="29" y="17"/>
                  <a:pt x="27" y="18"/>
                  <a:pt x="26" y="18"/>
                </a:cubicBezTo>
                <a:cubicBezTo>
                  <a:pt x="26" y="18"/>
                  <a:pt x="24" y="15"/>
                  <a:pt x="24" y="15"/>
                </a:cubicBezTo>
                <a:cubicBezTo>
                  <a:pt x="22" y="15"/>
                  <a:pt x="21" y="15"/>
                  <a:pt x="20" y="15"/>
                </a:cubicBezTo>
                <a:cubicBezTo>
                  <a:pt x="19" y="15"/>
                  <a:pt x="18" y="13"/>
                  <a:pt x="18" y="13"/>
                </a:cubicBezTo>
                <a:cubicBezTo>
                  <a:pt x="15" y="12"/>
                  <a:pt x="12" y="12"/>
                  <a:pt x="10" y="11"/>
                </a:cubicBezTo>
                <a:cubicBezTo>
                  <a:pt x="7" y="10"/>
                  <a:pt x="5" y="8"/>
                  <a:pt x="3" y="6"/>
                </a:cubicBezTo>
                <a:cubicBezTo>
                  <a:pt x="3" y="5"/>
                  <a:pt x="3" y="5"/>
                  <a:pt x="3" y="5"/>
                </a:cubicBezTo>
                <a:cubicBezTo>
                  <a:pt x="2" y="5"/>
                  <a:pt x="2" y="6"/>
                  <a:pt x="1" y="6"/>
                </a:cubicBezTo>
                <a:close/>
                <a:moveTo>
                  <a:pt x="89" y="86"/>
                </a:moveTo>
                <a:cubicBezTo>
                  <a:pt x="88" y="86"/>
                  <a:pt x="88" y="88"/>
                  <a:pt x="89" y="88"/>
                </a:cubicBezTo>
                <a:cubicBezTo>
                  <a:pt x="89" y="88"/>
                  <a:pt x="91" y="85"/>
                  <a:pt x="89" y="86"/>
                </a:cubicBezTo>
                <a:close/>
                <a:moveTo>
                  <a:pt x="85" y="80"/>
                </a:moveTo>
                <a:cubicBezTo>
                  <a:pt x="84" y="82"/>
                  <a:pt x="84" y="82"/>
                  <a:pt x="84" y="82"/>
                </a:cubicBezTo>
                <a:cubicBezTo>
                  <a:pt x="86" y="81"/>
                  <a:pt x="86" y="82"/>
                  <a:pt x="87" y="82"/>
                </a:cubicBezTo>
                <a:cubicBezTo>
                  <a:pt x="87" y="82"/>
                  <a:pt x="87" y="80"/>
                  <a:pt x="87" y="80"/>
                </a:cubicBezTo>
                <a:cubicBezTo>
                  <a:pt x="86" y="80"/>
                  <a:pt x="86" y="80"/>
                  <a:pt x="85" y="80"/>
                </a:cubicBezTo>
                <a:close/>
                <a:moveTo>
                  <a:pt x="60" y="36"/>
                </a:moveTo>
                <a:cubicBezTo>
                  <a:pt x="61" y="38"/>
                  <a:pt x="61" y="38"/>
                  <a:pt x="61" y="38"/>
                </a:cubicBezTo>
                <a:cubicBezTo>
                  <a:pt x="61" y="38"/>
                  <a:pt x="63" y="38"/>
                  <a:pt x="62" y="38"/>
                </a:cubicBezTo>
                <a:cubicBezTo>
                  <a:pt x="62" y="38"/>
                  <a:pt x="64" y="37"/>
                  <a:pt x="63" y="36"/>
                </a:cubicBezTo>
                <a:cubicBezTo>
                  <a:pt x="62" y="36"/>
                  <a:pt x="61" y="36"/>
                  <a:pt x="60" y="36"/>
                </a:cubicBezTo>
                <a:close/>
                <a:moveTo>
                  <a:pt x="53" y="32"/>
                </a:moveTo>
                <a:cubicBezTo>
                  <a:pt x="53" y="34"/>
                  <a:pt x="53" y="34"/>
                  <a:pt x="53" y="34"/>
                </a:cubicBezTo>
                <a:cubicBezTo>
                  <a:pt x="55" y="34"/>
                  <a:pt x="55" y="32"/>
                  <a:pt x="53" y="32"/>
                </a:cubicBezTo>
                <a:close/>
                <a:moveTo>
                  <a:pt x="118" y="32"/>
                </a:moveTo>
                <a:cubicBezTo>
                  <a:pt x="118" y="35"/>
                  <a:pt x="117" y="37"/>
                  <a:pt x="118" y="40"/>
                </a:cubicBezTo>
                <a:cubicBezTo>
                  <a:pt x="118" y="41"/>
                  <a:pt x="120" y="42"/>
                  <a:pt x="121" y="44"/>
                </a:cubicBezTo>
                <a:cubicBezTo>
                  <a:pt x="121" y="44"/>
                  <a:pt x="120" y="46"/>
                  <a:pt x="121" y="46"/>
                </a:cubicBezTo>
                <a:cubicBezTo>
                  <a:pt x="121" y="47"/>
                  <a:pt x="122" y="47"/>
                  <a:pt x="123" y="48"/>
                </a:cubicBezTo>
                <a:cubicBezTo>
                  <a:pt x="123" y="48"/>
                  <a:pt x="123" y="49"/>
                  <a:pt x="123" y="50"/>
                </a:cubicBezTo>
                <a:cubicBezTo>
                  <a:pt x="124" y="51"/>
                  <a:pt x="128" y="52"/>
                  <a:pt x="129" y="53"/>
                </a:cubicBezTo>
                <a:cubicBezTo>
                  <a:pt x="130" y="52"/>
                  <a:pt x="131" y="51"/>
                  <a:pt x="132" y="50"/>
                </a:cubicBezTo>
                <a:cubicBezTo>
                  <a:pt x="131" y="49"/>
                  <a:pt x="130" y="46"/>
                  <a:pt x="129" y="44"/>
                </a:cubicBezTo>
                <a:cubicBezTo>
                  <a:pt x="129" y="44"/>
                  <a:pt x="128" y="44"/>
                  <a:pt x="127" y="44"/>
                </a:cubicBezTo>
                <a:cubicBezTo>
                  <a:pt x="127" y="44"/>
                  <a:pt x="124" y="41"/>
                  <a:pt x="123" y="40"/>
                </a:cubicBezTo>
                <a:cubicBezTo>
                  <a:pt x="123" y="40"/>
                  <a:pt x="123" y="38"/>
                  <a:pt x="123" y="38"/>
                </a:cubicBezTo>
                <a:cubicBezTo>
                  <a:pt x="123" y="37"/>
                  <a:pt x="120" y="36"/>
                  <a:pt x="120" y="36"/>
                </a:cubicBezTo>
                <a:cubicBezTo>
                  <a:pt x="119" y="34"/>
                  <a:pt x="120" y="33"/>
                  <a:pt x="119" y="32"/>
                </a:cubicBezTo>
                <a:lnTo>
                  <a:pt x="118" y="32"/>
                </a:lnTo>
                <a:close/>
                <a:moveTo>
                  <a:pt x="97" y="24"/>
                </a:moveTo>
                <a:cubicBezTo>
                  <a:pt x="92" y="28"/>
                  <a:pt x="97" y="26"/>
                  <a:pt x="95" y="29"/>
                </a:cubicBezTo>
                <a:cubicBezTo>
                  <a:pt x="95" y="30"/>
                  <a:pt x="92" y="30"/>
                  <a:pt x="92" y="30"/>
                </a:cubicBezTo>
                <a:cubicBezTo>
                  <a:pt x="92" y="31"/>
                  <a:pt x="92" y="32"/>
                  <a:pt x="92" y="32"/>
                </a:cubicBezTo>
                <a:cubicBezTo>
                  <a:pt x="91" y="36"/>
                  <a:pt x="88" y="36"/>
                  <a:pt x="84" y="36"/>
                </a:cubicBezTo>
                <a:cubicBezTo>
                  <a:pt x="83" y="34"/>
                  <a:pt x="83" y="35"/>
                  <a:pt x="83" y="33"/>
                </a:cubicBezTo>
                <a:cubicBezTo>
                  <a:pt x="81" y="36"/>
                  <a:pt x="79" y="39"/>
                  <a:pt x="74" y="39"/>
                </a:cubicBezTo>
                <a:cubicBezTo>
                  <a:pt x="73" y="39"/>
                  <a:pt x="72" y="37"/>
                  <a:pt x="70" y="38"/>
                </a:cubicBezTo>
                <a:cubicBezTo>
                  <a:pt x="70" y="38"/>
                  <a:pt x="68" y="40"/>
                  <a:pt x="68" y="40"/>
                </a:cubicBezTo>
                <a:cubicBezTo>
                  <a:pt x="69" y="40"/>
                  <a:pt x="71" y="41"/>
                  <a:pt x="73" y="42"/>
                </a:cubicBezTo>
                <a:cubicBezTo>
                  <a:pt x="73" y="42"/>
                  <a:pt x="73" y="43"/>
                  <a:pt x="74" y="44"/>
                </a:cubicBezTo>
                <a:cubicBezTo>
                  <a:pt x="76" y="44"/>
                  <a:pt x="80" y="43"/>
                  <a:pt x="81" y="43"/>
                </a:cubicBezTo>
                <a:cubicBezTo>
                  <a:pt x="84" y="43"/>
                  <a:pt x="87" y="44"/>
                  <a:pt x="89" y="42"/>
                </a:cubicBezTo>
                <a:cubicBezTo>
                  <a:pt x="90" y="42"/>
                  <a:pt x="91" y="40"/>
                  <a:pt x="91" y="40"/>
                </a:cubicBezTo>
                <a:cubicBezTo>
                  <a:pt x="92" y="39"/>
                  <a:pt x="93" y="39"/>
                  <a:pt x="94" y="38"/>
                </a:cubicBezTo>
                <a:cubicBezTo>
                  <a:pt x="94" y="37"/>
                  <a:pt x="94" y="36"/>
                  <a:pt x="95" y="36"/>
                </a:cubicBezTo>
                <a:cubicBezTo>
                  <a:pt x="96" y="35"/>
                  <a:pt x="97" y="36"/>
                  <a:pt x="99" y="35"/>
                </a:cubicBezTo>
                <a:cubicBezTo>
                  <a:pt x="99" y="34"/>
                  <a:pt x="100" y="32"/>
                  <a:pt x="99" y="31"/>
                </a:cubicBezTo>
                <a:cubicBezTo>
                  <a:pt x="99" y="31"/>
                  <a:pt x="100" y="31"/>
                  <a:pt x="101" y="30"/>
                </a:cubicBezTo>
                <a:cubicBezTo>
                  <a:pt x="101" y="30"/>
                  <a:pt x="101" y="28"/>
                  <a:pt x="101" y="28"/>
                </a:cubicBezTo>
                <a:cubicBezTo>
                  <a:pt x="101" y="28"/>
                  <a:pt x="100" y="26"/>
                  <a:pt x="101" y="26"/>
                </a:cubicBezTo>
                <a:cubicBezTo>
                  <a:pt x="99" y="26"/>
                  <a:pt x="99" y="26"/>
                  <a:pt x="99" y="26"/>
                </a:cubicBezTo>
                <a:cubicBezTo>
                  <a:pt x="99" y="26"/>
                  <a:pt x="99" y="24"/>
                  <a:pt x="99" y="24"/>
                </a:cubicBezTo>
                <a:cubicBezTo>
                  <a:pt x="99" y="23"/>
                  <a:pt x="98" y="24"/>
                  <a:pt x="97" y="24"/>
                </a:cubicBezTo>
                <a:close/>
                <a:moveTo>
                  <a:pt x="98" y="16"/>
                </a:moveTo>
                <a:cubicBezTo>
                  <a:pt x="98" y="17"/>
                  <a:pt x="98" y="18"/>
                  <a:pt x="99" y="18"/>
                </a:cubicBezTo>
                <a:cubicBezTo>
                  <a:pt x="99" y="19"/>
                  <a:pt x="102" y="21"/>
                  <a:pt x="102" y="22"/>
                </a:cubicBezTo>
                <a:cubicBezTo>
                  <a:pt x="103" y="27"/>
                  <a:pt x="100" y="25"/>
                  <a:pt x="103" y="28"/>
                </a:cubicBezTo>
                <a:cubicBezTo>
                  <a:pt x="105" y="28"/>
                  <a:pt x="105" y="28"/>
                  <a:pt x="105" y="28"/>
                </a:cubicBezTo>
                <a:cubicBezTo>
                  <a:pt x="105" y="27"/>
                  <a:pt x="105" y="27"/>
                  <a:pt x="105" y="26"/>
                </a:cubicBezTo>
                <a:cubicBezTo>
                  <a:pt x="107" y="20"/>
                  <a:pt x="102" y="18"/>
                  <a:pt x="98" y="16"/>
                </a:cubicBezTo>
                <a:close/>
                <a:moveTo>
                  <a:pt x="87" y="9"/>
                </a:moveTo>
                <a:cubicBezTo>
                  <a:pt x="88" y="9"/>
                  <a:pt x="88" y="11"/>
                  <a:pt x="88" y="11"/>
                </a:cubicBezTo>
                <a:cubicBezTo>
                  <a:pt x="90" y="13"/>
                  <a:pt x="92" y="13"/>
                  <a:pt x="95" y="14"/>
                </a:cubicBezTo>
                <a:cubicBezTo>
                  <a:pt x="94" y="15"/>
                  <a:pt x="97" y="15"/>
                  <a:pt x="97" y="15"/>
                </a:cubicBezTo>
                <a:cubicBezTo>
                  <a:pt x="97" y="15"/>
                  <a:pt x="97" y="13"/>
                  <a:pt x="97" y="13"/>
                </a:cubicBezTo>
                <a:cubicBezTo>
                  <a:pt x="93" y="11"/>
                  <a:pt x="92" y="10"/>
                  <a:pt x="87" y="9"/>
                </a:cubicBezTo>
                <a:close/>
                <a:moveTo>
                  <a:pt x="81" y="6"/>
                </a:moveTo>
                <a:cubicBezTo>
                  <a:pt x="81" y="6"/>
                  <a:pt x="80" y="8"/>
                  <a:pt x="81" y="8"/>
                </a:cubicBezTo>
                <a:cubicBezTo>
                  <a:pt x="81" y="9"/>
                  <a:pt x="81" y="9"/>
                  <a:pt x="81" y="9"/>
                </a:cubicBezTo>
                <a:cubicBezTo>
                  <a:pt x="82" y="9"/>
                  <a:pt x="84" y="9"/>
                  <a:pt x="85" y="9"/>
                </a:cubicBezTo>
                <a:cubicBezTo>
                  <a:pt x="85" y="9"/>
                  <a:pt x="86" y="7"/>
                  <a:pt x="85" y="6"/>
                </a:cubicBezTo>
                <a:cubicBezTo>
                  <a:pt x="83" y="6"/>
                  <a:pt x="82" y="7"/>
                  <a:pt x="81" y="6"/>
                </a:cubicBezTo>
                <a:close/>
                <a:moveTo>
                  <a:pt x="51" y="0"/>
                </a:moveTo>
                <a:cubicBezTo>
                  <a:pt x="51" y="0"/>
                  <a:pt x="50" y="2"/>
                  <a:pt x="50" y="3"/>
                </a:cubicBezTo>
                <a:cubicBezTo>
                  <a:pt x="53" y="3"/>
                  <a:pt x="55" y="3"/>
                  <a:pt x="57" y="3"/>
                </a:cubicBezTo>
                <a:cubicBezTo>
                  <a:pt x="57" y="3"/>
                  <a:pt x="55" y="2"/>
                  <a:pt x="55" y="2"/>
                </a:cubicBezTo>
                <a:cubicBezTo>
                  <a:pt x="54" y="1"/>
                  <a:pt x="52" y="1"/>
                  <a:pt x="51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1" name="Google Shape;481;p102"/>
          <p:cNvSpPr/>
          <p:nvPr/>
        </p:nvSpPr>
        <p:spPr>
          <a:xfrm>
            <a:off x="4174852" y="4421905"/>
            <a:ext cx="146709" cy="80527"/>
          </a:xfrm>
          <a:custGeom>
            <a:avLst/>
            <a:gdLst/>
            <a:ahLst/>
            <a:cxnLst/>
            <a:rect l="l" t="t" r="r" b="b"/>
            <a:pathLst>
              <a:path w="51" h="29" extrusionOk="0">
                <a:moveTo>
                  <a:pt x="50" y="14"/>
                </a:moveTo>
                <a:cubicBezTo>
                  <a:pt x="49" y="13"/>
                  <a:pt x="47" y="12"/>
                  <a:pt x="46" y="12"/>
                </a:cubicBezTo>
                <a:cubicBezTo>
                  <a:pt x="46" y="11"/>
                  <a:pt x="47" y="10"/>
                  <a:pt x="46" y="9"/>
                </a:cubicBezTo>
                <a:cubicBezTo>
                  <a:pt x="42" y="6"/>
                  <a:pt x="42" y="6"/>
                  <a:pt x="42" y="6"/>
                </a:cubicBezTo>
                <a:cubicBezTo>
                  <a:pt x="42" y="5"/>
                  <a:pt x="42" y="3"/>
                  <a:pt x="42" y="3"/>
                </a:cubicBezTo>
                <a:cubicBezTo>
                  <a:pt x="42" y="3"/>
                  <a:pt x="42" y="4"/>
                  <a:pt x="41" y="4"/>
                </a:cubicBezTo>
                <a:cubicBezTo>
                  <a:pt x="41" y="4"/>
                  <a:pt x="41" y="2"/>
                  <a:pt x="41" y="2"/>
                </a:cubicBezTo>
                <a:cubicBezTo>
                  <a:pt x="38" y="0"/>
                  <a:pt x="34" y="1"/>
                  <a:pt x="31" y="0"/>
                </a:cubicBezTo>
                <a:cubicBezTo>
                  <a:pt x="30" y="0"/>
                  <a:pt x="30" y="3"/>
                  <a:pt x="30" y="3"/>
                </a:cubicBezTo>
                <a:cubicBezTo>
                  <a:pt x="27" y="4"/>
                  <a:pt x="24" y="4"/>
                  <a:pt x="22" y="5"/>
                </a:cubicBezTo>
                <a:cubicBezTo>
                  <a:pt x="21" y="6"/>
                  <a:pt x="19" y="8"/>
                  <a:pt x="18" y="8"/>
                </a:cubicBezTo>
                <a:cubicBezTo>
                  <a:pt x="13" y="9"/>
                  <a:pt x="16" y="4"/>
                  <a:pt x="8" y="6"/>
                </a:cubicBezTo>
                <a:cubicBezTo>
                  <a:pt x="8" y="6"/>
                  <a:pt x="7" y="5"/>
                  <a:pt x="6" y="4"/>
                </a:cubicBezTo>
                <a:cubicBezTo>
                  <a:pt x="6" y="3"/>
                  <a:pt x="7" y="2"/>
                  <a:pt x="6" y="0"/>
                </a:cubicBezTo>
                <a:cubicBezTo>
                  <a:pt x="3" y="1"/>
                  <a:pt x="3" y="1"/>
                  <a:pt x="3" y="1"/>
                </a:cubicBezTo>
                <a:cubicBezTo>
                  <a:pt x="1" y="0"/>
                  <a:pt x="1" y="0"/>
                  <a:pt x="1" y="0"/>
                </a:cubicBezTo>
                <a:cubicBezTo>
                  <a:pt x="1" y="0"/>
                  <a:pt x="2" y="3"/>
                  <a:pt x="1" y="5"/>
                </a:cubicBezTo>
                <a:cubicBezTo>
                  <a:pt x="0" y="7"/>
                  <a:pt x="3" y="9"/>
                  <a:pt x="3" y="11"/>
                </a:cubicBezTo>
                <a:cubicBezTo>
                  <a:pt x="2" y="12"/>
                  <a:pt x="2" y="15"/>
                  <a:pt x="2" y="15"/>
                </a:cubicBezTo>
                <a:cubicBezTo>
                  <a:pt x="3" y="14"/>
                  <a:pt x="3" y="14"/>
                  <a:pt x="4" y="14"/>
                </a:cubicBezTo>
                <a:cubicBezTo>
                  <a:pt x="4" y="13"/>
                  <a:pt x="4" y="13"/>
                  <a:pt x="4" y="13"/>
                </a:cubicBezTo>
                <a:cubicBezTo>
                  <a:pt x="5" y="13"/>
                  <a:pt x="6" y="13"/>
                  <a:pt x="6" y="13"/>
                </a:cubicBezTo>
                <a:cubicBezTo>
                  <a:pt x="7" y="14"/>
                  <a:pt x="6" y="15"/>
                  <a:pt x="7" y="15"/>
                </a:cubicBezTo>
                <a:cubicBezTo>
                  <a:pt x="9" y="15"/>
                  <a:pt x="11" y="14"/>
                  <a:pt x="12" y="14"/>
                </a:cubicBezTo>
                <a:cubicBezTo>
                  <a:pt x="13" y="16"/>
                  <a:pt x="14" y="18"/>
                  <a:pt x="14" y="20"/>
                </a:cubicBezTo>
                <a:cubicBezTo>
                  <a:pt x="20" y="20"/>
                  <a:pt x="18" y="18"/>
                  <a:pt x="20" y="24"/>
                </a:cubicBezTo>
                <a:cubicBezTo>
                  <a:pt x="22" y="24"/>
                  <a:pt x="22" y="24"/>
                  <a:pt x="24" y="24"/>
                </a:cubicBezTo>
                <a:cubicBezTo>
                  <a:pt x="24" y="23"/>
                  <a:pt x="24" y="21"/>
                  <a:pt x="25" y="21"/>
                </a:cubicBezTo>
                <a:cubicBezTo>
                  <a:pt x="25" y="21"/>
                  <a:pt x="27" y="21"/>
                  <a:pt x="27" y="21"/>
                </a:cubicBezTo>
                <a:cubicBezTo>
                  <a:pt x="27" y="21"/>
                  <a:pt x="27" y="19"/>
                  <a:pt x="27" y="18"/>
                </a:cubicBezTo>
                <a:cubicBezTo>
                  <a:pt x="26" y="18"/>
                  <a:pt x="25" y="17"/>
                  <a:pt x="25" y="16"/>
                </a:cubicBezTo>
                <a:cubicBezTo>
                  <a:pt x="25" y="16"/>
                  <a:pt x="23" y="17"/>
                  <a:pt x="23" y="16"/>
                </a:cubicBezTo>
                <a:cubicBezTo>
                  <a:pt x="22" y="16"/>
                  <a:pt x="23" y="15"/>
                  <a:pt x="22" y="14"/>
                </a:cubicBezTo>
                <a:cubicBezTo>
                  <a:pt x="23" y="14"/>
                  <a:pt x="26" y="14"/>
                  <a:pt x="27" y="13"/>
                </a:cubicBezTo>
                <a:cubicBezTo>
                  <a:pt x="29" y="12"/>
                  <a:pt x="30" y="8"/>
                  <a:pt x="32" y="6"/>
                </a:cubicBezTo>
                <a:cubicBezTo>
                  <a:pt x="33" y="7"/>
                  <a:pt x="34" y="7"/>
                  <a:pt x="35" y="8"/>
                </a:cubicBezTo>
                <a:cubicBezTo>
                  <a:pt x="36" y="9"/>
                  <a:pt x="38" y="14"/>
                  <a:pt x="39" y="16"/>
                </a:cubicBezTo>
                <a:cubicBezTo>
                  <a:pt x="41" y="15"/>
                  <a:pt x="42" y="15"/>
                  <a:pt x="44" y="14"/>
                </a:cubicBezTo>
                <a:cubicBezTo>
                  <a:pt x="44" y="15"/>
                  <a:pt x="45" y="17"/>
                  <a:pt x="44" y="17"/>
                </a:cubicBezTo>
                <a:cubicBezTo>
                  <a:pt x="43" y="18"/>
                  <a:pt x="41" y="17"/>
                  <a:pt x="41" y="20"/>
                </a:cubicBezTo>
                <a:cubicBezTo>
                  <a:pt x="40" y="25"/>
                  <a:pt x="43" y="27"/>
                  <a:pt x="48" y="29"/>
                </a:cubicBezTo>
                <a:cubicBezTo>
                  <a:pt x="48" y="28"/>
                  <a:pt x="48" y="28"/>
                  <a:pt x="48" y="28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51" y="24"/>
                  <a:pt x="51" y="21"/>
                </a:cubicBezTo>
                <a:cubicBezTo>
                  <a:pt x="51" y="19"/>
                  <a:pt x="49" y="18"/>
                  <a:pt x="49" y="18"/>
                </a:cubicBezTo>
                <a:lnTo>
                  <a:pt x="50" y="14"/>
                </a:lnTo>
                <a:close/>
                <a:moveTo>
                  <a:pt x="26" y="22"/>
                </a:moveTo>
                <a:cubicBezTo>
                  <a:pt x="25" y="23"/>
                  <a:pt x="25" y="24"/>
                  <a:pt x="24" y="25"/>
                </a:cubicBezTo>
                <a:cubicBezTo>
                  <a:pt x="25" y="25"/>
                  <a:pt x="27" y="24"/>
                  <a:pt x="26" y="24"/>
                </a:cubicBezTo>
                <a:cubicBezTo>
                  <a:pt x="27" y="24"/>
                  <a:pt x="27" y="24"/>
                  <a:pt x="27" y="24"/>
                </a:cubicBezTo>
                <a:cubicBezTo>
                  <a:pt x="27" y="24"/>
                  <a:pt x="28" y="22"/>
                  <a:pt x="27" y="22"/>
                </a:cubicBezTo>
                <a:cubicBezTo>
                  <a:pt x="27" y="24"/>
                  <a:pt x="27" y="24"/>
                  <a:pt x="27" y="24"/>
                </a:cubicBezTo>
                <a:cubicBezTo>
                  <a:pt x="27" y="24"/>
                  <a:pt x="26" y="22"/>
                  <a:pt x="26" y="22"/>
                </a:cubicBezTo>
                <a:close/>
                <a:moveTo>
                  <a:pt x="12" y="22"/>
                </a:moveTo>
                <a:cubicBezTo>
                  <a:pt x="12" y="22"/>
                  <a:pt x="13" y="24"/>
                  <a:pt x="13" y="24"/>
                </a:cubicBezTo>
                <a:cubicBezTo>
                  <a:pt x="15" y="25"/>
                  <a:pt x="14" y="23"/>
                  <a:pt x="12" y="22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2" name="Google Shape;482;p102"/>
          <p:cNvSpPr/>
          <p:nvPr/>
        </p:nvSpPr>
        <p:spPr>
          <a:xfrm>
            <a:off x="7763358" y="3591196"/>
            <a:ext cx="379976" cy="409704"/>
          </a:xfrm>
          <a:custGeom>
            <a:avLst/>
            <a:gdLst/>
            <a:ahLst/>
            <a:cxnLst/>
            <a:rect l="l" t="t" r="r" b="b"/>
            <a:pathLst>
              <a:path w="132" h="148" extrusionOk="0">
                <a:moveTo>
                  <a:pt x="132" y="12"/>
                </a:moveTo>
                <a:cubicBezTo>
                  <a:pt x="130" y="17"/>
                  <a:pt x="130" y="17"/>
                  <a:pt x="130" y="17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6" y="22"/>
                  <a:pt x="126" y="22"/>
                  <a:pt x="126" y="22"/>
                </a:cubicBezTo>
                <a:cubicBezTo>
                  <a:pt x="121" y="26"/>
                  <a:pt x="121" y="26"/>
                  <a:pt x="121" y="26"/>
                </a:cubicBezTo>
                <a:cubicBezTo>
                  <a:pt x="115" y="27"/>
                  <a:pt x="115" y="27"/>
                  <a:pt x="115" y="27"/>
                </a:cubicBezTo>
                <a:cubicBezTo>
                  <a:pt x="112" y="29"/>
                  <a:pt x="112" y="29"/>
                  <a:pt x="112" y="29"/>
                </a:cubicBezTo>
                <a:cubicBezTo>
                  <a:pt x="111" y="31"/>
                  <a:pt x="111" y="31"/>
                  <a:pt x="111" y="31"/>
                </a:cubicBezTo>
                <a:cubicBezTo>
                  <a:pt x="109" y="33"/>
                  <a:pt x="109" y="33"/>
                  <a:pt x="109" y="33"/>
                </a:cubicBezTo>
                <a:cubicBezTo>
                  <a:pt x="106" y="31"/>
                  <a:pt x="106" y="31"/>
                  <a:pt x="106" y="31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99" y="34"/>
                  <a:pt x="99" y="34"/>
                  <a:pt x="99" y="34"/>
                </a:cubicBezTo>
                <a:cubicBezTo>
                  <a:pt x="98" y="38"/>
                  <a:pt x="98" y="38"/>
                  <a:pt x="98" y="38"/>
                </a:cubicBezTo>
                <a:cubicBezTo>
                  <a:pt x="101" y="41"/>
                  <a:pt x="101" y="41"/>
                  <a:pt x="101" y="41"/>
                </a:cubicBezTo>
                <a:cubicBezTo>
                  <a:pt x="103" y="49"/>
                  <a:pt x="103" y="49"/>
                  <a:pt x="103" y="49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7" y="54"/>
                  <a:pt x="107" y="54"/>
                  <a:pt x="107" y="54"/>
                </a:cubicBezTo>
                <a:cubicBezTo>
                  <a:pt x="111" y="58"/>
                  <a:pt x="111" y="58"/>
                  <a:pt x="111" y="58"/>
                </a:cubicBezTo>
                <a:cubicBezTo>
                  <a:pt x="111" y="63"/>
                  <a:pt x="111" y="63"/>
                  <a:pt x="111" y="63"/>
                </a:cubicBezTo>
                <a:cubicBezTo>
                  <a:pt x="109" y="67"/>
                  <a:pt x="109" y="67"/>
                  <a:pt x="109" y="67"/>
                </a:cubicBezTo>
                <a:cubicBezTo>
                  <a:pt x="106" y="71"/>
                  <a:pt x="106" y="71"/>
                  <a:pt x="106" y="71"/>
                </a:cubicBezTo>
                <a:cubicBezTo>
                  <a:pt x="105" y="77"/>
                  <a:pt x="105" y="77"/>
                  <a:pt x="105" y="77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101" y="85"/>
                  <a:pt x="101" y="85"/>
                  <a:pt x="101" y="85"/>
                </a:cubicBezTo>
                <a:cubicBezTo>
                  <a:pt x="98" y="88"/>
                  <a:pt x="98" y="88"/>
                  <a:pt x="98" y="88"/>
                </a:cubicBezTo>
                <a:cubicBezTo>
                  <a:pt x="95" y="91"/>
                  <a:pt x="95" y="91"/>
                  <a:pt x="95" y="91"/>
                </a:cubicBezTo>
                <a:cubicBezTo>
                  <a:pt x="90" y="94"/>
                  <a:pt x="90" y="94"/>
                  <a:pt x="90" y="94"/>
                </a:cubicBezTo>
                <a:cubicBezTo>
                  <a:pt x="86" y="100"/>
                  <a:pt x="86" y="100"/>
                  <a:pt x="86" y="100"/>
                </a:cubicBezTo>
                <a:cubicBezTo>
                  <a:pt x="83" y="105"/>
                  <a:pt x="83" y="105"/>
                  <a:pt x="83" y="105"/>
                </a:cubicBezTo>
                <a:cubicBezTo>
                  <a:pt x="79" y="106"/>
                  <a:pt x="79" y="106"/>
                  <a:pt x="79" y="106"/>
                </a:cubicBezTo>
                <a:cubicBezTo>
                  <a:pt x="77" y="103"/>
                  <a:pt x="77" y="103"/>
                  <a:pt x="77" y="103"/>
                </a:cubicBezTo>
                <a:cubicBezTo>
                  <a:pt x="75" y="108"/>
                  <a:pt x="75" y="108"/>
                  <a:pt x="75" y="108"/>
                </a:cubicBezTo>
                <a:cubicBezTo>
                  <a:pt x="72" y="111"/>
                  <a:pt x="72" y="111"/>
                  <a:pt x="72" y="111"/>
                </a:cubicBezTo>
                <a:cubicBezTo>
                  <a:pt x="70" y="116"/>
                  <a:pt x="70" y="116"/>
                  <a:pt x="70" y="116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3" y="120"/>
                  <a:pt x="73" y="120"/>
                  <a:pt x="73" y="120"/>
                </a:cubicBezTo>
                <a:cubicBezTo>
                  <a:pt x="72" y="123"/>
                  <a:pt x="72" y="123"/>
                  <a:pt x="72" y="123"/>
                </a:cubicBezTo>
                <a:cubicBezTo>
                  <a:pt x="72" y="127"/>
                  <a:pt x="72" y="127"/>
                  <a:pt x="72" y="127"/>
                </a:cubicBezTo>
                <a:cubicBezTo>
                  <a:pt x="76" y="128"/>
                  <a:pt x="76" y="128"/>
                  <a:pt x="76" y="128"/>
                </a:cubicBezTo>
                <a:cubicBezTo>
                  <a:pt x="77" y="132"/>
                  <a:pt x="77" y="132"/>
                  <a:pt x="77" y="132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5" y="142"/>
                  <a:pt x="75" y="142"/>
                  <a:pt x="75" y="142"/>
                </a:cubicBezTo>
                <a:cubicBezTo>
                  <a:pt x="70" y="142"/>
                  <a:pt x="70" y="142"/>
                  <a:pt x="70" y="142"/>
                </a:cubicBezTo>
                <a:cubicBezTo>
                  <a:pt x="67" y="142"/>
                  <a:pt x="67" y="142"/>
                  <a:pt x="67" y="142"/>
                </a:cubicBezTo>
                <a:cubicBezTo>
                  <a:pt x="63" y="144"/>
                  <a:pt x="63" y="144"/>
                  <a:pt x="63" y="144"/>
                </a:cubicBezTo>
                <a:cubicBezTo>
                  <a:pt x="62" y="148"/>
                  <a:pt x="62" y="148"/>
                  <a:pt x="62" y="148"/>
                </a:cubicBezTo>
                <a:cubicBezTo>
                  <a:pt x="58" y="148"/>
                  <a:pt x="58" y="148"/>
                  <a:pt x="58" y="148"/>
                </a:cubicBezTo>
                <a:cubicBezTo>
                  <a:pt x="58" y="146"/>
                  <a:pt x="58" y="146"/>
                  <a:pt x="58" y="146"/>
                </a:cubicBezTo>
                <a:cubicBezTo>
                  <a:pt x="58" y="146"/>
                  <a:pt x="58" y="145"/>
                  <a:pt x="57" y="145"/>
                </a:cubicBezTo>
                <a:cubicBezTo>
                  <a:pt x="56" y="145"/>
                  <a:pt x="54" y="146"/>
                  <a:pt x="54" y="146"/>
                </a:cubicBezTo>
                <a:cubicBezTo>
                  <a:pt x="54" y="146"/>
                  <a:pt x="54" y="144"/>
                  <a:pt x="53" y="143"/>
                </a:cubicBezTo>
                <a:cubicBezTo>
                  <a:pt x="53" y="142"/>
                  <a:pt x="53" y="141"/>
                  <a:pt x="51" y="139"/>
                </a:cubicBezTo>
                <a:cubicBezTo>
                  <a:pt x="51" y="139"/>
                  <a:pt x="48" y="138"/>
                  <a:pt x="45" y="137"/>
                </a:cubicBezTo>
                <a:cubicBezTo>
                  <a:pt x="46" y="136"/>
                  <a:pt x="46" y="132"/>
                  <a:pt x="45" y="131"/>
                </a:cubicBezTo>
                <a:cubicBezTo>
                  <a:pt x="44" y="131"/>
                  <a:pt x="44" y="131"/>
                  <a:pt x="44" y="131"/>
                </a:cubicBezTo>
                <a:cubicBezTo>
                  <a:pt x="43" y="130"/>
                  <a:pt x="44" y="129"/>
                  <a:pt x="44" y="128"/>
                </a:cubicBezTo>
                <a:cubicBezTo>
                  <a:pt x="41" y="128"/>
                  <a:pt x="39" y="129"/>
                  <a:pt x="38" y="129"/>
                </a:cubicBezTo>
                <a:cubicBezTo>
                  <a:pt x="35" y="129"/>
                  <a:pt x="36" y="128"/>
                  <a:pt x="34" y="128"/>
                </a:cubicBezTo>
                <a:cubicBezTo>
                  <a:pt x="32" y="129"/>
                  <a:pt x="30" y="131"/>
                  <a:pt x="29" y="131"/>
                </a:cubicBezTo>
                <a:cubicBezTo>
                  <a:pt x="25" y="132"/>
                  <a:pt x="21" y="131"/>
                  <a:pt x="18" y="131"/>
                </a:cubicBezTo>
                <a:cubicBezTo>
                  <a:pt x="17" y="133"/>
                  <a:pt x="17" y="133"/>
                  <a:pt x="17" y="133"/>
                </a:cubicBezTo>
                <a:cubicBezTo>
                  <a:pt x="14" y="133"/>
                  <a:pt x="11" y="131"/>
                  <a:pt x="9" y="131"/>
                </a:cubicBezTo>
                <a:cubicBezTo>
                  <a:pt x="8" y="133"/>
                  <a:pt x="8" y="133"/>
                  <a:pt x="8" y="133"/>
                </a:cubicBezTo>
                <a:cubicBezTo>
                  <a:pt x="6" y="133"/>
                  <a:pt x="6" y="132"/>
                  <a:pt x="4" y="132"/>
                </a:cubicBezTo>
                <a:cubicBezTo>
                  <a:pt x="4" y="132"/>
                  <a:pt x="4" y="134"/>
                  <a:pt x="4" y="134"/>
                </a:cubicBezTo>
                <a:cubicBezTo>
                  <a:pt x="2" y="134"/>
                  <a:pt x="1" y="134"/>
                  <a:pt x="0" y="134"/>
                </a:cubicBezTo>
                <a:cubicBezTo>
                  <a:pt x="1" y="124"/>
                  <a:pt x="1" y="124"/>
                  <a:pt x="1" y="124"/>
                </a:cubicBezTo>
                <a:cubicBezTo>
                  <a:pt x="7" y="116"/>
                  <a:pt x="7" y="116"/>
                  <a:pt x="7" y="116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17" y="113"/>
                  <a:pt x="17" y="113"/>
                  <a:pt x="17" y="113"/>
                </a:cubicBezTo>
                <a:cubicBezTo>
                  <a:pt x="21" y="110"/>
                  <a:pt x="21" y="110"/>
                  <a:pt x="21" y="110"/>
                </a:cubicBezTo>
                <a:cubicBezTo>
                  <a:pt x="21" y="107"/>
                  <a:pt x="21" y="107"/>
                  <a:pt x="21" y="107"/>
                </a:cubicBezTo>
                <a:cubicBezTo>
                  <a:pt x="17" y="105"/>
                  <a:pt x="17" y="105"/>
                  <a:pt x="17" y="105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4" y="96"/>
                  <a:pt x="14" y="96"/>
                  <a:pt x="14" y="96"/>
                </a:cubicBezTo>
                <a:cubicBezTo>
                  <a:pt x="10" y="95"/>
                  <a:pt x="10" y="95"/>
                  <a:pt x="10" y="95"/>
                </a:cubicBezTo>
                <a:cubicBezTo>
                  <a:pt x="6" y="89"/>
                  <a:pt x="6" y="89"/>
                  <a:pt x="6" y="89"/>
                </a:cubicBezTo>
                <a:cubicBezTo>
                  <a:pt x="5" y="86"/>
                  <a:pt x="5" y="86"/>
                  <a:pt x="5" y="86"/>
                </a:cubicBezTo>
                <a:cubicBezTo>
                  <a:pt x="6" y="84"/>
                  <a:pt x="6" y="84"/>
                  <a:pt x="6" y="84"/>
                </a:cubicBezTo>
                <a:cubicBezTo>
                  <a:pt x="2" y="75"/>
                  <a:pt x="2" y="75"/>
                  <a:pt x="2" y="75"/>
                </a:cubicBezTo>
                <a:cubicBezTo>
                  <a:pt x="11" y="80"/>
                  <a:pt x="11" y="80"/>
                  <a:pt x="11" y="80"/>
                </a:cubicBezTo>
                <a:cubicBezTo>
                  <a:pt x="15" y="79"/>
                  <a:pt x="15" y="79"/>
                  <a:pt x="15" y="79"/>
                </a:cubicBezTo>
                <a:cubicBezTo>
                  <a:pt x="18" y="79"/>
                  <a:pt x="18" y="79"/>
                  <a:pt x="18" y="79"/>
                </a:cubicBezTo>
                <a:cubicBezTo>
                  <a:pt x="26" y="79"/>
                  <a:pt x="26" y="79"/>
                  <a:pt x="26" y="79"/>
                </a:cubicBezTo>
                <a:cubicBezTo>
                  <a:pt x="30" y="80"/>
                  <a:pt x="30" y="80"/>
                  <a:pt x="30" y="80"/>
                </a:cubicBezTo>
                <a:cubicBezTo>
                  <a:pt x="31" y="76"/>
                  <a:pt x="31" y="76"/>
                  <a:pt x="31" y="76"/>
                </a:cubicBezTo>
                <a:cubicBezTo>
                  <a:pt x="36" y="75"/>
                  <a:pt x="36" y="75"/>
                  <a:pt x="36" y="75"/>
                </a:cubicBezTo>
                <a:cubicBezTo>
                  <a:pt x="37" y="72"/>
                  <a:pt x="37" y="72"/>
                  <a:pt x="37" y="72"/>
                </a:cubicBezTo>
                <a:cubicBezTo>
                  <a:pt x="38" y="68"/>
                  <a:pt x="38" y="68"/>
                  <a:pt x="38" y="68"/>
                </a:cubicBezTo>
                <a:cubicBezTo>
                  <a:pt x="42" y="65"/>
                  <a:pt x="42" y="65"/>
                  <a:pt x="42" y="65"/>
                </a:cubicBezTo>
                <a:cubicBezTo>
                  <a:pt x="48" y="58"/>
                  <a:pt x="48" y="58"/>
                  <a:pt x="48" y="58"/>
                </a:cubicBezTo>
                <a:cubicBezTo>
                  <a:pt x="50" y="59"/>
                  <a:pt x="50" y="59"/>
                  <a:pt x="50" y="59"/>
                </a:cubicBezTo>
                <a:cubicBezTo>
                  <a:pt x="53" y="58"/>
                  <a:pt x="53" y="58"/>
                  <a:pt x="53" y="58"/>
                </a:cubicBezTo>
                <a:cubicBezTo>
                  <a:pt x="54" y="55"/>
                  <a:pt x="54" y="55"/>
                  <a:pt x="54" y="55"/>
                </a:cubicBezTo>
                <a:cubicBezTo>
                  <a:pt x="51" y="52"/>
                  <a:pt x="51" y="52"/>
                  <a:pt x="51" y="52"/>
                </a:cubicBezTo>
                <a:cubicBezTo>
                  <a:pt x="55" y="49"/>
                  <a:pt x="55" y="49"/>
                  <a:pt x="55" y="49"/>
                </a:cubicBezTo>
                <a:cubicBezTo>
                  <a:pt x="58" y="46"/>
                  <a:pt x="58" y="46"/>
                  <a:pt x="58" y="46"/>
                </a:cubicBezTo>
                <a:cubicBezTo>
                  <a:pt x="59" y="48"/>
                  <a:pt x="59" y="48"/>
                  <a:pt x="59" y="48"/>
                </a:cubicBezTo>
                <a:cubicBezTo>
                  <a:pt x="63" y="49"/>
                  <a:pt x="63" y="49"/>
                  <a:pt x="63" y="49"/>
                </a:cubicBezTo>
                <a:cubicBezTo>
                  <a:pt x="66" y="49"/>
                  <a:pt x="66" y="49"/>
                  <a:pt x="66" y="49"/>
                </a:cubicBezTo>
                <a:cubicBezTo>
                  <a:pt x="67" y="45"/>
                  <a:pt x="67" y="45"/>
                  <a:pt x="67" y="45"/>
                </a:cubicBezTo>
                <a:cubicBezTo>
                  <a:pt x="67" y="42"/>
                  <a:pt x="67" y="42"/>
                  <a:pt x="67" y="42"/>
                </a:cubicBezTo>
                <a:cubicBezTo>
                  <a:pt x="71" y="38"/>
                  <a:pt x="71" y="38"/>
                  <a:pt x="71" y="38"/>
                </a:cubicBezTo>
                <a:cubicBezTo>
                  <a:pt x="71" y="34"/>
                  <a:pt x="71" y="34"/>
                  <a:pt x="71" y="34"/>
                </a:cubicBezTo>
                <a:cubicBezTo>
                  <a:pt x="68" y="30"/>
                  <a:pt x="68" y="30"/>
                  <a:pt x="68" y="30"/>
                </a:cubicBezTo>
                <a:cubicBezTo>
                  <a:pt x="70" y="27"/>
                  <a:pt x="70" y="27"/>
                  <a:pt x="70" y="27"/>
                </a:cubicBezTo>
                <a:cubicBezTo>
                  <a:pt x="73" y="28"/>
                  <a:pt x="73" y="28"/>
                  <a:pt x="73" y="28"/>
                </a:cubicBezTo>
                <a:cubicBezTo>
                  <a:pt x="78" y="27"/>
                  <a:pt x="78" y="27"/>
                  <a:pt x="78" y="27"/>
                </a:cubicBezTo>
                <a:cubicBezTo>
                  <a:pt x="79" y="21"/>
                  <a:pt x="79" y="21"/>
                  <a:pt x="79" y="21"/>
                </a:cubicBezTo>
                <a:cubicBezTo>
                  <a:pt x="77" y="18"/>
                  <a:pt x="77" y="18"/>
                  <a:pt x="77" y="18"/>
                </a:cubicBezTo>
                <a:cubicBezTo>
                  <a:pt x="80" y="16"/>
                  <a:pt x="80" y="16"/>
                  <a:pt x="80" y="16"/>
                </a:cubicBezTo>
                <a:cubicBezTo>
                  <a:pt x="80" y="11"/>
                  <a:pt x="80" y="11"/>
                  <a:pt x="80" y="11"/>
                </a:cubicBezTo>
                <a:cubicBezTo>
                  <a:pt x="90" y="5"/>
                  <a:pt x="90" y="5"/>
                  <a:pt x="90" y="5"/>
                </a:cubicBezTo>
                <a:cubicBezTo>
                  <a:pt x="95" y="4"/>
                  <a:pt x="95" y="4"/>
                  <a:pt x="95" y="4"/>
                </a:cubicBezTo>
                <a:cubicBezTo>
                  <a:pt x="101" y="2"/>
                  <a:pt x="101" y="2"/>
                  <a:pt x="101" y="2"/>
                </a:cubicBezTo>
                <a:cubicBezTo>
                  <a:pt x="106" y="2"/>
                  <a:pt x="106" y="2"/>
                  <a:pt x="106" y="2"/>
                </a:cubicBezTo>
                <a:cubicBezTo>
                  <a:pt x="109" y="2"/>
                  <a:pt x="109" y="2"/>
                  <a:pt x="109" y="2"/>
                </a:cubicBezTo>
                <a:cubicBezTo>
                  <a:pt x="111" y="0"/>
                  <a:pt x="111" y="0"/>
                  <a:pt x="111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27" y="6"/>
                  <a:pt x="127" y="6"/>
                  <a:pt x="127" y="6"/>
                </a:cubicBezTo>
                <a:cubicBezTo>
                  <a:pt x="129" y="9"/>
                  <a:pt x="129" y="9"/>
                  <a:pt x="129" y="9"/>
                </a:cubicBezTo>
                <a:lnTo>
                  <a:pt x="132" y="12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3" name="Google Shape;483;p102"/>
          <p:cNvSpPr/>
          <p:nvPr/>
        </p:nvSpPr>
        <p:spPr>
          <a:xfrm>
            <a:off x="6362286" y="1816756"/>
            <a:ext cx="670461" cy="1020020"/>
          </a:xfrm>
          <a:custGeom>
            <a:avLst/>
            <a:gdLst/>
            <a:ahLst/>
            <a:cxnLst/>
            <a:rect l="l" t="t" r="r" b="b"/>
            <a:pathLst>
              <a:path w="233" h="368" extrusionOk="0">
                <a:moveTo>
                  <a:pt x="156" y="4"/>
                </a:moveTo>
                <a:cubicBezTo>
                  <a:pt x="156" y="5"/>
                  <a:pt x="156" y="6"/>
                  <a:pt x="156" y="6"/>
                </a:cubicBezTo>
                <a:cubicBezTo>
                  <a:pt x="159" y="7"/>
                  <a:pt x="158" y="5"/>
                  <a:pt x="156" y="4"/>
                </a:cubicBezTo>
                <a:close/>
                <a:moveTo>
                  <a:pt x="101" y="10"/>
                </a:moveTo>
                <a:cubicBezTo>
                  <a:pt x="101" y="11"/>
                  <a:pt x="101" y="12"/>
                  <a:pt x="100" y="13"/>
                </a:cubicBezTo>
                <a:cubicBezTo>
                  <a:pt x="100" y="14"/>
                  <a:pt x="99" y="14"/>
                  <a:pt x="98" y="14"/>
                </a:cubicBezTo>
                <a:cubicBezTo>
                  <a:pt x="97" y="15"/>
                  <a:pt x="98" y="16"/>
                  <a:pt x="97" y="16"/>
                </a:cubicBezTo>
                <a:cubicBezTo>
                  <a:pt x="97" y="17"/>
                  <a:pt x="94" y="18"/>
                  <a:pt x="93" y="18"/>
                </a:cubicBezTo>
                <a:cubicBezTo>
                  <a:pt x="94" y="21"/>
                  <a:pt x="93" y="24"/>
                  <a:pt x="94" y="27"/>
                </a:cubicBezTo>
                <a:cubicBezTo>
                  <a:pt x="94" y="28"/>
                  <a:pt x="96" y="29"/>
                  <a:pt x="96" y="29"/>
                </a:cubicBezTo>
                <a:cubicBezTo>
                  <a:pt x="97" y="31"/>
                  <a:pt x="97" y="33"/>
                  <a:pt x="97" y="35"/>
                </a:cubicBezTo>
                <a:cubicBezTo>
                  <a:pt x="97" y="34"/>
                  <a:pt x="96" y="34"/>
                  <a:pt x="95" y="33"/>
                </a:cubicBezTo>
                <a:cubicBezTo>
                  <a:pt x="94" y="31"/>
                  <a:pt x="94" y="30"/>
                  <a:pt x="93" y="28"/>
                </a:cubicBezTo>
                <a:cubicBezTo>
                  <a:pt x="93" y="27"/>
                  <a:pt x="91" y="27"/>
                  <a:pt x="90" y="26"/>
                </a:cubicBezTo>
                <a:cubicBezTo>
                  <a:pt x="89" y="23"/>
                  <a:pt x="88" y="20"/>
                  <a:pt x="87" y="17"/>
                </a:cubicBezTo>
                <a:cubicBezTo>
                  <a:pt x="85" y="17"/>
                  <a:pt x="83" y="18"/>
                  <a:pt x="82" y="18"/>
                </a:cubicBezTo>
                <a:cubicBezTo>
                  <a:pt x="81" y="21"/>
                  <a:pt x="81" y="22"/>
                  <a:pt x="81" y="25"/>
                </a:cubicBezTo>
                <a:cubicBezTo>
                  <a:pt x="79" y="25"/>
                  <a:pt x="79" y="25"/>
                  <a:pt x="79" y="25"/>
                </a:cubicBezTo>
                <a:cubicBezTo>
                  <a:pt x="79" y="24"/>
                  <a:pt x="79" y="23"/>
                  <a:pt x="79" y="23"/>
                </a:cubicBezTo>
                <a:cubicBezTo>
                  <a:pt x="78" y="23"/>
                  <a:pt x="77" y="23"/>
                  <a:pt x="77" y="23"/>
                </a:cubicBezTo>
                <a:cubicBezTo>
                  <a:pt x="76" y="23"/>
                  <a:pt x="76" y="21"/>
                  <a:pt x="76" y="20"/>
                </a:cubicBezTo>
                <a:cubicBezTo>
                  <a:pt x="75" y="20"/>
                  <a:pt x="73" y="20"/>
                  <a:pt x="73" y="20"/>
                </a:cubicBezTo>
                <a:cubicBezTo>
                  <a:pt x="75" y="19"/>
                  <a:pt x="77" y="19"/>
                  <a:pt x="79" y="18"/>
                </a:cubicBezTo>
                <a:cubicBezTo>
                  <a:pt x="79" y="18"/>
                  <a:pt x="79" y="16"/>
                  <a:pt x="79" y="16"/>
                </a:cubicBezTo>
                <a:cubicBezTo>
                  <a:pt x="76" y="15"/>
                  <a:pt x="76" y="15"/>
                  <a:pt x="76" y="15"/>
                </a:cubicBezTo>
                <a:cubicBezTo>
                  <a:pt x="75" y="15"/>
                  <a:pt x="74" y="16"/>
                  <a:pt x="73" y="16"/>
                </a:cubicBezTo>
                <a:cubicBezTo>
                  <a:pt x="72" y="16"/>
                  <a:pt x="71" y="14"/>
                  <a:pt x="69" y="15"/>
                </a:cubicBezTo>
                <a:cubicBezTo>
                  <a:pt x="69" y="16"/>
                  <a:pt x="69" y="16"/>
                  <a:pt x="69" y="16"/>
                </a:cubicBezTo>
                <a:cubicBezTo>
                  <a:pt x="68" y="17"/>
                  <a:pt x="68" y="17"/>
                  <a:pt x="67" y="17"/>
                </a:cubicBezTo>
                <a:cubicBezTo>
                  <a:pt x="67" y="18"/>
                  <a:pt x="67" y="18"/>
                  <a:pt x="67" y="18"/>
                </a:cubicBezTo>
                <a:cubicBezTo>
                  <a:pt x="66" y="18"/>
                  <a:pt x="65" y="17"/>
                  <a:pt x="64" y="16"/>
                </a:cubicBezTo>
                <a:cubicBezTo>
                  <a:pt x="63" y="19"/>
                  <a:pt x="63" y="21"/>
                  <a:pt x="63" y="24"/>
                </a:cubicBezTo>
                <a:cubicBezTo>
                  <a:pt x="65" y="23"/>
                  <a:pt x="64" y="23"/>
                  <a:pt x="65" y="22"/>
                </a:cubicBezTo>
                <a:cubicBezTo>
                  <a:pt x="66" y="22"/>
                  <a:pt x="66" y="22"/>
                  <a:pt x="66" y="22"/>
                </a:cubicBezTo>
                <a:cubicBezTo>
                  <a:pt x="66" y="24"/>
                  <a:pt x="66" y="25"/>
                  <a:pt x="66" y="26"/>
                </a:cubicBezTo>
                <a:cubicBezTo>
                  <a:pt x="66" y="27"/>
                  <a:pt x="67" y="27"/>
                  <a:pt x="67" y="28"/>
                </a:cubicBezTo>
                <a:cubicBezTo>
                  <a:pt x="66" y="29"/>
                  <a:pt x="66" y="28"/>
                  <a:pt x="65" y="28"/>
                </a:cubicBezTo>
                <a:cubicBezTo>
                  <a:pt x="64" y="30"/>
                  <a:pt x="64" y="31"/>
                  <a:pt x="64" y="32"/>
                </a:cubicBezTo>
                <a:cubicBezTo>
                  <a:pt x="64" y="32"/>
                  <a:pt x="69" y="34"/>
                  <a:pt x="69" y="34"/>
                </a:cubicBezTo>
                <a:cubicBezTo>
                  <a:pt x="70" y="36"/>
                  <a:pt x="68" y="36"/>
                  <a:pt x="69" y="37"/>
                </a:cubicBezTo>
                <a:cubicBezTo>
                  <a:pt x="70" y="38"/>
                  <a:pt x="70" y="38"/>
                  <a:pt x="70" y="38"/>
                </a:cubicBezTo>
                <a:cubicBezTo>
                  <a:pt x="71" y="43"/>
                  <a:pt x="67" y="43"/>
                  <a:pt x="73" y="44"/>
                </a:cubicBezTo>
                <a:cubicBezTo>
                  <a:pt x="74" y="44"/>
                  <a:pt x="75" y="45"/>
                  <a:pt x="76" y="44"/>
                </a:cubicBezTo>
                <a:cubicBezTo>
                  <a:pt x="77" y="44"/>
                  <a:pt x="77" y="43"/>
                  <a:pt x="78" y="42"/>
                </a:cubicBezTo>
                <a:cubicBezTo>
                  <a:pt x="78" y="41"/>
                  <a:pt x="78" y="41"/>
                  <a:pt x="78" y="41"/>
                </a:cubicBezTo>
                <a:cubicBezTo>
                  <a:pt x="80" y="41"/>
                  <a:pt x="82" y="41"/>
                  <a:pt x="84" y="41"/>
                </a:cubicBezTo>
                <a:cubicBezTo>
                  <a:pt x="84" y="40"/>
                  <a:pt x="84" y="38"/>
                  <a:pt x="84" y="37"/>
                </a:cubicBezTo>
                <a:cubicBezTo>
                  <a:pt x="85" y="37"/>
                  <a:pt x="85" y="36"/>
                  <a:pt x="86" y="36"/>
                </a:cubicBezTo>
                <a:cubicBezTo>
                  <a:pt x="86" y="37"/>
                  <a:pt x="85" y="38"/>
                  <a:pt x="87" y="38"/>
                </a:cubicBezTo>
                <a:cubicBezTo>
                  <a:pt x="87" y="38"/>
                  <a:pt x="88" y="36"/>
                  <a:pt x="88" y="36"/>
                </a:cubicBezTo>
                <a:cubicBezTo>
                  <a:pt x="90" y="36"/>
                  <a:pt x="90" y="36"/>
                  <a:pt x="90" y="36"/>
                </a:cubicBezTo>
                <a:cubicBezTo>
                  <a:pt x="90" y="38"/>
                  <a:pt x="90" y="40"/>
                  <a:pt x="90" y="42"/>
                </a:cubicBezTo>
                <a:cubicBezTo>
                  <a:pt x="92" y="41"/>
                  <a:pt x="96" y="41"/>
                  <a:pt x="97" y="41"/>
                </a:cubicBezTo>
                <a:cubicBezTo>
                  <a:pt x="98" y="41"/>
                  <a:pt x="98" y="45"/>
                  <a:pt x="100" y="45"/>
                </a:cubicBezTo>
                <a:cubicBezTo>
                  <a:pt x="102" y="45"/>
                  <a:pt x="105" y="45"/>
                  <a:pt x="107" y="44"/>
                </a:cubicBezTo>
                <a:cubicBezTo>
                  <a:pt x="107" y="45"/>
                  <a:pt x="106" y="47"/>
                  <a:pt x="105" y="47"/>
                </a:cubicBezTo>
                <a:cubicBezTo>
                  <a:pt x="103" y="48"/>
                  <a:pt x="95" y="48"/>
                  <a:pt x="94" y="48"/>
                </a:cubicBezTo>
                <a:cubicBezTo>
                  <a:pt x="93" y="48"/>
                  <a:pt x="91" y="46"/>
                  <a:pt x="90" y="46"/>
                </a:cubicBezTo>
                <a:cubicBezTo>
                  <a:pt x="89" y="46"/>
                  <a:pt x="87" y="49"/>
                  <a:pt x="86" y="50"/>
                </a:cubicBezTo>
                <a:cubicBezTo>
                  <a:pt x="85" y="50"/>
                  <a:pt x="85" y="49"/>
                  <a:pt x="84" y="50"/>
                </a:cubicBezTo>
                <a:cubicBezTo>
                  <a:pt x="83" y="49"/>
                  <a:pt x="82" y="48"/>
                  <a:pt x="81" y="47"/>
                </a:cubicBezTo>
                <a:cubicBezTo>
                  <a:pt x="81" y="47"/>
                  <a:pt x="80" y="47"/>
                  <a:pt x="79" y="47"/>
                </a:cubicBezTo>
                <a:cubicBezTo>
                  <a:pt x="79" y="47"/>
                  <a:pt x="79" y="49"/>
                  <a:pt x="79" y="49"/>
                </a:cubicBezTo>
                <a:cubicBezTo>
                  <a:pt x="79" y="49"/>
                  <a:pt x="78" y="49"/>
                  <a:pt x="79" y="48"/>
                </a:cubicBezTo>
                <a:cubicBezTo>
                  <a:pt x="77" y="48"/>
                  <a:pt x="77" y="48"/>
                  <a:pt x="76" y="48"/>
                </a:cubicBezTo>
                <a:cubicBezTo>
                  <a:pt x="76" y="49"/>
                  <a:pt x="75" y="52"/>
                  <a:pt x="76" y="54"/>
                </a:cubicBezTo>
                <a:cubicBezTo>
                  <a:pt x="77" y="60"/>
                  <a:pt x="79" y="54"/>
                  <a:pt x="80" y="54"/>
                </a:cubicBezTo>
                <a:cubicBezTo>
                  <a:pt x="80" y="54"/>
                  <a:pt x="82" y="55"/>
                  <a:pt x="82" y="55"/>
                </a:cubicBezTo>
                <a:cubicBezTo>
                  <a:pt x="83" y="55"/>
                  <a:pt x="87" y="55"/>
                  <a:pt x="89" y="54"/>
                </a:cubicBezTo>
                <a:cubicBezTo>
                  <a:pt x="89" y="54"/>
                  <a:pt x="96" y="54"/>
                  <a:pt x="94" y="54"/>
                </a:cubicBezTo>
                <a:cubicBezTo>
                  <a:pt x="92" y="55"/>
                  <a:pt x="89" y="56"/>
                  <a:pt x="88" y="56"/>
                </a:cubicBezTo>
                <a:cubicBezTo>
                  <a:pt x="88" y="57"/>
                  <a:pt x="87" y="57"/>
                  <a:pt x="87" y="58"/>
                </a:cubicBezTo>
                <a:cubicBezTo>
                  <a:pt x="87" y="60"/>
                  <a:pt x="90" y="61"/>
                  <a:pt x="90" y="62"/>
                </a:cubicBezTo>
                <a:cubicBezTo>
                  <a:pt x="84" y="61"/>
                  <a:pt x="83" y="63"/>
                  <a:pt x="79" y="60"/>
                </a:cubicBezTo>
                <a:cubicBezTo>
                  <a:pt x="78" y="61"/>
                  <a:pt x="78" y="62"/>
                  <a:pt x="78" y="64"/>
                </a:cubicBezTo>
                <a:cubicBezTo>
                  <a:pt x="79" y="65"/>
                  <a:pt x="79" y="65"/>
                  <a:pt x="79" y="65"/>
                </a:cubicBezTo>
                <a:cubicBezTo>
                  <a:pt x="79" y="66"/>
                  <a:pt x="79" y="67"/>
                  <a:pt x="79" y="68"/>
                </a:cubicBezTo>
                <a:cubicBezTo>
                  <a:pt x="81" y="68"/>
                  <a:pt x="87" y="68"/>
                  <a:pt x="88" y="69"/>
                </a:cubicBezTo>
                <a:cubicBezTo>
                  <a:pt x="89" y="69"/>
                  <a:pt x="89" y="71"/>
                  <a:pt x="89" y="72"/>
                </a:cubicBezTo>
                <a:cubicBezTo>
                  <a:pt x="90" y="72"/>
                  <a:pt x="91" y="71"/>
                  <a:pt x="91" y="72"/>
                </a:cubicBezTo>
                <a:cubicBezTo>
                  <a:pt x="91" y="72"/>
                  <a:pt x="92" y="73"/>
                  <a:pt x="92" y="73"/>
                </a:cubicBezTo>
                <a:cubicBezTo>
                  <a:pt x="94" y="73"/>
                  <a:pt x="95" y="72"/>
                  <a:pt x="96" y="72"/>
                </a:cubicBezTo>
                <a:cubicBezTo>
                  <a:pt x="98" y="76"/>
                  <a:pt x="99" y="77"/>
                  <a:pt x="100" y="80"/>
                </a:cubicBezTo>
                <a:cubicBezTo>
                  <a:pt x="101" y="80"/>
                  <a:pt x="101" y="80"/>
                  <a:pt x="101" y="80"/>
                </a:cubicBezTo>
                <a:cubicBezTo>
                  <a:pt x="102" y="78"/>
                  <a:pt x="103" y="78"/>
                  <a:pt x="105" y="78"/>
                </a:cubicBezTo>
                <a:cubicBezTo>
                  <a:pt x="104" y="76"/>
                  <a:pt x="104" y="74"/>
                  <a:pt x="104" y="73"/>
                </a:cubicBezTo>
                <a:cubicBezTo>
                  <a:pt x="104" y="73"/>
                  <a:pt x="105" y="71"/>
                  <a:pt x="106" y="71"/>
                </a:cubicBezTo>
                <a:cubicBezTo>
                  <a:pt x="107" y="71"/>
                  <a:pt x="109" y="72"/>
                  <a:pt x="111" y="72"/>
                </a:cubicBezTo>
                <a:cubicBezTo>
                  <a:pt x="111" y="72"/>
                  <a:pt x="113" y="69"/>
                  <a:pt x="114" y="69"/>
                </a:cubicBezTo>
                <a:cubicBezTo>
                  <a:pt x="114" y="69"/>
                  <a:pt x="114" y="68"/>
                  <a:pt x="114" y="68"/>
                </a:cubicBezTo>
                <a:cubicBezTo>
                  <a:pt x="115" y="67"/>
                  <a:pt x="116" y="67"/>
                  <a:pt x="116" y="65"/>
                </a:cubicBezTo>
                <a:cubicBezTo>
                  <a:pt x="116" y="64"/>
                  <a:pt x="116" y="64"/>
                  <a:pt x="116" y="64"/>
                </a:cubicBezTo>
                <a:cubicBezTo>
                  <a:pt x="117" y="64"/>
                  <a:pt x="119" y="64"/>
                  <a:pt x="120" y="64"/>
                </a:cubicBezTo>
                <a:cubicBezTo>
                  <a:pt x="120" y="64"/>
                  <a:pt x="120" y="63"/>
                  <a:pt x="120" y="63"/>
                </a:cubicBezTo>
                <a:cubicBezTo>
                  <a:pt x="121" y="63"/>
                  <a:pt x="121" y="63"/>
                  <a:pt x="121" y="63"/>
                </a:cubicBezTo>
                <a:cubicBezTo>
                  <a:pt x="122" y="57"/>
                  <a:pt x="120" y="59"/>
                  <a:pt x="125" y="56"/>
                </a:cubicBezTo>
                <a:cubicBezTo>
                  <a:pt x="122" y="46"/>
                  <a:pt x="125" y="43"/>
                  <a:pt x="137" y="42"/>
                </a:cubicBezTo>
                <a:cubicBezTo>
                  <a:pt x="136" y="42"/>
                  <a:pt x="137" y="40"/>
                  <a:pt x="136" y="39"/>
                </a:cubicBezTo>
                <a:cubicBezTo>
                  <a:pt x="133" y="37"/>
                  <a:pt x="129" y="38"/>
                  <a:pt x="126" y="37"/>
                </a:cubicBezTo>
                <a:cubicBezTo>
                  <a:pt x="126" y="37"/>
                  <a:pt x="124" y="35"/>
                  <a:pt x="124" y="34"/>
                </a:cubicBezTo>
                <a:cubicBezTo>
                  <a:pt x="122" y="34"/>
                  <a:pt x="122" y="34"/>
                  <a:pt x="122" y="34"/>
                </a:cubicBezTo>
                <a:cubicBezTo>
                  <a:pt x="122" y="33"/>
                  <a:pt x="123" y="32"/>
                  <a:pt x="123" y="32"/>
                </a:cubicBezTo>
                <a:cubicBezTo>
                  <a:pt x="123" y="31"/>
                  <a:pt x="122" y="28"/>
                  <a:pt x="121" y="27"/>
                </a:cubicBezTo>
                <a:cubicBezTo>
                  <a:pt x="120" y="27"/>
                  <a:pt x="120" y="26"/>
                  <a:pt x="120" y="26"/>
                </a:cubicBezTo>
                <a:cubicBezTo>
                  <a:pt x="119" y="26"/>
                  <a:pt x="119" y="27"/>
                  <a:pt x="118" y="26"/>
                </a:cubicBezTo>
                <a:cubicBezTo>
                  <a:pt x="118" y="28"/>
                  <a:pt x="118" y="27"/>
                  <a:pt x="117" y="28"/>
                </a:cubicBezTo>
                <a:cubicBezTo>
                  <a:pt x="117" y="28"/>
                  <a:pt x="117" y="22"/>
                  <a:pt x="117" y="21"/>
                </a:cubicBezTo>
                <a:cubicBezTo>
                  <a:pt x="113" y="19"/>
                  <a:pt x="112" y="18"/>
                  <a:pt x="110" y="14"/>
                </a:cubicBezTo>
                <a:cubicBezTo>
                  <a:pt x="108" y="15"/>
                  <a:pt x="107" y="15"/>
                  <a:pt x="104" y="16"/>
                </a:cubicBezTo>
                <a:cubicBezTo>
                  <a:pt x="104" y="15"/>
                  <a:pt x="104" y="14"/>
                  <a:pt x="103" y="14"/>
                </a:cubicBezTo>
                <a:cubicBezTo>
                  <a:pt x="103" y="13"/>
                  <a:pt x="103" y="12"/>
                  <a:pt x="103" y="11"/>
                </a:cubicBezTo>
                <a:cubicBezTo>
                  <a:pt x="103" y="11"/>
                  <a:pt x="101" y="11"/>
                  <a:pt x="101" y="10"/>
                </a:cubicBezTo>
                <a:close/>
                <a:moveTo>
                  <a:pt x="59" y="30"/>
                </a:moveTo>
                <a:cubicBezTo>
                  <a:pt x="60" y="32"/>
                  <a:pt x="59" y="34"/>
                  <a:pt x="60" y="36"/>
                </a:cubicBezTo>
                <a:cubicBezTo>
                  <a:pt x="60" y="37"/>
                  <a:pt x="62" y="38"/>
                  <a:pt x="63" y="39"/>
                </a:cubicBezTo>
                <a:cubicBezTo>
                  <a:pt x="63" y="39"/>
                  <a:pt x="62" y="41"/>
                  <a:pt x="63" y="41"/>
                </a:cubicBezTo>
                <a:cubicBezTo>
                  <a:pt x="64" y="42"/>
                  <a:pt x="65" y="41"/>
                  <a:pt x="66" y="42"/>
                </a:cubicBezTo>
                <a:cubicBezTo>
                  <a:pt x="65" y="41"/>
                  <a:pt x="66" y="40"/>
                  <a:pt x="65" y="40"/>
                </a:cubicBezTo>
                <a:cubicBezTo>
                  <a:pt x="64" y="39"/>
                  <a:pt x="63" y="37"/>
                  <a:pt x="63" y="35"/>
                </a:cubicBezTo>
                <a:cubicBezTo>
                  <a:pt x="62" y="35"/>
                  <a:pt x="61" y="34"/>
                  <a:pt x="61" y="34"/>
                </a:cubicBezTo>
                <a:cubicBezTo>
                  <a:pt x="60" y="32"/>
                  <a:pt x="61" y="31"/>
                  <a:pt x="61" y="30"/>
                </a:cubicBezTo>
                <a:lnTo>
                  <a:pt x="59" y="30"/>
                </a:lnTo>
                <a:close/>
                <a:moveTo>
                  <a:pt x="209" y="34"/>
                </a:moveTo>
                <a:cubicBezTo>
                  <a:pt x="208" y="34"/>
                  <a:pt x="208" y="36"/>
                  <a:pt x="207" y="37"/>
                </a:cubicBezTo>
                <a:cubicBezTo>
                  <a:pt x="212" y="37"/>
                  <a:pt x="215" y="37"/>
                  <a:pt x="219" y="38"/>
                </a:cubicBezTo>
                <a:cubicBezTo>
                  <a:pt x="219" y="38"/>
                  <a:pt x="220" y="36"/>
                  <a:pt x="220" y="36"/>
                </a:cubicBezTo>
                <a:cubicBezTo>
                  <a:pt x="219" y="35"/>
                  <a:pt x="218" y="36"/>
                  <a:pt x="217" y="36"/>
                </a:cubicBezTo>
                <a:cubicBezTo>
                  <a:pt x="215" y="35"/>
                  <a:pt x="214" y="32"/>
                  <a:pt x="209" y="34"/>
                </a:cubicBezTo>
                <a:close/>
                <a:moveTo>
                  <a:pt x="195" y="38"/>
                </a:moveTo>
                <a:cubicBezTo>
                  <a:pt x="195" y="39"/>
                  <a:pt x="194" y="40"/>
                  <a:pt x="194" y="40"/>
                </a:cubicBezTo>
                <a:cubicBezTo>
                  <a:pt x="195" y="41"/>
                  <a:pt x="195" y="42"/>
                  <a:pt x="196" y="42"/>
                </a:cubicBezTo>
                <a:cubicBezTo>
                  <a:pt x="196" y="42"/>
                  <a:pt x="199" y="43"/>
                  <a:pt x="198" y="42"/>
                </a:cubicBezTo>
                <a:cubicBezTo>
                  <a:pt x="196" y="41"/>
                  <a:pt x="197" y="40"/>
                  <a:pt x="196" y="38"/>
                </a:cubicBezTo>
                <a:lnTo>
                  <a:pt x="195" y="38"/>
                </a:lnTo>
                <a:close/>
                <a:moveTo>
                  <a:pt x="135" y="45"/>
                </a:moveTo>
                <a:cubicBezTo>
                  <a:pt x="135" y="45"/>
                  <a:pt x="133" y="47"/>
                  <a:pt x="133" y="47"/>
                </a:cubicBezTo>
                <a:cubicBezTo>
                  <a:pt x="132" y="47"/>
                  <a:pt x="130" y="48"/>
                  <a:pt x="130" y="48"/>
                </a:cubicBezTo>
                <a:cubicBezTo>
                  <a:pt x="132" y="48"/>
                  <a:pt x="132" y="48"/>
                  <a:pt x="132" y="48"/>
                </a:cubicBezTo>
                <a:cubicBezTo>
                  <a:pt x="135" y="50"/>
                  <a:pt x="135" y="50"/>
                  <a:pt x="136" y="54"/>
                </a:cubicBezTo>
                <a:cubicBezTo>
                  <a:pt x="139" y="54"/>
                  <a:pt x="142" y="54"/>
                  <a:pt x="146" y="54"/>
                </a:cubicBezTo>
                <a:cubicBezTo>
                  <a:pt x="146" y="53"/>
                  <a:pt x="147" y="51"/>
                  <a:pt x="147" y="50"/>
                </a:cubicBezTo>
                <a:cubicBezTo>
                  <a:pt x="148" y="50"/>
                  <a:pt x="148" y="50"/>
                  <a:pt x="148" y="50"/>
                </a:cubicBezTo>
                <a:cubicBezTo>
                  <a:pt x="149" y="49"/>
                  <a:pt x="148" y="48"/>
                  <a:pt x="148" y="48"/>
                </a:cubicBezTo>
                <a:cubicBezTo>
                  <a:pt x="146" y="45"/>
                  <a:pt x="140" y="44"/>
                  <a:pt x="135" y="45"/>
                </a:cubicBezTo>
                <a:close/>
                <a:moveTo>
                  <a:pt x="183" y="161"/>
                </a:moveTo>
                <a:cubicBezTo>
                  <a:pt x="182" y="162"/>
                  <a:pt x="181" y="163"/>
                  <a:pt x="181" y="163"/>
                </a:cubicBezTo>
                <a:cubicBezTo>
                  <a:pt x="181" y="163"/>
                  <a:pt x="181" y="165"/>
                  <a:pt x="181" y="165"/>
                </a:cubicBezTo>
                <a:cubicBezTo>
                  <a:pt x="181" y="165"/>
                  <a:pt x="182" y="167"/>
                  <a:pt x="182" y="167"/>
                </a:cubicBezTo>
                <a:cubicBezTo>
                  <a:pt x="182" y="167"/>
                  <a:pt x="183" y="165"/>
                  <a:pt x="183" y="165"/>
                </a:cubicBezTo>
                <a:cubicBezTo>
                  <a:pt x="184" y="166"/>
                  <a:pt x="184" y="166"/>
                  <a:pt x="186" y="166"/>
                </a:cubicBezTo>
                <a:cubicBezTo>
                  <a:pt x="187" y="165"/>
                  <a:pt x="187" y="165"/>
                  <a:pt x="187" y="165"/>
                </a:cubicBezTo>
                <a:cubicBezTo>
                  <a:pt x="187" y="165"/>
                  <a:pt x="185" y="165"/>
                  <a:pt x="185" y="165"/>
                </a:cubicBezTo>
                <a:cubicBezTo>
                  <a:pt x="184" y="163"/>
                  <a:pt x="185" y="163"/>
                  <a:pt x="186" y="163"/>
                </a:cubicBezTo>
                <a:cubicBezTo>
                  <a:pt x="185" y="162"/>
                  <a:pt x="183" y="161"/>
                  <a:pt x="183" y="161"/>
                </a:cubicBezTo>
                <a:close/>
                <a:moveTo>
                  <a:pt x="155" y="163"/>
                </a:moveTo>
                <a:cubicBezTo>
                  <a:pt x="154" y="164"/>
                  <a:pt x="154" y="166"/>
                  <a:pt x="154" y="167"/>
                </a:cubicBezTo>
                <a:cubicBezTo>
                  <a:pt x="152" y="167"/>
                  <a:pt x="150" y="167"/>
                  <a:pt x="148" y="167"/>
                </a:cubicBezTo>
                <a:cubicBezTo>
                  <a:pt x="148" y="167"/>
                  <a:pt x="146" y="171"/>
                  <a:pt x="148" y="171"/>
                </a:cubicBezTo>
                <a:cubicBezTo>
                  <a:pt x="149" y="171"/>
                  <a:pt x="151" y="169"/>
                  <a:pt x="152" y="169"/>
                </a:cubicBezTo>
                <a:cubicBezTo>
                  <a:pt x="153" y="168"/>
                  <a:pt x="154" y="169"/>
                  <a:pt x="155" y="169"/>
                </a:cubicBezTo>
                <a:cubicBezTo>
                  <a:pt x="156" y="168"/>
                  <a:pt x="160" y="161"/>
                  <a:pt x="155" y="163"/>
                </a:cubicBezTo>
                <a:close/>
                <a:moveTo>
                  <a:pt x="162" y="169"/>
                </a:moveTo>
                <a:cubicBezTo>
                  <a:pt x="162" y="171"/>
                  <a:pt x="162" y="171"/>
                  <a:pt x="162" y="171"/>
                </a:cubicBezTo>
                <a:cubicBezTo>
                  <a:pt x="160" y="171"/>
                  <a:pt x="159" y="170"/>
                  <a:pt x="158" y="170"/>
                </a:cubicBezTo>
                <a:cubicBezTo>
                  <a:pt x="159" y="174"/>
                  <a:pt x="156" y="172"/>
                  <a:pt x="160" y="175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1" y="175"/>
                  <a:pt x="166" y="170"/>
                  <a:pt x="162" y="169"/>
                </a:cubicBezTo>
                <a:close/>
                <a:moveTo>
                  <a:pt x="124" y="177"/>
                </a:moveTo>
                <a:cubicBezTo>
                  <a:pt x="124" y="178"/>
                  <a:pt x="121" y="181"/>
                  <a:pt x="124" y="181"/>
                </a:cubicBezTo>
                <a:cubicBezTo>
                  <a:pt x="123" y="182"/>
                  <a:pt x="126" y="183"/>
                  <a:pt x="126" y="183"/>
                </a:cubicBezTo>
                <a:cubicBezTo>
                  <a:pt x="127" y="182"/>
                  <a:pt x="126" y="181"/>
                  <a:pt x="127" y="181"/>
                </a:cubicBezTo>
                <a:cubicBezTo>
                  <a:pt x="127" y="179"/>
                  <a:pt x="127" y="180"/>
                  <a:pt x="128" y="178"/>
                </a:cubicBezTo>
                <a:cubicBezTo>
                  <a:pt x="126" y="177"/>
                  <a:pt x="126" y="177"/>
                  <a:pt x="124" y="177"/>
                </a:cubicBezTo>
                <a:close/>
                <a:moveTo>
                  <a:pt x="121" y="182"/>
                </a:moveTo>
                <a:cubicBezTo>
                  <a:pt x="120" y="182"/>
                  <a:pt x="120" y="182"/>
                  <a:pt x="118" y="183"/>
                </a:cubicBezTo>
                <a:cubicBezTo>
                  <a:pt x="118" y="183"/>
                  <a:pt x="119" y="185"/>
                  <a:pt x="118" y="185"/>
                </a:cubicBezTo>
                <a:cubicBezTo>
                  <a:pt x="117" y="184"/>
                  <a:pt x="118" y="187"/>
                  <a:pt x="118" y="187"/>
                </a:cubicBezTo>
                <a:cubicBezTo>
                  <a:pt x="118" y="187"/>
                  <a:pt x="120" y="188"/>
                  <a:pt x="120" y="188"/>
                </a:cubicBezTo>
                <a:cubicBezTo>
                  <a:pt x="124" y="185"/>
                  <a:pt x="122" y="186"/>
                  <a:pt x="123" y="182"/>
                </a:cubicBezTo>
                <a:cubicBezTo>
                  <a:pt x="123" y="182"/>
                  <a:pt x="121" y="182"/>
                  <a:pt x="121" y="182"/>
                </a:cubicBezTo>
                <a:close/>
                <a:moveTo>
                  <a:pt x="114" y="189"/>
                </a:moveTo>
                <a:cubicBezTo>
                  <a:pt x="109" y="192"/>
                  <a:pt x="108" y="195"/>
                  <a:pt x="108" y="201"/>
                </a:cubicBezTo>
                <a:cubicBezTo>
                  <a:pt x="109" y="201"/>
                  <a:pt x="109" y="201"/>
                  <a:pt x="109" y="201"/>
                </a:cubicBezTo>
                <a:cubicBezTo>
                  <a:pt x="110" y="201"/>
                  <a:pt x="110" y="199"/>
                  <a:pt x="110" y="199"/>
                </a:cubicBezTo>
                <a:cubicBezTo>
                  <a:pt x="112" y="198"/>
                  <a:pt x="112" y="199"/>
                  <a:pt x="113" y="199"/>
                </a:cubicBezTo>
                <a:cubicBezTo>
                  <a:pt x="115" y="196"/>
                  <a:pt x="116" y="195"/>
                  <a:pt x="116" y="190"/>
                </a:cubicBezTo>
                <a:lnTo>
                  <a:pt x="114" y="189"/>
                </a:lnTo>
                <a:close/>
                <a:moveTo>
                  <a:pt x="97" y="201"/>
                </a:moveTo>
                <a:cubicBezTo>
                  <a:pt x="95" y="206"/>
                  <a:pt x="94" y="208"/>
                  <a:pt x="92" y="213"/>
                </a:cubicBezTo>
                <a:cubicBezTo>
                  <a:pt x="93" y="213"/>
                  <a:pt x="94" y="211"/>
                  <a:pt x="94" y="211"/>
                </a:cubicBezTo>
                <a:cubicBezTo>
                  <a:pt x="95" y="211"/>
                  <a:pt x="94" y="214"/>
                  <a:pt x="94" y="214"/>
                </a:cubicBezTo>
                <a:cubicBezTo>
                  <a:pt x="95" y="214"/>
                  <a:pt x="96" y="214"/>
                  <a:pt x="96" y="214"/>
                </a:cubicBezTo>
                <a:cubicBezTo>
                  <a:pt x="96" y="214"/>
                  <a:pt x="96" y="212"/>
                  <a:pt x="96" y="212"/>
                </a:cubicBezTo>
                <a:cubicBezTo>
                  <a:pt x="97" y="212"/>
                  <a:pt x="99" y="212"/>
                  <a:pt x="98" y="213"/>
                </a:cubicBezTo>
                <a:cubicBezTo>
                  <a:pt x="101" y="210"/>
                  <a:pt x="103" y="209"/>
                  <a:pt x="105" y="206"/>
                </a:cubicBezTo>
                <a:cubicBezTo>
                  <a:pt x="104" y="203"/>
                  <a:pt x="104" y="203"/>
                  <a:pt x="104" y="203"/>
                </a:cubicBezTo>
                <a:cubicBezTo>
                  <a:pt x="103" y="203"/>
                  <a:pt x="102" y="203"/>
                  <a:pt x="101" y="203"/>
                </a:cubicBezTo>
                <a:cubicBezTo>
                  <a:pt x="101" y="205"/>
                  <a:pt x="101" y="205"/>
                  <a:pt x="101" y="205"/>
                </a:cubicBezTo>
                <a:cubicBezTo>
                  <a:pt x="100" y="205"/>
                  <a:pt x="99" y="205"/>
                  <a:pt x="98" y="205"/>
                </a:cubicBezTo>
                <a:cubicBezTo>
                  <a:pt x="98" y="204"/>
                  <a:pt x="99" y="202"/>
                  <a:pt x="98" y="201"/>
                </a:cubicBezTo>
                <a:lnTo>
                  <a:pt x="97" y="201"/>
                </a:lnTo>
                <a:close/>
                <a:moveTo>
                  <a:pt x="167" y="163"/>
                </a:moveTo>
                <a:cubicBezTo>
                  <a:pt x="167" y="164"/>
                  <a:pt x="167" y="166"/>
                  <a:pt x="168" y="166"/>
                </a:cubicBezTo>
                <a:cubicBezTo>
                  <a:pt x="170" y="168"/>
                  <a:pt x="168" y="163"/>
                  <a:pt x="168" y="163"/>
                </a:cubicBezTo>
                <a:lnTo>
                  <a:pt x="167" y="163"/>
                </a:lnTo>
                <a:close/>
                <a:moveTo>
                  <a:pt x="130" y="173"/>
                </a:moveTo>
                <a:cubicBezTo>
                  <a:pt x="131" y="174"/>
                  <a:pt x="130" y="175"/>
                  <a:pt x="131" y="177"/>
                </a:cubicBezTo>
                <a:cubicBezTo>
                  <a:pt x="136" y="177"/>
                  <a:pt x="130" y="173"/>
                  <a:pt x="130" y="173"/>
                </a:cubicBezTo>
                <a:close/>
                <a:moveTo>
                  <a:pt x="152" y="173"/>
                </a:moveTo>
                <a:cubicBezTo>
                  <a:pt x="148" y="173"/>
                  <a:pt x="155" y="174"/>
                  <a:pt x="155" y="174"/>
                </a:cubicBezTo>
                <a:cubicBezTo>
                  <a:pt x="154" y="174"/>
                  <a:pt x="156" y="172"/>
                  <a:pt x="152" y="173"/>
                </a:cubicBezTo>
                <a:close/>
                <a:moveTo>
                  <a:pt x="137" y="174"/>
                </a:moveTo>
                <a:cubicBezTo>
                  <a:pt x="137" y="175"/>
                  <a:pt x="137" y="175"/>
                  <a:pt x="137" y="175"/>
                </a:cubicBezTo>
                <a:cubicBezTo>
                  <a:pt x="136" y="175"/>
                  <a:pt x="137" y="177"/>
                  <a:pt x="138" y="177"/>
                </a:cubicBezTo>
                <a:cubicBezTo>
                  <a:pt x="138" y="177"/>
                  <a:pt x="139" y="173"/>
                  <a:pt x="137" y="174"/>
                </a:cubicBezTo>
                <a:close/>
                <a:moveTo>
                  <a:pt x="105" y="195"/>
                </a:moveTo>
                <a:cubicBezTo>
                  <a:pt x="103" y="199"/>
                  <a:pt x="102" y="200"/>
                  <a:pt x="106" y="197"/>
                </a:cubicBezTo>
                <a:cubicBezTo>
                  <a:pt x="106" y="197"/>
                  <a:pt x="106" y="194"/>
                  <a:pt x="105" y="195"/>
                </a:cubicBezTo>
                <a:close/>
                <a:moveTo>
                  <a:pt x="92" y="203"/>
                </a:moveTo>
                <a:cubicBezTo>
                  <a:pt x="91" y="203"/>
                  <a:pt x="90" y="204"/>
                  <a:pt x="90" y="205"/>
                </a:cubicBezTo>
                <a:cubicBezTo>
                  <a:pt x="88" y="206"/>
                  <a:pt x="92" y="205"/>
                  <a:pt x="93" y="206"/>
                </a:cubicBezTo>
                <a:cubicBezTo>
                  <a:pt x="93" y="204"/>
                  <a:pt x="94" y="202"/>
                  <a:pt x="92" y="203"/>
                </a:cubicBezTo>
                <a:close/>
                <a:moveTo>
                  <a:pt x="89" y="210"/>
                </a:moveTo>
                <a:cubicBezTo>
                  <a:pt x="88" y="211"/>
                  <a:pt x="87" y="214"/>
                  <a:pt x="85" y="215"/>
                </a:cubicBezTo>
                <a:cubicBezTo>
                  <a:pt x="84" y="215"/>
                  <a:pt x="84" y="215"/>
                  <a:pt x="84" y="215"/>
                </a:cubicBezTo>
                <a:cubicBezTo>
                  <a:pt x="84" y="215"/>
                  <a:pt x="83" y="216"/>
                  <a:pt x="85" y="215"/>
                </a:cubicBezTo>
                <a:cubicBezTo>
                  <a:pt x="85" y="216"/>
                  <a:pt x="83" y="217"/>
                  <a:pt x="85" y="216"/>
                </a:cubicBezTo>
                <a:cubicBezTo>
                  <a:pt x="87" y="215"/>
                  <a:pt x="89" y="213"/>
                  <a:pt x="90" y="211"/>
                </a:cubicBezTo>
                <a:cubicBezTo>
                  <a:pt x="90" y="211"/>
                  <a:pt x="90" y="210"/>
                  <a:pt x="90" y="210"/>
                </a:cubicBezTo>
                <a:lnTo>
                  <a:pt x="89" y="210"/>
                </a:lnTo>
                <a:close/>
                <a:moveTo>
                  <a:pt x="79" y="215"/>
                </a:moveTo>
                <a:cubicBezTo>
                  <a:pt x="79" y="217"/>
                  <a:pt x="79" y="217"/>
                  <a:pt x="79" y="217"/>
                </a:cubicBezTo>
                <a:cubicBezTo>
                  <a:pt x="77" y="216"/>
                  <a:pt x="79" y="218"/>
                  <a:pt x="81" y="218"/>
                </a:cubicBezTo>
                <a:cubicBezTo>
                  <a:pt x="82" y="218"/>
                  <a:pt x="81" y="216"/>
                  <a:pt x="81" y="216"/>
                </a:cubicBezTo>
                <a:lnTo>
                  <a:pt x="79" y="215"/>
                </a:lnTo>
                <a:close/>
                <a:moveTo>
                  <a:pt x="87" y="249"/>
                </a:moveTo>
                <a:cubicBezTo>
                  <a:pt x="89" y="249"/>
                  <a:pt x="86" y="250"/>
                  <a:pt x="86" y="250"/>
                </a:cubicBezTo>
                <a:cubicBezTo>
                  <a:pt x="86" y="250"/>
                  <a:pt x="85" y="249"/>
                  <a:pt x="87" y="249"/>
                </a:cubicBezTo>
                <a:close/>
                <a:moveTo>
                  <a:pt x="79" y="250"/>
                </a:moveTo>
                <a:cubicBezTo>
                  <a:pt x="78" y="250"/>
                  <a:pt x="78" y="251"/>
                  <a:pt x="80" y="252"/>
                </a:cubicBezTo>
                <a:cubicBezTo>
                  <a:pt x="80" y="251"/>
                  <a:pt x="80" y="250"/>
                  <a:pt x="79" y="250"/>
                </a:cubicBezTo>
                <a:close/>
                <a:moveTo>
                  <a:pt x="38" y="280"/>
                </a:moveTo>
                <a:cubicBezTo>
                  <a:pt x="36" y="281"/>
                  <a:pt x="31" y="285"/>
                  <a:pt x="36" y="284"/>
                </a:cubicBezTo>
                <a:cubicBezTo>
                  <a:pt x="37" y="283"/>
                  <a:pt x="41" y="280"/>
                  <a:pt x="38" y="280"/>
                </a:cubicBezTo>
                <a:close/>
                <a:moveTo>
                  <a:pt x="27" y="290"/>
                </a:moveTo>
                <a:cubicBezTo>
                  <a:pt x="27" y="292"/>
                  <a:pt x="27" y="292"/>
                  <a:pt x="27" y="292"/>
                </a:cubicBezTo>
                <a:cubicBezTo>
                  <a:pt x="29" y="292"/>
                  <a:pt x="27" y="291"/>
                  <a:pt x="27" y="290"/>
                </a:cubicBezTo>
                <a:close/>
                <a:moveTo>
                  <a:pt x="35" y="292"/>
                </a:moveTo>
                <a:cubicBezTo>
                  <a:pt x="37" y="292"/>
                  <a:pt x="37" y="294"/>
                  <a:pt x="35" y="294"/>
                </a:cubicBezTo>
                <a:cubicBezTo>
                  <a:pt x="35" y="294"/>
                  <a:pt x="34" y="292"/>
                  <a:pt x="35" y="292"/>
                </a:cubicBezTo>
                <a:close/>
                <a:moveTo>
                  <a:pt x="22" y="306"/>
                </a:moveTo>
                <a:cubicBezTo>
                  <a:pt x="21" y="306"/>
                  <a:pt x="23" y="306"/>
                  <a:pt x="23" y="306"/>
                </a:cubicBezTo>
                <a:cubicBezTo>
                  <a:pt x="23" y="307"/>
                  <a:pt x="23" y="307"/>
                  <a:pt x="23" y="308"/>
                </a:cubicBezTo>
                <a:cubicBezTo>
                  <a:pt x="22" y="308"/>
                  <a:pt x="22" y="309"/>
                  <a:pt x="21" y="309"/>
                </a:cubicBezTo>
                <a:cubicBezTo>
                  <a:pt x="21" y="308"/>
                  <a:pt x="21" y="305"/>
                  <a:pt x="22" y="306"/>
                </a:cubicBezTo>
                <a:close/>
                <a:moveTo>
                  <a:pt x="8" y="337"/>
                </a:moveTo>
                <a:cubicBezTo>
                  <a:pt x="8" y="337"/>
                  <a:pt x="9" y="339"/>
                  <a:pt x="9" y="339"/>
                </a:cubicBezTo>
                <a:cubicBezTo>
                  <a:pt x="10" y="339"/>
                  <a:pt x="10" y="337"/>
                  <a:pt x="8" y="337"/>
                </a:cubicBezTo>
                <a:close/>
                <a:moveTo>
                  <a:pt x="5" y="339"/>
                </a:moveTo>
                <a:cubicBezTo>
                  <a:pt x="5" y="340"/>
                  <a:pt x="5" y="340"/>
                  <a:pt x="5" y="340"/>
                </a:cubicBezTo>
                <a:cubicBezTo>
                  <a:pt x="6" y="340"/>
                  <a:pt x="6" y="340"/>
                  <a:pt x="6" y="340"/>
                </a:cubicBezTo>
                <a:cubicBezTo>
                  <a:pt x="5" y="340"/>
                  <a:pt x="7" y="339"/>
                  <a:pt x="5" y="339"/>
                </a:cubicBezTo>
                <a:close/>
                <a:moveTo>
                  <a:pt x="5" y="342"/>
                </a:moveTo>
                <a:cubicBezTo>
                  <a:pt x="5" y="343"/>
                  <a:pt x="5" y="343"/>
                  <a:pt x="5" y="343"/>
                </a:cubicBezTo>
                <a:cubicBezTo>
                  <a:pt x="5" y="342"/>
                  <a:pt x="6" y="342"/>
                  <a:pt x="5" y="342"/>
                </a:cubicBezTo>
                <a:close/>
                <a:moveTo>
                  <a:pt x="58" y="355"/>
                </a:moveTo>
                <a:cubicBezTo>
                  <a:pt x="58" y="355"/>
                  <a:pt x="58" y="354"/>
                  <a:pt x="60" y="355"/>
                </a:cubicBezTo>
                <a:cubicBezTo>
                  <a:pt x="62" y="356"/>
                  <a:pt x="62" y="352"/>
                  <a:pt x="62" y="350"/>
                </a:cubicBezTo>
                <a:cubicBezTo>
                  <a:pt x="62" y="348"/>
                  <a:pt x="60" y="347"/>
                  <a:pt x="60" y="345"/>
                </a:cubicBezTo>
                <a:cubicBezTo>
                  <a:pt x="60" y="342"/>
                  <a:pt x="58" y="343"/>
                  <a:pt x="61" y="342"/>
                </a:cubicBezTo>
                <a:cubicBezTo>
                  <a:pt x="63" y="341"/>
                  <a:pt x="61" y="339"/>
                  <a:pt x="63" y="338"/>
                </a:cubicBezTo>
                <a:cubicBezTo>
                  <a:pt x="65" y="337"/>
                  <a:pt x="65" y="336"/>
                  <a:pt x="63" y="334"/>
                </a:cubicBezTo>
                <a:cubicBezTo>
                  <a:pt x="61" y="332"/>
                  <a:pt x="63" y="331"/>
                  <a:pt x="63" y="329"/>
                </a:cubicBezTo>
                <a:cubicBezTo>
                  <a:pt x="63" y="327"/>
                  <a:pt x="64" y="323"/>
                  <a:pt x="64" y="323"/>
                </a:cubicBezTo>
                <a:cubicBezTo>
                  <a:pt x="64" y="323"/>
                  <a:pt x="64" y="324"/>
                  <a:pt x="66" y="322"/>
                </a:cubicBezTo>
                <a:cubicBezTo>
                  <a:pt x="68" y="321"/>
                  <a:pt x="67" y="320"/>
                  <a:pt x="67" y="317"/>
                </a:cubicBezTo>
                <a:cubicBezTo>
                  <a:pt x="67" y="313"/>
                  <a:pt x="66" y="312"/>
                  <a:pt x="65" y="312"/>
                </a:cubicBezTo>
                <a:cubicBezTo>
                  <a:pt x="64" y="312"/>
                  <a:pt x="63" y="310"/>
                  <a:pt x="65" y="308"/>
                </a:cubicBezTo>
                <a:cubicBezTo>
                  <a:pt x="66" y="305"/>
                  <a:pt x="65" y="302"/>
                  <a:pt x="65" y="300"/>
                </a:cubicBezTo>
                <a:cubicBezTo>
                  <a:pt x="65" y="298"/>
                  <a:pt x="65" y="294"/>
                  <a:pt x="65" y="293"/>
                </a:cubicBezTo>
                <a:cubicBezTo>
                  <a:pt x="66" y="291"/>
                  <a:pt x="65" y="289"/>
                  <a:pt x="64" y="287"/>
                </a:cubicBezTo>
                <a:cubicBezTo>
                  <a:pt x="63" y="285"/>
                  <a:pt x="69" y="283"/>
                  <a:pt x="69" y="281"/>
                </a:cubicBezTo>
                <a:cubicBezTo>
                  <a:pt x="69" y="278"/>
                  <a:pt x="73" y="275"/>
                  <a:pt x="73" y="273"/>
                </a:cubicBezTo>
                <a:cubicBezTo>
                  <a:pt x="73" y="271"/>
                  <a:pt x="78" y="268"/>
                  <a:pt x="80" y="267"/>
                </a:cubicBezTo>
                <a:cubicBezTo>
                  <a:pt x="82" y="266"/>
                  <a:pt x="84" y="271"/>
                  <a:pt x="86" y="272"/>
                </a:cubicBezTo>
                <a:cubicBezTo>
                  <a:pt x="88" y="273"/>
                  <a:pt x="88" y="269"/>
                  <a:pt x="89" y="266"/>
                </a:cubicBezTo>
                <a:cubicBezTo>
                  <a:pt x="90" y="263"/>
                  <a:pt x="88" y="259"/>
                  <a:pt x="88" y="257"/>
                </a:cubicBezTo>
                <a:cubicBezTo>
                  <a:pt x="88" y="256"/>
                  <a:pt x="92" y="255"/>
                  <a:pt x="94" y="253"/>
                </a:cubicBezTo>
                <a:cubicBezTo>
                  <a:pt x="96" y="252"/>
                  <a:pt x="98" y="244"/>
                  <a:pt x="98" y="242"/>
                </a:cubicBezTo>
                <a:cubicBezTo>
                  <a:pt x="98" y="240"/>
                  <a:pt x="99" y="236"/>
                  <a:pt x="101" y="236"/>
                </a:cubicBezTo>
                <a:cubicBezTo>
                  <a:pt x="103" y="236"/>
                  <a:pt x="104" y="236"/>
                  <a:pt x="104" y="234"/>
                </a:cubicBezTo>
                <a:cubicBezTo>
                  <a:pt x="104" y="232"/>
                  <a:pt x="107" y="231"/>
                  <a:pt x="108" y="230"/>
                </a:cubicBezTo>
                <a:cubicBezTo>
                  <a:pt x="110" y="228"/>
                  <a:pt x="111" y="228"/>
                  <a:pt x="111" y="226"/>
                </a:cubicBezTo>
                <a:cubicBezTo>
                  <a:pt x="111" y="223"/>
                  <a:pt x="112" y="221"/>
                  <a:pt x="113" y="219"/>
                </a:cubicBezTo>
                <a:cubicBezTo>
                  <a:pt x="114" y="217"/>
                  <a:pt x="116" y="215"/>
                  <a:pt x="116" y="215"/>
                </a:cubicBezTo>
                <a:cubicBezTo>
                  <a:pt x="116" y="215"/>
                  <a:pt x="125" y="223"/>
                  <a:pt x="123" y="220"/>
                </a:cubicBezTo>
                <a:cubicBezTo>
                  <a:pt x="121" y="219"/>
                  <a:pt x="124" y="217"/>
                  <a:pt x="123" y="215"/>
                </a:cubicBezTo>
                <a:cubicBezTo>
                  <a:pt x="122" y="213"/>
                  <a:pt x="125" y="214"/>
                  <a:pt x="126" y="213"/>
                </a:cubicBezTo>
                <a:cubicBezTo>
                  <a:pt x="126" y="212"/>
                  <a:pt x="130" y="214"/>
                  <a:pt x="132" y="214"/>
                </a:cubicBezTo>
                <a:cubicBezTo>
                  <a:pt x="133" y="215"/>
                  <a:pt x="135" y="210"/>
                  <a:pt x="135" y="210"/>
                </a:cubicBezTo>
                <a:cubicBezTo>
                  <a:pt x="136" y="205"/>
                  <a:pt x="136" y="205"/>
                  <a:pt x="136" y="205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8" y="197"/>
                  <a:pt x="138" y="197"/>
                  <a:pt x="138" y="197"/>
                </a:cubicBezTo>
                <a:cubicBezTo>
                  <a:pt x="140" y="196"/>
                  <a:pt x="140" y="196"/>
                  <a:pt x="140" y="196"/>
                </a:cubicBezTo>
                <a:cubicBezTo>
                  <a:pt x="141" y="194"/>
                  <a:pt x="141" y="194"/>
                  <a:pt x="141" y="194"/>
                </a:cubicBezTo>
                <a:cubicBezTo>
                  <a:pt x="142" y="192"/>
                  <a:pt x="147" y="196"/>
                  <a:pt x="147" y="196"/>
                </a:cubicBezTo>
                <a:cubicBezTo>
                  <a:pt x="150" y="202"/>
                  <a:pt x="150" y="202"/>
                  <a:pt x="150" y="202"/>
                </a:cubicBezTo>
                <a:cubicBezTo>
                  <a:pt x="150" y="202"/>
                  <a:pt x="156" y="203"/>
                  <a:pt x="158" y="204"/>
                </a:cubicBezTo>
                <a:cubicBezTo>
                  <a:pt x="163" y="206"/>
                  <a:pt x="163" y="203"/>
                  <a:pt x="165" y="203"/>
                </a:cubicBezTo>
                <a:cubicBezTo>
                  <a:pt x="168" y="203"/>
                  <a:pt x="172" y="207"/>
                  <a:pt x="172" y="207"/>
                </a:cubicBezTo>
                <a:cubicBezTo>
                  <a:pt x="172" y="207"/>
                  <a:pt x="178" y="207"/>
                  <a:pt x="179" y="204"/>
                </a:cubicBezTo>
                <a:cubicBezTo>
                  <a:pt x="181" y="200"/>
                  <a:pt x="183" y="203"/>
                  <a:pt x="184" y="200"/>
                </a:cubicBezTo>
                <a:cubicBezTo>
                  <a:pt x="185" y="197"/>
                  <a:pt x="184" y="199"/>
                  <a:pt x="184" y="197"/>
                </a:cubicBezTo>
                <a:cubicBezTo>
                  <a:pt x="184" y="195"/>
                  <a:pt x="184" y="196"/>
                  <a:pt x="184" y="194"/>
                </a:cubicBezTo>
                <a:cubicBezTo>
                  <a:pt x="185" y="192"/>
                  <a:pt x="184" y="188"/>
                  <a:pt x="186" y="187"/>
                </a:cubicBezTo>
                <a:cubicBezTo>
                  <a:pt x="188" y="187"/>
                  <a:pt x="191" y="186"/>
                  <a:pt x="191" y="186"/>
                </a:cubicBezTo>
                <a:cubicBezTo>
                  <a:pt x="191" y="186"/>
                  <a:pt x="196" y="184"/>
                  <a:pt x="198" y="183"/>
                </a:cubicBezTo>
                <a:cubicBezTo>
                  <a:pt x="200" y="182"/>
                  <a:pt x="203" y="184"/>
                  <a:pt x="203" y="184"/>
                </a:cubicBezTo>
                <a:cubicBezTo>
                  <a:pt x="203" y="184"/>
                  <a:pt x="207" y="188"/>
                  <a:pt x="209" y="189"/>
                </a:cubicBezTo>
                <a:cubicBezTo>
                  <a:pt x="213" y="190"/>
                  <a:pt x="207" y="197"/>
                  <a:pt x="207" y="197"/>
                </a:cubicBezTo>
                <a:cubicBezTo>
                  <a:pt x="206" y="200"/>
                  <a:pt x="211" y="198"/>
                  <a:pt x="211" y="198"/>
                </a:cubicBezTo>
                <a:cubicBezTo>
                  <a:pt x="214" y="194"/>
                  <a:pt x="214" y="194"/>
                  <a:pt x="214" y="194"/>
                </a:cubicBezTo>
                <a:cubicBezTo>
                  <a:pt x="214" y="194"/>
                  <a:pt x="215" y="193"/>
                  <a:pt x="217" y="192"/>
                </a:cubicBezTo>
                <a:cubicBezTo>
                  <a:pt x="218" y="190"/>
                  <a:pt x="218" y="190"/>
                  <a:pt x="220" y="189"/>
                </a:cubicBezTo>
                <a:cubicBezTo>
                  <a:pt x="222" y="188"/>
                  <a:pt x="221" y="189"/>
                  <a:pt x="221" y="189"/>
                </a:cubicBezTo>
                <a:cubicBezTo>
                  <a:pt x="221" y="189"/>
                  <a:pt x="225" y="188"/>
                  <a:pt x="225" y="186"/>
                </a:cubicBezTo>
                <a:cubicBezTo>
                  <a:pt x="225" y="186"/>
                  <a:pt x="225" y="183"/>
                  <a:pt x="227" y="186"/>
                </a:cubicBezTo>
                <a:cubicBezTo>
                  <a:pt x="227" y="187"/>
                  <a:pt x="233" y="188"/>
                  <a:pt x="232" y="184"/>
                </a:cubicBezTo>
                <a:cubicBezTo>
                  <a:pt x="231" y="183"/>
                  <a:pt x="229" y="183"/>
                  <a:pt x="228" y="183"/>
                </a:cubicBezTo>
                <a:cubicBezTo>
                  <a:pt x="228" y="183"/>
                  <a:pt x="225" y="183"/>
                  <a:pt x="225" y="183"/>
                </a:cubicBezTo>
                <a:cubicBezTo>
                  <a:pt x="224" y="185"/>
                  <a:pt x="224" y="185"/>
                  <a:pt x="223" y="186"/>
                </a:cubicBezTo>
                <a:cubicBezTo>
                  <a:pt x="222" y="185"/>
                  <a:pt x="222" y="184"/>
                  <a:pt x="221" y="184"/>
                </a:cubicBezTo>
                <a:cubicBezTo>
                  <a:pt x="221" y="185"/>
                  <a:pt x="221" y="186"/>
                  <a:pt x="220" y="187"/>
                </a:cubicBezTo>
                <a:cubicBezTo>
                  <a:pt x="219" y="187"/>
                  <a:pt x="218" y="187"/>
                  <a:pt x="217" y="187"/>
                </a:cubicBezTo>
                <a:cubicBezTo>
                  <a:pt x="216" y="187"/>
                  <a:pt x="217" y="185"/>
                  <a:pt x="217" y="185"/>
                </a:cubicBezTo>
                <a:cubicBezTo>
                  <a:pt x="217" y="184"/>
                  <a:pt x="215" y="183"/>
                  <a:pt x="215" y="182"/>
                </a:cubicBezTo>
                <a:cubicBezTo>
                  <a:pt x="218" y="182"/>
                  <a:pt x="220" y="183"/>
                  <a:pt x="222" y="181"/>
                </a:cubicBezTo>
                <a:cubicBezTo>
                  <a:pt x="223" y="181"/>
                  <a:pt x="223" y="179"/>
                  <a:pt x="223" y="179"/>
                </a:cubicBezTo>
                <a:cubicBezTo>
                  <a:pt x="225" y="178"/>
                  <a:pt x="227" y="179"/>
                  <a:pt x="229" y="179"/>
                </a:cubicBezTo>
                <a:cubicBezTo>
                  <a:pt x="226" y="173"/>
                  <a:pt x="228" y="174"/>
                  <a:pt x="221" y="174"/>
                </a:cubicBezTo>
                <a:cubicBezTo>
                  <a:pt x="224" y="168"/>
                  <a:pt x="222" y="169"/>
                  <a:pt x="218" y="172"/>
                </a:cubicBezTo>
                <a:cubicBezTo>
                  <a:pt x="217" y="171"/>
                  <a:pt x="216" y="167"/>
                  <a:pt x="215" y="166"/>
                </a:cubicBezTo>
                <a:cubicBezTo>
                  <a:pt x="215" y="166"/>
                  <a:pt x="213" y="166"/>
                  <a:pt x="213" y="165"/>
                </a:cubicBezTo>
                <a:cubicBezTo>
                  <a:pt x="211" y="170"/>
                  <a:pt x="211" y="169"/>
                  <a:pt x="212" y="173"/>
                </a:cubicBezTo>
                <a:cubicBezTo>
                  <a:pt x="211" y="174"/>
                  <a:pt x="210" y="175"/>
                  <a:pt x="209" y="175"/>
                </a:cubicBezTo>
                <a:cubicBezTo>
                  <a:pt x="206" y="173"/>
                  <a:pt x="212" y="168"/>
                  <a:pt x="209" y="169"/>
                </a:cubicBezTo>
                <a:cubicBezTo>
                  <a:pt x="209" y="169"/>
                  <a:pt x="208" y="170"/>
                  <a:pt x="207" y="170"/>
                </a:cubicBezTo>
                <a:cubicBezTo>
                  <a:pt x="208" y="171"/>
                  <a:pt x="207" y="171"/>
                  <a:pt x="206" y="171"/>
                </a:cubicBezTo>
                <a:cubicBezTo>
                  <a:pt x="206" y="169"/>
                  <a:pt x="206" y="168"/>
                  <a:pt x="205" y="167"/>
                </a:cubicBezTo>
                <a:cubicBezTo>
                  <a:pt x="207" y="167"/>
                  <a:pt x="211" y="166"/>
                  <a:pt x="208" y="165"/>
                </a:cubicBezTo>
                <a:cubicBezTo>
                  <a:pt x="208" y="165"/>
                  <a:pt x="208" y="162"/>
                  <a:pt x="208" y="162"/>
                </a:cubicBezTo>
                <a:cubicBezTo>
                  <a:pt x="208" y="162"/>
                  <a:pt x="204" y="162"/>
                  <a:pt x="205" y="162"/>
                </a:cubicBezTo>
                <a:cubicBezTo>
                  <a:pt x="204" y="161"/>
                  <a:pt x="204" y="161"/>
                  <a:pt x="204" y="161"/>
                </a:cubicBezTo>
                <a:cubicBezTo>
                  <a:pt x="203" y="160"/>
                  <a:pt x="202" y="161"/>
                  <a:pt x="201" y="161"/>
                </a:cubicBezTo>
                <a:cubicBezTo>
                  <a:pt x="201" y="162"/>
                  <a:pt x="202" y="163"/>
                  <a:pt x="201" y="164"/>
                </a:cubicBezTo>
                <a:cubicBezTo>
                  <a:pt x="201" y="164"/>
                  <a:pt x="201" y="164"/>
                  <a:pt x="201" y="164"/>
                </a:cubicBezTo>
                <a:cubicBezTo>
                  <a:pt x="200" y="164"/>
                  <a:pt x="200" y="164"/>
                  <a:pt x="199" y="165"/>
                </a:cubicBezTo>
                <a:cubicBezTo>
                  <a:pt x="199" y="165"/>
                  <a:pt x="199" y="167"/>
                  <a:pt x="199" y="167"/>
                </a:cubicBezTo>
                <a:cubicBezTo>
                  <a:pt x="199" y="167"/>
                  <a:pt x="200" y="168"/>
                  <a:pt x="200" y="169"/>
                </a:cubicBezTo>
                <a:cubicBezTo>
                  <a:pt x="199" y="169"/>
                  <a:pt x="198" y="169"/>
                  <a:pt x="198" y="170"/>
                </a:cubicBezTo>
                <a:cubicBezTo>
                  <a:pt x="196" y="171"/>
                  <a:pt x="197" y="172"/>
                  <a:pt x="196" y="174"/>
                </a:cubicBezTo>
                <a:cubicBezTo>
                  <a:pt x="196" y="174"/>
                  <a:pt x="192" y="176"/>
                  <a:pt x="192" y="177"/>
                </a:cubicBezTo>
                <a:cubicBezTo>
                  <a:pt x="192" y="177"/>
                  <a:pt x="192" y="178"/>
                  <a:pt x="192" y="179"/>
                </a:cubicBezTo>
                <a:cubicBezTo>
                  <a:pt x="191" y="179"/>
                  <a:pt x="192" y="174"/>
                  <a:pt x="192" y="174"/>
                </a:cubicBezTo>
                <a:cubicBezTo>
                  <a:pt x="192" y="173"/>
                  <a:pt x="192" y="173"/>
                  <a:pt x="192" y="173"/>
                </a:cubicBezTo>
                <a:cubicBezTo>
                  <a:pt x="191" y="178"/>
                  <a:pt x="193" y="174"/>
                  <a:pt x="193" y="174"/>
                </a:cubicBezTo>
                <a:cubicBezTo>
                  <a:pt x="193" y="173"/>
                  <a:pt x="192" y="172"/>
                  <a:pt x="192" y="171"/>
                </a:cubicBezTo>
                <a:cubicBezTo>
                  <a:pt x="192" y="171"/>
                  <a:pt x="194" y="169"/>
                  <a:pt x="194" y="169"/>
                </a:cubicBezTo>
                <a:cubicBezTo>
                  <a:pt x="194" y="167"/>
                  <a:pt x="193" y="168"/>
                  <a:pt x="194" y="166"/>
                </a:cubicBezTo>
                <a:cubicBezTo>
                  <a:pt x="192" y="166"/>
                  <a:pt x="192" y="166"/>
                  <a:pt x="192" y="166"/>
                </a:cubicBezTo>
                <a:cubicBezTo>
                  <a:pt x="192" y="166"/>
                  <a:pt x="192" y="168"/>
                  <a:pt x="192" y="168"/>
                </a:cubicBezTo>
                <a:cubicBezTo>
                  <a:pt x="191" y="168"/>
                  <a:pt x="191" y="168"/>
                  <a:pt x="191" y="168"/>
                </a:cubicBezTo>
                <a:cubicBezTo>
                  <a:pt x="191" y="169"/>
                  <a:pt x="190" y="171"/>
                  <a:pt x="190" y="171"/>
                </a:cubicBezTo>
                <a:cubicBezTo>
                  <a:pt x="188" y="171"/>
                  <a:pt x="188" y="171"/>
                  <a:pt x="188" y="171"/>
                </a:cubicBezTo>
                <a:cubicBezTo>
                  <a:pt x="187" y="173"/>
                  <a:pt x="187" y="175"/>
                  <a:pt x="186" y="177"/>
                </a:cubicBezTo>
                <a:cubicBezTo>
                  <a:pt x="186" y="178"/>
                  <a:pt x="184" y="178"/>
                  <a:pt x="183" y="179"/>
                </a:cubicBezTo>
                <a:cubicBezTo>
                  <a:pt x="182" y="180"/>
                  <a:pt x="183" y="181"/>
                  <a:pt x="182" y="183"/>
                </a:cubicBezTo>
                <a:cubicBezTo>
                  <a:pt x="182" y="183"/>
                  <a:pt x="181" y="184"/>
                  <a:pt x="180" y="185"/>
                </a:cubicBezTo>
                <a:cubicBezTo>
                  <a:pt x="179" y="185"/>
                  <a:pt x="179" y="185"/>
                  <a:pt x="178" y="185"/>
                </a:cubicBezTo>
                <a:cubicBezTo>
                  <a:pt x="178" y="184"/>
                  <a:pt x="180" y="178"/>
                  <a:pt x="180" y="177"/>
                </a:cubicBezTo>
                <a:cubicBezTo>
                  <a:pt x="181" y="176"/>
                  <a:pt x="184" y="176"/>
                  <a:pt x="184" y="175"/>
                </a:cubicBezTo>
                <a:cubicBezTo>
                  <a:pt x="185" y="174"/>
                  <a:pt x="185" y="171"/>
                  <a:pt x="185" y="171"/>
                </a:cubicBezTo>
                <a:cubicBezTo>
                  <a:pt x="183" y="170"/>
                  <a:pt x="184" y="170"/>
                  <a:pt x="182" y="171"/>
                </a:cubicBezTo>
                <a:cubicBezTo>
                  <a:pt x="182" y="171"/>
                  <a:pt x="182" y="169"/>
                  <a:pt x="182" y="169"/>
                </a:cubicBezTo>
                <a:cubicBezTo>
                  <a:pt x="180" y="168"/>
                  <a:pt x="181" y="170"/>
                  <a:pt x="180" y="170"/>
                </a:cubicBezTo>
                <a:cubicBezTo>
                  <a:pt x="179" y="171"/>
                  <a:pt x="176" y="167"/>
                  <a:pt x="175" y="167"/>
                </a:cubicBezTo>
                <a:cubicBezTo>
                  <a:pt x="175" y="167"/>
                  <a:pt x="174" y="167"/>
                  <a:pt x="174" y="167"/>
                </a:cubicBezTo>
                <a:cubicBezTo>
                  <a:pt x="174" y="170"/>
                  <a:pt x="174" y="171"/>
                  <a:pt x="174" y="173"/>
                </a:cubicBezTo>
                <a:cubicBezTo>
                  <a:pt x="174" y="173"/>
                  <a:pt x="174" y="173"/>
                  <a:pt x="174" y="173"/>
                </a:cubicBezTo>
                <a:cubicBezTo>
                  <a:pt x="174" y="173"/>
                  <a:pt x="173" y="174"/>
                  <a:pt x="174" y="174"/>
                </a:cubicBezTo>
                <a:cubicBezTo>
                  <a:pt x="175" y="174"/>
                  <a:pt x="172" y="175"/>
                  <a:pt x="172" y="175"/>
                </a:cubicBezTo>
                <a:cubicBezTo>
                  <a:pt x="171" y="174"/>
                  <a:pt x="171" y="171"/>
                  <a:pt x="171" y="171"/>
                </a:cubicBezTo>
                <a:cubicBezTo>
                  <a:pt x="170" y="171"/>
                  <a:pt x="169" y="171"/>
                  <a:pt x="168" y="171"/>
                </a:cubicBezTo>
                <a:cubicBezTo>
                  <a:pt x="168" y="172"/>
                  <a:pt x="169" y="171"/>
                  <a:pt x="169" y="173"/>
                </a:cubicBezTo>
                <a:cubicBezTo>
                  <a:pt x="169" y="174"/>
                  <a:pt x="164" y="178"/>
                  <a:pt x="164" y="178"/>
                </a:cubicBezTo>
                <a:cubicBezTo>
                  <a:pt x="163" y="178"/>
                  <a:pt x="162" y="178"/>
                  <a:pt x="162" y="178"/>
                </a:cubicBezTo>
                <a:cubicBezTo>
                  <a:pt x="161" y="178"/>
                  <a:pt x="161" y="181"/>
                  <a:pt x="160" y="181"/>
                </a:cubicBezTo>
                <a:cubicBezTo>
                  <a:pt x="158" y="181"/>
                  <a:pt x="155" y="180"/>
                  <a:pt x="154" y="178"/>
                </a:cubicBezTo>
                <a:cubicBezTo>
                  <a:pt x="154" y="178"/>
                  <a:pt x="155" y="176"/>
                  <a:pt x="154" y="176"/>
                </a:cubicBezTo>
                <a:cubicBezTo>
                  <a:pt x="153" y="175"/>
                  <a:pt x="152" y="177"/>
                  <a:pt x="151" y="177"/>
                </a:cubicBezTo>
                <a:cubicBezTo>
                  <a:pt x="150" y="176"/>
                  <a:pt x="150" y="174"/>
                  <a:pt x="148" y="174"/>
                </a:cubicBezTo>
                <a:cubicBezTo>
                  <a:pt x="147" y="174"/>
                  <a:pt x="147" y="175"/>
                  <a:pt x="147" y="176"/>
                </a:cubicBezTo>
                <a:cubicBezTo>
                  <a:pt x="146" y="176"/>
                  <a:pt x="144" y="176"/>
                  <a:pt x="144" y="176"/>
                </a:cubicBezTo>
                <a:cubicBezTo>
                  <a:pt x="144" y="176"/>
                  <a:pt x="144" y="178"/>
                  <a:pt x="144" y="178"/>
                </a:cubicBezTo>
                <a:cubicBezTo>
                  <a:pt x="145" y="178"/>
                  <a:pt x="145" y="179"/>
                  <a:pt x="145" y="179"/>
                </a:cubicBezTo>
                <a:cubicBezTo>
                  <a:pt x="147" y="180"/>
                  <a:pt x="147" y="177"/>
                  <a:pt x="149" y="180"/>
                </a:cubicBezTo>
                <a:cubicBezTo>
                  <a:pt x="149" y="181"/>
                  <a:pt x="150" y="183"/>
                  <a:pt x="150" y="183"/>
                </a:cubicBezTo>
                <a:cubicBezTo>
                  <a:pt x="151" y="184"/>
                  <a:pt x="150" y="185"/>
                  <a:pt x="149" y="185"/>
                </a:cubicBezTo>
                <a:cubicBezTo>
                  <a:pt x="148" y="184"/>
                  <a:pt x="147" y="182"/>
                  <a:pt x="146" y="181"/>
                </a:cubicBezTo>
                <a:cubicBezTo>
                  <a:pt x="145" y="181"/>
                  <a:pt x="144" y="181"/>
                  <a:pt x="143" y="181"/>
                </a:cubicBezTo>
                <a:cubicBezTo>
                  <a:pt x="143" y="181"/>
                  <a:pt x="142" y="182"/>
                  <a:pt x="142" y="182"/>
                </a:cubicBezTo>
                <a:cubicBezTo>
                  <a:pt x="143" y="183"/>
                  <a:pt x="143" y="182"/>
                  <a:pt x="144" y="183"/>
                </a:cubicBezTo>
                <a:cubicBezTo>
                  <a:pt x="145" y="182"/>
                  <a:pt x="144" y="184"/>
                  <a:pt x="144" y="184"/>
                </a:cubicBezTo>
                <a:cubicBezTo>
                  <a:pt x="145" y="184"/>
                  <a:pt x="144" y="186"/>
                  <a:pt x="143" y="187"/>
                </a:cubicBezTo>
                <a:cubicBezTo>
                  <a:pt x="142" y="187"/>
                  <a:pt x="142" y="186"/>
                  <a:pt x="141" y="187"/>
                </a:cubicBezTo>
                <a:cubicBezTo>
                  <a:pt x="141" y="186"/>
                  <a:pt x="141" y="181"/>
                  <a:pt x="140" y="181"/>
                </a:cubicBezTo>
                <a:cubicBezTo>
                  <a:pt x="140" y="181"/>
                  <a:pt x="139" y="183"/>
                  <a:pt x="140" y="183"/>
                </a:cubicBezTo>
                <a:cubicBezTo>
                  <a:pt x="139" y="183"/>
                  <a:pt x="139" y="183"/>
                  <a:pt x="139" y="183"/>
                </a:cubicBezTo>
                <a:cubicBezTo>
                  <a:pt x="139" y="183"/>
                  <a:pt x="139" y="185"/>
                  <a:pt x="139" y="185"/>
                </a:cubicBezTo>
                <a:cubicBezTo>
                  <a:pt x="139" y="186"/>
                  <a:pt x="137" y="186"/>
                  <a:pt x="137" y="187"/>
                </a:cubicBezTo>
                <a:cubicBezTo>
                  <a:pt x="137" y="188"/>
                  <a:pt x="137" y="188"/>
                  <a:pt x="137" y="188"/>
                </a:cubicBezTo>
                <a:cubicBezTo>
                  <a:pt x="136" y="188"/>
                  <a:pt x="137" y="183"/>
                  <a:pt x="137" y="183"/>
                </a:cubicBezTo>
                <a:cubicBezTo>
                  <a:pt x="135" y="182"/>
                  <a:pt x="135" y="182"/>
                  <a:pt x="135" y="182"/>
                </a:cubicBezTo>
                <a:cubicBezTo>
                  <a:pt x="133" y="185"/>
                  <a:pt x="132" y="187"/>
                  <a:pt x="130" y="189"/>
                </a:cubicBezTo>
                <a:cubicBezTo>
                  <a:pt x="129" y="189"/>
                  <a:pt x="129" y="188"/>
                  <a:pt x="128" y="189"/>
                </a:cubicBezTo>
                <a:cubicBezTo>
                  <a:pt x="128" y="187"/>
                  <a:pt x="129" y="186"/>
                  <a:pt x="128" y="185"/>
                </a:cubicBezTo>
                <a:cubicBezTo>
                  <a:pt x="128" y="185"/>
                  <a:pt x="127" y="186"/>
                  <a:pt x="126" y="185"/>
                </a:cubicBezTo>
                <a:cubicBezTo>
                  <a:pt x="125" y="187"/>
                  <a:pt x="124" y="187"/>
                  <a:pt x="124" y="190"/>
                </a:cubicBezTo>
                <a:cubicBezTo>
                  <a:pt x="124" y="190"/>
                  <a:pt x="126" y="190"/>
                  <a:pt x="126" y="191"/>
                </a:cubicBezTo>
                <a:cubicBezTo>
                  <a:pt x="126" y="192"/>
                  <a:pt x="127" y="196"/>
                  <a:pt x="126" y="196"/>
                </a:cubicBezTo>
                <a:cubicBezTo>
                  <a:pt x="125" y="194"/>
                  <a:pt x="125" y="193"/>
                  <a:pt x="124" y="192"/>
                </a:cubicBezTo>
                <a:cubicBezTo>
                  <a:pt x="121" y="190"/>
                  <a:pt x="121" y="193"/>
                  <a:pt x="123" y="194"/>
                </a:cubicBezTo>
                <a:cubicBezTo>
                  <a:pt x="125" y="193"/>
                  <a:pt x="122" y="196"/>
                  <a:pt x="122" y="196"/>
                </a:cubicBezTo>
                <a:cubicBezTo>
                  <a:pt x="122" y="196"/>
                  <a:pt x="121" y="196"/>
                  <a:pt x="122" y="195"/>
                </a:cubicBezTo>
                <a:cubicBezTo>
                  <a:pt x="121" y="195"/>
                  <a:pt x="120" y="195"/>
                  <a:pt x="120" y="195"/>
                </a:cubicBezTo>
                <a:cubicBezTo>
                  <a:pt x="119" y="194"/>
                  <a:pt x="120" y="194"/>
                  <a:pt x="118" y="193"/>
                </a:cubicBezTo>
                <a:cubicBezTo>
                  <a:pt x="118" y="194"/>
                  <a:pt x="118" y="197"/>
                  <a:pt x="118" y="199"/>
                </a:cubicBezTo>
                <a:cubicBezTo>
                  <a:pt x="115" y="199"/>
                  <a:pt x="115" y="199"/>
                  <a:pt x="115" y="199"/>
                </a:cubicBezTo>
                <a:cubicBezTo>
                  <a:pt x="115" y="201"/>
                  <a:pt x="115" y="202"/>
                  <a:pt x="114" y="204"/>
                </a:cubicBezTo>
                <a:cubicBezTo>
                  <a:pt x="113" y="205"/>
                  <a:pt x="113" y="205"/>
                  <a:pt x="113" y="205"/>
                </a:cubicBezTo>
                <a:cubicBezTo>
                  <a:pt x="114" y="205"/>
                  <a:pt x="114" y="209"/>
                  <a:pt x="113" y="209"/>
                </a:cubicBezTo>
                <a:cubicBezTo>
                  <a:pt x="113" y="210"/>
                  <a:pt x="112" y="209"/>
                  <a:pt x="111" y="209"/>
                </a:cubicBezTo>
                <a:cubicBezTo>
                  <a:pt x="110" y="211"/>
                  <a:pt x="110" y="211"/>
                  <a:pt x="110" y="211"/>
                </a:cubicBezTo>
                <a:cubicBezTo>
                  <a:pt x="109" y="211"/>
                  <a:pt x="107" y="211"/>
                  <a:pt x="106" y="211"/>
                </a:cubicBezTo>
                <a:cubicBezTo>
                  <a:pt x="105" y="211"/>
                  <a:pt x="105" y="213"/>
                  <a:pt x="104" y="213"/>
                </a:cubicBezTo>
                <a:cubicBezTo>
                  <a:pt x="104" y="214"/>
                  <a:pt x="104" y="215"/>
                  <a:pt x="104" y="215"/>
                </a:cubicBezTo>
                <a:cubicBezTo>
                  <a:pt x="105" y="215"/>
                  <a:pt x="107" y="216"/>
                  <a:pt x="109" y="215"/>
                </a:cubicBezTo>
                <a:cubicBezTo>
                  <a:pt x="110" y="215"/>
                  <a:pt x="110" y="213"/>
                  <a:pt x="112" y="213"/>
                </a:cubicBezTo>
                <a:cubicBezTo>
                  <a:pt x="113" y="213"/>
                  <a:pt x="112" y="215"/>
                  <a:pt x="112" y="215"/>
                </a:cubicBezTo>
                <a:cubicBezTo>
                  <a:pt x="106" y="216"/>
                  <a:pt x="107" y="216"/>
                  <a:pt x="107" y="223"/>
                </a:cubicBezTo>
                <a:cubicBezTo>
                  <a:pt x="104" y="218"/>
                  <a:pt x="104" y="218"/>
                  <a:pt x="98" y="219"/>
                </a:cubicBezTo>
                <a:cubicBezTo>
                  <a:pt x="98" y="220"/>
                  <a:pt x="98" y="220"/>
                  <a:pt x="98" y="220"/>
                </a:cubicBezTo>
                <a:cubicBezTo>
                  <a:pt x="100" y="220"/>
                  <a:pt x="100" y="220"/>
                  <a:pt x="100" y="220"/>
                </a:cubicBezTo>
                <a:cubicBezTo>
                  <a:pt x="100" y="220"/>
                  <a:pt x="101" y="220"/>
                  <a:pt x="102" y="220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101" y="222"/>
                  <a:pt x="100" y="223"/>
                </a:cubicBezTo>
                <a:cubicBezTo>
                  <a:pt x="101" y="223"/>
                  <a:pt x="102" y="222"/>
                  <a:pt x="103" y="223"/>
                </a:cubicBezTo>
                <a:cubicBezTo>
                  <a:pt x="103" y="224"/>
                  <a:pt x="100" y="228"/>
                  <a:pt x="104" y="227"/>
                </a:cubicBezTo>
                <a:cubicBezTo>
                  <a:pt x="104" y="227"/>
                  <a:pt x="104" y="228"/>
                  <a:pt x="104" y="229"/>
                </a:cubicBezTo>
                <a:cubicBezTo>
                  <a:pt x="102" y="229"/>
                  <a:pt x="100" y="229"/>
                  <a:pt x="98" y="229"/>
                </a:cubicBezTo>
                <a:cubicBezTo>
                  <a:pt x="97" y="231"/>
                  <a:pt x="96" y="232"/>
                  <a:pt x="98" y="233"/>
                </a:cubicBezTo>
                <a:cubicBezTo>
                  <a:pt x="98" y="234"/>
                  <a:pt x="98" y="234"/>
                  <a:pt x="98" y="234"/>
                </a:cubicBezTo>
                <a:cubicBezTo>
                  <a:pt x="97" y="235"/>
                  <a:pt x="96" y="234"/>
                  <a:pt x="95" y="234"/>
                </a:cubicBezTo>
                <a:cubicBezTo>
                  <a:pt x="94" y="235"/>
                  <a:pt x="94" y="237"/>
                  <a:pt x="93" y="238"/>
                </a:cubicBezTo>
                <a:cubicBezTo>
                  <a:pt x="92" y="238"/>
                  <a:pt x="90" y="237"/>
                  <a:pt x="88" y="238"/>
                </a:cubicBezTo>
                <a:cubicBezTo>
                  <a:pt x="87" y="238"/>
                  <a:pt x="88" y="240"/>
                  <a:pt x="88" y="240"/>
                </a:cubicBezTo>
                <a:cubicBezTo>
                  <a:pt x="86" y="241"/>
                  <a:pt x="84" y="242"/>
                  <a:pt x="82" y="243"/>
                </a:cubicBezTo>
                <a:cubicBezTo>
                  <a:pt x="82" y="243"/>
                  <a:pt x="82" y="245"/>
                  <a:pt x="82" y="245"/>
                </a:cubicBezTo>
                <a:cubicBezTo>
                  <a:pt x="85" y="245"/>
                  <a:pt x="84" y="247"/>
                  <a:pt x="82" y="246"/>
                </a:cubicBezTo>
                <a:cubicBezTo>
                  <a:pt x="83" y="249"/>
                  <a:pt x="82" y="249"/>
                  <a:pt x="83" y="251"/>
                </a:cubicBezTo>
                <a:cubicBezTo>
                  <a:pt x="83" y="251"/>
                  <a:pt x="78" y="255"/>
                  <a:pt x="78" y="255"/>
                </a:cubicBezTo>
                <a:cubicBezTo>
                  <a:pt x="77" y="255"/>
                  <a:pt x="76" y="255"/>
                  <a:pt x="75" y="255"/>
                </a:cubicBezTo>
                <a:cubicBezTo>
                  <a:pt x="75" y="255"/>
                  <a:pt x="75" y="257"/>
                  <a:pt x="75" y="257"/>
                </a:cubicBezTo>
                <a:cubicBezTo>
                  <a:pt x="74" y="258"/>
                  <a:pt x="72" y="257"/>
                  <a:pt x="71" y="257"/>
                </a:cubicBezTo>
                <a:cubicBezTo>
                  <a:pt x="71" y="257"/>
                  <a:pt x="70" y="259"/>
                  <a:pt x="69" y="259"/>
                </a:cubicBezTo>
                <a:cubicBezTo>
                  <a:pt x="70" y="260"/>
                  <a:pt x="73" y="264"/>
                  <a:pt x="70" y="265"/>
                </a:cubicBezTo>
                <a:cubicBezTo>
                  <a:pt x="68" y="265"/>
                  <a:pt x="66" y="264"/>
                  <a:pt x="65" y="264"/>
                </a:cubicBezTo>
                <a:cubicBezTo>
                  <a:pt x="62" y="264"/>
                  <a:pt x="64" y="267"/>
                  <a:pt x="64" y="267"/>
                </a:cubicBezTo>
                <a:cubicBezTo>
                  <a:pt x="63" y="268"/>
                  <a:pt x="62" y="267"/>
                  <a:pt x="61" y="268"/>
                </a:cubicBezTo>
                <a:cubicBezTo>
                  <a:pt x="61" y="268"/>
                  <a:pt x="61" y="270"/>
                  <a:pt x="61" y="270"/>
                </a:cubicBezTo>
                <a:cubicBezTo>
                  <a:pt x="59" y="270"/>
                  <a:pt x="59" y="268"/>
                  <a:pt x="58" y="269"/>
                </a:cubicBezTo>
                <a:cubicBezTo>
                  <a:pt x="57" y="270"/>
                  <a:pt x="58" y="271"/>
                  <a:pt x="57" y="272"/>
                </a:cubicBezTo>
                <a:cubicBezTo>
                  <a:pt x="57" y="272"/>
                  <a:pt x="54" y="275"/>
                  <a:pt x="53" y="275"/>
                </a:cubicBezTo>
                <a:cubicBezTo>
                  <a:pt x="52" y="276"/>
                  <a:pt x="52" y="278"/>
                  <a:pt x="51" y="279"/>
                </a:cubicBezTo>
                <a:cubicBezTo>
                  <a:pt x="51" y="280"/>
                  <a:pt x="51" y="280"/>
                  <a:pt x="51" y="280"/>
                </a:cubicBezTo>
                <a:cubicBezTo>
                  <a:pt x="50" y="280"/>
                  <a:pt x="49" y="279"/>
                  <a:pt x="48" y="280"/>
                </a:cubicBezTo>
                <a:cubicBezTo>
                  <a:pt x="48" y="282"/>
                  <a:pt x="49" y="282"/>
                  <a:pt x="49" y="284"/>
                </a:cubicBezTo>
                <a:cubicBezTo>
                  <a:pt x="54" y="282"/>
                  <a:pt x="57" y="280"/>
                  <a:pt x="61" y="277"/>
                </a:cubicBezTo>
                <a:cubicBezTo>
                  <a:pt x="60" y="278"/>
                  <a:pt x="60" y="279"/>
                  <a:pt x="59" y="280"/>
                </a:cubicBezTo>
                <a:cubicBezTo>
                  <a:pt x="58" y="282"/>
                  <a:pt x="55" y="282"/>
                  <a:pt x="54" y="284"/>
                </a:cubicBezTo>
                <a:cubicBezTo>
                  <a:pt x="53" y="285"/>
                  <a:pt x="54" y="286"/>
                  <a:pt x="53" y="287"/>
                </a:cubicBezTo>
                <a:cubicBezTo>
                  <a:pt x="51" y="287"/>
                  <a:pt x="49" y="287"/>
                  <a:pt x="47" y="286"/>
                </a:cubicBezTo>
                <a:cubicBezTo>
                  <a:pt x="47" y="285"/>
                  <a:pt x="47" y="284"/>
                  <a:pt x="47" y="283"/>
                </a:cubicBezTo>
                <a:cubicBezTo>
                  <a:pt x="47" y="283"/>
                  <a:pt x="46" y="282"/>
                  <a:pt x="45" y="282"/>
                </a:cubicBezTo>
                <a:cubicBezTo>
                  <a:pt x="42" y="284"/>
                  <a:pt x="43" y="285"/>
                  <a:pt x="38" y="283"/>
                </a:cubicBezTo>
                <a:cubicBezTo>
                  <a:pt x="38" y="287"/>
                  <a:pt x="38" y="287"/>
                  <a:pt x="38" y="287"/>
                </a:cubicBezTo>
                <a:cubicBezTo>
                  <a:pt x="39" y="286"/>
                  <a:pt x="38" y="289"/>
                  <a:pt x="38" y="289"/>
                </a:cubicBezTo>
                <a:cubicBezTo>
                  <a:pt x="37" y="289"/>
                  <a:pt x="35" y="288"/>
                  <a:pt x="35" y="289"/>
                </a:cubicBezTo>
                <a:cubicBezTo>
                  <a:pt x="33" y="290"/>
                  <a:pt x="36" y="293"/>
                  <a:pt x="33" y="292"/>
                </a:cubicBezTo>
                <a:cubicBezTo>
                  <a:pt x="33" y="291"/>
                  <a:pt x="33" y="291"/>
                  <a:pt x="32" y="291"/>
                </a:cubicBezTo>
                <a:cubicBezTo>
                  <a:pt x="32" y="291"/>
                  <a:pt x="32" y="294"/>
                  <a:pt x="32" y="294"/>
                </a:cubicBezTo>
                <a:cubicBezTo>
                  <a:pt x="31" y="295"/>
                  <a:pt x="31" y="293"/>
                  <a:pt x="31" y="293"/>
                </a:cubicBezTo>
                <a:cubicBezTo>
                  <a:pt x="30" y="293"/>
                  <a:pt x="24" y="293"/>
                  <a:pt x="23" y="293"/>
                </a:cubicBezTo>
                <a:cubicBezTo>
                  <a:pt x="23" y="293"/>
                  <a:pt x="23" y="295"/>
                  <a:pt x="23" y="296"/>
                </a:cubicBezTo>
                <a:cubicBezTo>
                  <a:pt x="24" y="296"/>
                  <a:pt x="25" y="296"/>
                  <a:pt x="25" y="296"/>
                </a:cubicBezTo>
                <a:cubicBezTo>
                  <a:pt x="25" y="297"/>
                  <a:pt x="26" y="296"/>
                  <a:pt x="26" y="298"/>
                </a:cubicBezTo>
                <a:cubicBezTo>
                  <a:pt x="26" y="298"/>
                  <a:pt x="23" y="300"/>
                  <a:pt x="23" y="300"/>
                </a:cubicBezTo>
                <a:cubicBezTo>
                  <a:pt x="23" y="300"/>
                  <a:pt x="24" y="301"/>
                  <a:pt x="23" y="302"/>
                </a:cubicBezTo>
                <a:cubicBezTo>
                  <a:pt x="23" y="301"/>
                  <a:pt x="22" y="300"/>
                  <a:pt x="22" y="300"/>
                </a:cubicBezTo>
                <a:cubicBezTo>
                  <a:pt x="21" y="300"/>
                  <a:pt x="18" y="300"/>
                  <a:pt x="17" y="300"/>
                </a:cubicBezTo>
                <a:cubicBezTo>
                  <a:pt x="18" y="301"/>
                  <a:pt x="16" y="304"/>
                  <a:pt x="16" y="304"/>
                </a:cubicBezTo>
                <a:cubicBezTo>
                  <a:pt x="19" y="304"/>
                  <a:pt x="26" y="304"/>
                  <a:pt x="19" y="306"/>
                </a:cubicBezTo>
                <a:cubicBezTo>
                  <a:pt x="17" y="307"/>
                  <a:pt x="18" y="306"/>
                  <a:pt x="18" y="308"/>
                </a:cubicBezTo>
                <a:cubicBezTo>
                  <a:pt x="17" y="307"/>
                  <a:pt x="17" y="305"/>
                  <a:pt x="15" y="306"/>
                </a:cubicBezTo>
                <a:cubicBezTo>
                  <a:pt x="15" y="306"/>
                  <a:pt x="15" y="308"/>
                  <a:pt x="15" y="308"/>
                </a:cubicBezTo>
                <a:cubicBezTo>
                  <a:pt x="12" y="307"/>
                  <a:pt x="12" y="308"/>
                  <a:pt x="9" y="308"/>
                </a:cubicBezTo>
                <a:cubicBezTo>
                  <a:pt x="9" y="308"/>
                  <a:pt x="8" y="309"/>
                  <a:pt x="8" y="309"/>
                </a:cubicBezTo>
                <a:cubicBezTo>
                  <a:pt x="7" y="309"/>
                  <a:pt x="7" y="308"/>
                  <a:pt x="6" y="308"/>
                </a:cubicBezTo>
                <a:cubicBezTo>
                  <a:pt x="6" y="308"/>
                  <a:pt x="6" y="311"/>
                  <a:pt x="6" y="311"/>
                </a:cubicBezTo>
                <a:cubicBezTo>
                  <a:pt x="9" y="311"/>
                  <a:pt x="10" y="311"/>
                  <a:pt x="13" y="312"/>
                </a:cubicBezTo>
                <a:cubicBezTo>
                  <a:pt x="12" y="312"/>
                  <a:pt x="15" y="312"/>
                  <a:pt x="15" y="312"/>
                </a:cubicBezTo>
                <a:cubicBezTo>
                  <a:pt x="15" y="312"/>
                  <a:pt x="14" y="313"/>
                  <a:pt x="14" y="314"/>
                </a:cubicBezTo>
                <a:cubicBezTo>
                  <a:pt x="10" y="313"/>
                  <a:pt x="6" y="313"/>
                  <a:pt x="3" y="314"/>
                </a:cubicBezTo>
                <a:cubicBezTo>
                  <a:pt x="4" y="317"/>
                  <a:pt x="4" y="318"/>
                  <a:pt x="3" y="321"/>
                </a:cubicBezTo>
                <a:cubicBezTo>
                  <a:pt x="4" y="321"/>
                  <a:pt x="5" y="321"/>
                  <a:pt x="5" y="321"/>
                </a:cubicBezTo>
                <a:cubicBezTo>
                  <a:pt x="7" y="320"/>
                  <a:pt x="6" y="318"/>
                  <a:pt x="9" y="320"/>
                </a:cubicBezTo>
                <a:cubicBezTo>
                  <a:pt x="9" y="320"/>
                  <a:pt x="10" y="321"/>
                  <a:pt x="11" y="322"/>
                </a:cubicBezTo>
                <a:cubicBezTo>
                  <a:pt x="11" y="321"/>
                  <a:pt x="13" y="322"/>
                  <a:pt x="13" y="322"/>
                </a:cubicBezTo>
                <a:cubicBezTo>
                  <a:pt x="13" y="321"/>
                  <a:pt x="13" y="320"/>
                  <a:pt x="13" y="319"/>
                </a:cubicBezTo>
                <a:cubicBezTo>
                  <a:pt x="14" y="319"/>
                  <a:pt x="14" y="318"/>
                  <a:pt x="15" y="318"/>
                </a:cubicBezTo>
                <a:cubicBezTo>
                  <a:pt x="15" y="319"/>
                  <a:pt x="16" y="320"/>
                  <a:pt x="16" y="320"/>
                </a:cubicBezTo>
                <a:cubicBezTo>
                  <a:pt x="17" y="320"/>
                  <a:pt x="17" y="319"/>
                  <a:pt x="19" y="320"/>
                </a:cubicBezTo>
                <a:cubicBezTo>
                  <a:pt x="19" y="320"/>
                  <a:pt x="19" y="321"/>
                  <a:pt x="20" y="322"/>
                </a:cubicBezTo>
                <a:cubicBezTo>
                  <a:pt x="21" y="321"/>
                  <a:pt x="20" y="320"/>
                  <a:pt x="22" y="320"/>
                </a:cubicBezTo>
                <a:cubicBezTo>
                  <a:pt x="22" y="320"/>
                  <a:pt x="22" y="321"/>
                  <a:pt x="22" y="322"/>
                </a:cubicBezTo>
                <a:cubicBezTo>
                  <a:pt x="21" y="322"/>
                  <a:pt x="20" y="322"/>
                  <a:pt x="19" y="322"/>
                </a:cubicBezTo>
                <a:cubicBezTo>
                  <a:pt x="18" y="324"/>
                  <a:pt x="18" y="324"/>
                  <a:pt x="18" y="324"/>
                </a:cubicBezTo>
                <a:cubicBezTo>
                  <a:pt x="16" y="324"/>
                  <a:pt x="17" y="322"/>
                  <a:pt x="16" y="322"/>
                </a:cubicBezTo>
                <a:cubicBezTo>
                  <a:pt x="16" y="322"/>
                  <a:pt x="7" y="322"/>
                  <a:pt x="6" y="322"/>
                </a:cubicBezTo>
                <a:cubicBezTo>
                  <a:pt x="5" y="324"/>
                  <a:pt x="5" y="324"/>
                  <a:pt x="5" y="324"/>
                </a:cubicBezTo>
                <a:cubicBezTo>
                  <a:pt x="3" y="324"/>
                  <a:pt x="4" y="323"/>
                  <a:pt x="3" y="323"/>
                </a:cubicBezTo>
                <a:cubicBezTo>
                  <a:pt x="3" y="324"/>
                  <a:pt x="3" y="324"/>
                  <a:pt x="3" y="324"/>
                </a:cubicBezTo>
                <a:cubicBezTo>
                  <a:pt x="4" y="325"/>
                  <a:pt x="6" y="325"/>
                  <a:pt x="7" y="326"/>
                </a:cubicBezTo>
                <a:cubicBezTo>
                  <a:pt x="7" y="326"/>
                  <a:pt x="8" y="327"/>
                  <a:pt x="7" y="326"/>
                </a:cubicBezTo>
                <a:cubicBezTo>
                  <a:pt x="7" y="326"/>
                  <a:pt x="7" y="328"/>
                  <a:pt x="7" y="328"/>
                </a:cubicBezTo>
                <a:cubicBezTo>
                  <a:pt x="6" y="328"/>
                  <a:pt x="4" y="328"/>
                  <a:pt x="4" y="328"/>
                </a:cubicBezTo>
                <a:cubicBezTo>
                  <a:pt x="3" y="329"/>
                  <a:pt x="5" y="330"/>
                  <a:pt x="5" y="330"/>
                </a:cubicBezTo>
                <a:cubicBezTo>
                  <a:pt x="0" y="331"/>
                  <a:pt x="5" y="330"/>
                  <a:pt x="3" y="332"/>
                </a:cubicBezTo>
                <a:cubicBezTo>
                  <a:pt x="4" y="331"/>
                  <a:pt x="5" y="332"/>
                  <a:pt x="7" y="332"/>
                </a:cubicBezTo>
                <a:cubicBezTo>
                  <a:pt x="7" y="332"/>
                  <a:pt x="7" y="331"/>
                  <a:pt x="7" y="331"/>
                </a:cubicBezTo>
                <a:cubicBezTo>
                  <a:pt x="8" y="331"/>
                  <a:pt x="10" y="331"/>
                  <a:pt x="9" y="332"/>
                </a:cubicBezTo>
                <a:cubicBezTo>
                  <a:pt x="10" y="331"/>
                  <a:pt x="10" y="333"/>
                  <a:pt x="7" y="333"/>
                </a:cubicBezTo>
                <a:cubicBezTo>
                  <a:pt x="7" y="333"/>
                  <a:pt x="7" y="335"/>
                  <a:pt x="7" y="335"/>
                </a:cubicBezTo>
                <a:cubicBezTo>
                  <a:pt x="9" y="335"/>
                  <a:pt x="9" y="334"/>
                  <a:pt x="11" y="334"/>
                </a:cubicBezTo>
                <a:cubicBezTo>
                  <a:pt x="11" y="335"/>
                  <a:pt x="11" y="336"/>
                  <a:pt x="11" y="337"/>
                </a:cubicBezTo>
                <a:cubicBezTo>
                  <a:pt x="13" y="337"/>
                  <a:pt x="13" y="337"/>
                  <a:pt x="13" y="337"/>
                </a:cubicBezTo>
                <a:cubicBezTo>
                  <a:pt x="14" y="336"/>
                  <a:pt x="14" y="333"/>
                  <a:pt x="17" y="332"/>
                </a:cubicBezTo>
                <a:cubicBezTo>
                  <a:pt x="18" y="331"/>
                  <a:pt x="20" y="331"/>
                  <a:pt x="21" y="331"/>
                </a:cubicBezTo>
                <a:cubicBezTo>
                  <a:pt x="22" y="331"/>
                  <a:pt x="20" y="332"/>
                  <a:pt x="19" y="334"/>
                </a:cubicBezTo>
                <a:cubicBezTo>
                  <a:pt x="19" y="334"/>
                  <a:pt x="17" y="333"/>
                  <a:pt x="17" y="334"/>
                </a:cubicBezTo>
                <a:cubicBezTo>
                  <a:pt x="16" y="334"/>
                  <a:pt x="17" y="335"/>
                  <a:pt x="16" y="337"/>
                </a:cubicBezTo>
                <a:cubicBezTo>
                  <a:pt x="15" y="338"/>
                  <a:pt x="15" y="338"/>
                  <a:pt x="15" y="338"/>
                </a:cubicBezTo>
                <a:cubicBezTo>
                  <a:pt x="14" y="338"/>
                  <a:pt x="13" y="339"/>
                  <a:pt x="13" y="340"/>
                </a:cubicBezTo>
                <a:cubicBezTo>
                  <a:pt x="13" y="340"/>
                  <a:pt x="14" y="342"/>
                  <a:pt x="13" y="342"/>
                </a:cubicBezTo>
                <a:cubicBezTo>
                  <a:pt x="12" y="344"/>
                  <a:pt x="8" y="343"/>
                  <a:pt x="7" y="344"/>
                </a:cubicBezTo>
                <a:cubicBezTo>
                  <a:pt x="6" y="345"/>
                  <a:pt x="6" y="347"/>
                  <a:pt x="5" y="348"/>
                </a:cubicBezTo>
                <a:cubicBezTo>
                  <a:pt x="6" y="348"/>
                  <a:pt x="8" y="348"/>
                  <a:pt x="9" y="348"/>
                </a:cubicBezTo>
                <a:cubicBezTo>
                  <a:pt x="11" y="349"/>
                  <a:pt x="7" y="350"/>
                  <a:pt x="10" y="350"/>
                </a:cubicBezTo>
                <a:cubicBezTo>
                  <a:pt x="10" y="349"/>
                  <a:pt x="10" y="348"/>
                  <a:pt x="10" y="348"/>
                </a:cubicBezTo>
                <a:cubicBezTo>
                  <a:pt x="12" y="348"/>
                  <a:pt x="12" y="347"/>
                  <a:pt x="14" y="348"/>
                </a:cubicBezTo>
                <a:cubicBezTo>
                  <a:pt x="14" y="347"/>
                  <a:pt x="14" y="346"/>
                  <a:pt x="15" y="346"/>
                </a:cubicBezTo>
                <a:cubicBezTo>
                  <a:pt x="16" y="345"/>
                  <a:pt x="15" y="348"/>
                  <a:pt x="14" y="348"/>
                </a:cubicBezTo>
                <a:cubicBezTo>
                  <a:pt x="16" y="349"/>
                  <a:pt x="13" y="355"/>
                  <a:pt x="13" y="356"/>
                </a:cubicBezTo>
                <a:cubicBezTo>
                  <a:pt x="12" y="357"/>
                  <a:pt x="11" y="356"/>
                  <a:pt x="10" y="357"/>
                </a:cubicBezTo>
                <a:cubicBezTo>
                  <a:pt x="10" y="358"/>
                  <a:pt x="10" y="360"/>
                  <a:pt x="10" y="361"/>
                </a:cubicBezTo>
                <a:cubicBezTo>
                  <a:pt x="12" y="362"/>
                  <a:pt x="15" y="367"/>
                  <a:pt x="19" y="365"/>
                </a:cubicBezTo>
                <a:cubicBezTo>
                  <a:pt x="20" y="365"/>
                  <a:pt x="19" y="364"/>
                  <a:pt x="21" y="364"/>
                </a:cubicBezTo>
                <a:cubicBezTo>
                  <a:pt x="20" y="367"/>
                  <a:pt x="20" y="367"/>
                  <a:pt x="20" y="367"/>
                </a:cubicBezTo>
                <a:cubicBezTo>
                  <a:pt x="22" y="367"/>
                  <a:pt x="25" y="368"/>
                  <a:pt x="27" y="367"/>
                </a:cubicBezTo>
                <a:cubicBezTo>
                  <a:pt x="27" y="367"/>
                  <a:pt x="28" y="365"/>
                  <a:pt x="29" y="365"/>
                </a:cubicBezTo>
                <a:cubicBezTo>
                  <a:pt x="30" y="365"/>
                  <a:pt x="31" y="365"/>
                  <a:pt x="32" y="365"/>
                </a:cubicBezTo>
                <a:cubicBezTo>
                  <a:pt x="33" y="364"/>
                  <a:pt x="34" y="362"/>
                  <a:pt x="35" y="362"/>
                </a:cubicBezTo>
                <a:cubicBezTo>
                  <a:pt x="36" y="361"/>
                  <a:pt x="38" y="362"/>
                  <a:pt x="39" y="361"/>
                </a:cubicBezTo>
                <a:cubicBezTo>
                  <a:pt x="40" y="360"/>
                  <a:pt x="42" y="357"/>
                  <a:pt x="43" y="357"/>
                </a:cubicBezTo>
                <a:cubicBezTo>
                  <a:pt x="44" y="356"/>
                  <a:pt x="46" y="357"/>
                  <a:pt x="47" y="357"/>
                </a:cubicBezTo>
                <a:cubicBezTo>
                  <a:pt x="50" y="356"/>
                  <a:pt x="53" y="352"/>
                  <a:pt x="56" y="351"/>
                </a:cubicBezTo>
                <a:cubicBezTo>
                  <a:pt x="56" y="351"/>
                  <a:pt x="58" y="351"/>
                  <a:pt x="58" y="351"/>
                </a:cubicBezTo>
                <a:cubicBezTo>
                  <a:pt x="58" y="352"/>
                  <a:pt x="58" y="353"/>
                  <a:pt x="58" y="355"/>
                </a:cubicBezTo>
                <a:close/>
                <a:moveTo>
                  <a:pt x="134" y="1"/>
                </a:moveTo>
                <a:cubicBezTo>
                  <a:pt x="134" y="1"/>
                  <a:pt x="133" y="3"/>
                  <a:pt x="133" y="4"/>
                </a:cubicBezTo>
                <a:cubicBezTo>
                  <a:pt x="134" y="5"/>
                  <a:pt x="134" y="4"/>
                  <a:pt x="135" y="6"/>
                </a:cubicBezTo>
                <a:cubicBezTo>
                  <a:pt x="129" y="8"/>
                  <a:pt x="132" y="6"/>
                  <a:pt x="130" y="12"/>
                </a:cubicBezTo>
                <a:cubicBezTo>
                  <a:pt x="129" y="11"/>
                  <a:pt x="128" y="12"/>
                  <a:pt x="127" y="12"/>
                </a:cubicBezTo>
                <a:cubicBezTo>
                  <a:pt x="127" y="12"/>
                  <a:pt x="126" y="9"/>
                  <a:pt x="126" y="9"/>
                </a:cubicBezTo>
                <a:cubicBezTo>
                  <a:pt x="122" y="8"/>
                  <a:pt x="121" y="9"/>
                  <a:pt x="118" y="8"/>
                </a:cubicBezTo>
                <a:cubicBezTo>
                  <a:pt x="118" y="9"/>
                  <a:pt x="117" y="10"/>
                  <a:pt x="118" y="10"/>
                </a:cubicBezTo>
                <a:cubicBezTo>
                  <a:pt x="119" y="11"/>
                  <a:pt x="119" y="12"/>
                  <a:pt x="119" y="12"/>
                </a:cubicBezTo>
                <a:cubicBezTo>
                  <a:pt x="121" y="12"/>
                  <a:pt x="124" y="12"/>
                  <a:pt x="127" y="12"/>
                </a:cubicBezTo>
                <a:cubicBezTo>
                  <a:pt x="127" y="13"/>
                  <a:pt x="127" y="14"/>
                  <a:pt x="127" y="14"/>
                </a:cubicBezTo>
                <a:cubicBezTo>
                  <a:pt x="126" y="15"/>
                  <a:pt x="127" y="15"/>
                  <a:pt x="126" y="16"/>
                </a:cubicBezTo>
                <a:cubicBezTo>
                  <a:pt x="125" y="16"/>
                  <a:pt x="124" y="16"/>
                  <a:pt x="122" y="16"/>
                </a:cubicBezTo>
                <a:cubicBezTo>
                  <a:pt x="122" y="17"/>
                  <a:pt x="122" y="19"/>
                  <a:pt x="122" y="20"/>
                </a:cubicBezTo>
                <a:cubicBezTo>
                  <a:pt x="123" y="20"/>
                  <a:pt x="128" y="22"/>
                  <a:pt x="130" y="22"/>
                </a:cubicBezTo>
                <a:cubicBezTo>
                  <a:pt x="131" y="22"/>
                  <a:pt x="134" y="20"/>
                  <a:pt x="134" y="20"/>
                </a:cubicBezTo>
                <a:cubicBezTo>
                  <a:pt x="138" y="19"/>
                  <a:pt x="143" y="20"/>
                  <a:pt x="146" y="20"/>
                </a:cubicBezTo>
                <a:cubicBezTo>
                  <a:pt x="145" y="22"/>
                  <a:pt x="145" y="22"/>
                  <a:pt x="145" y="22"/>
                </a:cubicBezTo>
                <a:cubicBezTo>
                  <a:pt x="142" y="23"/>
                  <a:pt x="139" y="22"/>
                  <a:pt x="136" y="23"/>
                </a:cubicBezTo>
                <a:cubicBezTo>
                  <a:pt x="136" y="23"/>
                  <a:pt x="136" y="25"/>
                  <a:pt x="136" y="25"/>
                </a:cubicBezTo>
                <a:cubicBezTo>
                  <a:pt x="136" y="25"/>
                  <a:pt x="133" y="25"/>
                  <a:pt x="134" y="24"/>
                </a:cubicBezTo>
                <a:cubicBezTo>
                  <a:pt x="132" y="24"/>
                  <a:pt x="132" y="24"/>
                  <a:pt x="130" y="23"/>
                </a:cubicBezTo>
                <a:cubicBezTo>
                  <a:pt x="130" y="24"/>
                  <a:pt x="130" y="24"/>
                  <a:pt x="129" y="24"/>
                </a:cubicBezTo>
                <a:cubicBezTo>
                  <a:pt x="130" y="26"/>
                  <a:pt x="129" y="28"/>
                  <a:pt x="131" y="28"/>
                </a:cubicBezTo>
                <a:cubicBezTo>
                  <a:pt x="135" y="30"/>
                  <a:pt x="138" y="28"/>
                  <a:pt x="142" y="28"/>
                </a:cubicBezTo>
                <a:cubicBezTo>
                  <a:pt x="144" y="30"/>
                  <a:pt x="144" y="30"/>
                  <a:pt x="144" y="30"/>
                </a:cubicBezTo>
                <a:cubicBezTo>
                  <a:pt x="145" y="30"/>
                  <a:pt x="148" y="29"/>
                  <a:pt x="150" y="30"/>
                </a:cubicBezTo>
                <a:cubicBezTo>
                  <a:pt x="150" y="30"/>
                  <a:pt x="151" y="32"/>
                  <a:pt x="152" y="32"/>
                </a:cubicBezTo>
                <a:cubicBezTo>
                  <a:pt x="153" y="32"/>
                  <a:pt x="155" y="31"/>
                  <a:pt x="157" y="32"/>
                </a:cubicBezTo>
                <a:cubicBezTo>
                  <a:pt x="158" y="32"/>
                  <a:pt x="162" y="34"/>
                  <a:pt x="164" y="34"/>
                </a:cubicBezTo>
                <a:cubicBezTo>
                  <a:pt x="167" y="34"/>
                  <a:pt x="169" y="33"/>
                  <a:pt x="172" y="33"/>
                </a:cubicBezTo>
                <a:cubicBezTo>
                  <a:pt x="172" y="33"/>
                  <a:pt x="175" y="34"/>
                  <a:pt x="177" y="34"/>
                </a:cubicBezTo>
                <a:cubicBezTo>
                  <a:pt x="180" y="33"/>
                  <a:pt x="179" y="28"/>
                  <a:pt x="179" y="28"/>
                </a:cubicBezTo>
                <a:cubicBezTo>
                  <a:pt x="180" y="27"/>
                  <a:pt x="187" y="27"/>
                  <a:pt x="188" y="26"/>
                </a:cubicBezTo>
                <a:cubicBezTo>
                  <a:pt x="188" y="26"/>
                  <a:pt x="189" y="25"/>
                  <a:pt x="190" y="25"/>
                </a:cubicBezTo>
                <a:cubicBezTo>
                  <a:pt x="191" y="25"/>
                  <a:pt x="188" y="24"/>
                  <a:pt x="188" y="24"/>
                </a:cubicBezTo>
                <a:cubicBezTo>
                  <a:pt x="188" y="24"/>
                  <a:pt x="188" y="22"/>
                  <a:pt x="188" y="22"/>
                </a:cubicBezTo>
                <a:cubicBezTo>
                  <a:pt x="190" y="22"/>
                  <a:pt x="191" y="22"/>
                  <a:pt x="193" y="22"/>
                </a:cubicBezTo>
                <a:cubicBezTo>
                  <a:pt x="193" y="22"/>
                  <a:pt x="198" y="14"/>
                  <a:pt x="199" y="12"/>
                </a:cubicBezTo>
                <a:cubicBezTo>
                  <a:pt x="195" y="13"/>
                  <a:pt x="195" y="13"/>
                  <a:pt x="192" y="12"/>
                </a:cubicBezTo>
                <a:cubicBezTo>
                  <a:pt x="192" y="12"/>
                  <a:pt x="186" y="11"/>
                  <a:pt x="186" y="11"/>
                </a:cubicBezTo>
                <a:cubicBezTo>
                  <a:pt x="185" y="11"/>
                  <a:pt x="187" y="10"/>
                  <a:pt x="187" y="10"/>
                </a:cubicBezTo>
                <a:cubicBezTo>
                  <a:pt x="187" y="9"/>
                  <a:pt x="187" y="9"/>
                  <a:pt x="187" y="9"/>
                </a:cubicBezTo>
                <a:cubicBezTo>
                  <a:pt x="187" y="8"/>
                  <a:pt x="187" y="8"/>
                  <a:pt x="187" y="8"/>
                </a:cubicBezTo>
                <a:cubicBezTo>
                  <a:pt x="187" y="8"/>
                  <a:pt x="184" y="8"/>
                  <a:pt x="186" y="8"/>
                </a:cubicBezTo>
                <a:cubicBezTo>
                  <a:pt x="185" y="9"/>
                  <a:pt x="184" y="10"/>
                  <a:pt x="184" y="10"/>
                </a:cubicBezTo>
                <a:cubicBezTo>
                  <a:pt x="182" y="10"/>
                  <a:pt x="183" y="11"/>
                  <a:pt x="181" y="11"/>
                </a:cubicBezTo>
                <a:cubicBezTo>
                  <a:pt x="177" y="12"/>
                  <a:pt x="181" y="10"/>
                  <a:pt x="182" y="8"/>
                </a:cubicBezTo>
                <a:cubicBezTo>
                  <a:pt x="182" y="8"/>
                  <a:pt x="181" y="7"/>
                  <a:pt x="182" y="6"/>
                </a:cubicBezTo>
                <a:cubicBezTo>
                  <a:pt x="180" y="7"/>
                  <a:pt x="178" y="8"/>
                  <a:pt x="177" y="9"/>
                </a:cubicBezTo>
                <a:cubicBezTo>
                  <a:pt x="176" y="10"/>
                  <a:pt x="176" y="13"/>
                  <a:pt x="174" y="13"/>
                </a:cubicBezTo>
                <a:cubicBezTo>
                  <a:pt x="173" y="13"/>
                  <a:pt x="172" y="13"/>
                  <a:pt x="171" y="13"/>
                </a:cubicBezTo>
                <a:cubicBezTo>
                  <a:pt x="172" y="8"/>
                  <a:pt x="172" y="9"/>
                  <a:pt x="170" y="4"/>
                </a:cubicBezTo>
                <a:cubicBezTo>
                  <a:pt x="169" y="9"/>
                  <a:pt x="169" y="14"/>
                  <a:pt x="166" y="8"/>
                </a:cubicBezTo>
                <a:cubicBezTo>
                  <a:pt x="164" y="11"/>
                  <a:pt x="164" y="11"/>
                  <a:pt x="162" y="14"/>
                </a:cubicBezTo>
                <a:cubicBezTo>
                  <a:pt x="161" y="13"/>
                  <a:pt x="159" y="11"/>
                  <a:pt x="158" y="11"/>
                </a:cubicBezTo>
                <a:cubicBezTo>
                  <a:pt x="157" y="11"/>
                  <a:pt x="156" y="11"/>
                  <a:pt x="155" y="11"/>
                </a:cubicBezTo>
                <a:cubicBezTo>
                  <a:pt x="154" y="11"/>
                  <a:pt x="154" y="9"/>
                  <a:pt x="153" y="8"/>
                </a:cubicBezTo>
                <a:cubicBezTo>
                  <a:pt x="153" y="8"/>
                  <a:pt x="151" y="9"/>
                  <a:pt x="150" y="9"/>
                </a:cubicBezTo>
                <a:cubicBezTo>
                  <a:pt x="150" y="9"/>
                  <a:pt x="144" y="7"/>
                  <a:pt x="144" y="6"/>
                </a:cubicBezTo>
                <a:cubicBezTo>
                  <a:pt x="142" y="3"/>
                  <a:pt x="142" y="3"/>
                  <a:pt x="142" y="3"/>
                </a:cubicBezTo>
                <a:cubicBezTo>
                  <a:pt x="140" y="2"/>
                  <a:pt x="139" y="4"/>
                  <a:pt x="138" y="4"/>
                </a:cubicBezTo>
                <a:cubicBezTo>
                  <a:pt x="137" y="3"/>
                  <a:pt x="136" y="1"/>
                  <a:pt x="136" y="1"/>
                </a:cubicBezTo>
                <a:cubicBezTo>
                  <a:pt x="135" y="0"/>
                  <a:pt x="134" y="1"/>
                  <a:pt x="134" y="1"/>
                </a:cubicBezTo>
                <a:close/>
                <a:moveTo>
                  <a:pt x="142" y="56"/>
                </a:moveTo>
                <a:cubicBezTo>
                  <a:pt x="141" y="56"/>
                  <a:pt x="140" y="57"/>
                  <a:pt x="139" y="58"/>
                </a:cubicBezTo>
                <a:cubicBezTo>
                  <a:pt x="139" y="57"/>
                  <a:pt x="139" y="61"/>
                  <a:pt x="139" y="61"/>
                </a:cubicBezTo>
                <a:cubicBezTo>
                  <a:pt x="140" y="61"/>
                  <a:pt x="141" y="61"/>
                  <a:pt x="141" y="62"/>
                </a:cubicBezTo>
                <a:cubicBezTo>
                  <a:pt x="141" y="62"/>
                  <a:pt x="141" y="64"/>
                  <a:pt x="140" y="64"/>
                </a:cubicBezTo>
                <a:cubicBezTo>
                  <a:pt x="140" y="65"/>
                  <a:pt x="138" y="65"/>
                  <a:pt x="138" y="66"/>
                </a:cubicBezTo>
                <a:cubicBezTo>
                  <a:pt x="138" y="66"/>
                  <a:pt x="139" y="68"/>
                  <a:pt x="138" y="68"/>
                </a:cubicBezTo>
                <a:cubicBezTo>
                  <a:pt x="141" y="68"/>
                  <a:pt x="148" y="65"/>
                  <a:pt x="150" y="66"/>
                </a:cubicBezTo>
                <a:cubicBezTo>
                  <a:pt x="150" y="66"/>
                  <a:pt x="150" y="68"/>
                  <a:pt x="150" y="68"/>
                </a:cubicBezTo>
                <a:cubicBezTo>
                  <a:pt x="150" y="69"/>
                  <a:pt x="150" y="69"/>
                  <a:pt x="150" y="69"/>
                </a:cubicBezTo>
                <a:cubicBezTo>
                  <a:pt x="150" y="69"/>
                  <a:pt x="152" y="69"/>
                  <a:pt x="153" y="69"/>
                </a:cubicBezTo>
                <a:cubicBezTo>
                  <a:pt x="155" y="68"/>
                  <a:pt x="155" y="68"/>
                  <a:pt x="155" y="68"/>
                </a:cubicBezTo>
                <a:cubicBezTo>
                  <a:pt x="156" y="67"/>
                  <a:pt x="158" y="68"/>
                  <a:pt x="159" y="68"/>
                </a:cubicBezTo>
                <a:cubicBezTo>
                  <a:pt x="160" y="67"/>
                  <a:pt x="161" y="66"/>
                  <a:pt x="162" y="66"/>
                </a:cubicBezTo>
                <a:cubicBezTo>
                  <a:pt x="164" y="65"/>
                  <a:pt x="166" y="66"/>
                  <a:pt x="168" y="66"/>
                </a:cubicBezTo>
                <a:cubicBezTo>
                  <a:pt x="168" y="66"/>
                  <a:pt x="170" y="64"/>
                  <a:pt x="170" y="64"/>
                </a:cubicBezTo>
                <a:cubicBezTo>
                  <a:pt x="171" y="63"/>
                  <a:pt x="169" y="61"/>
                  <a:pt x="170" y="60"/>
                </a:cubicBezTo>
                <a:cubicBezTo>
                  <a:pt x="166" y="61"/>
                  <a:pt x="164" y="62"/>
                  <a:pt x="161" y="60"/>
                </a:cubicBezTo>
                <a:cubicBezTo>
                  <a:pt x="158" y="59"/>
                  <a:pt x="157" y="54"/>
                  <a:pt x="152" y="54"/>
                </a:cubicBezTo>
                <a:cubicBezTo>
                  <a:pt x="151" y="56"/>
                  <a:pt x="151" y="56"/>
                  <a:pt x="151" y="56"/>
                </a:cubicBezTo>
                <a:cubicBezTo>
                  <a:pt x="148" y="56"/>
                  <a:pt x="146" y="54"/>
                  <a:pt x="143" y="55"/>
                </a:cubicBezTo>
                <a:lnTo>
                  <a:pt x="142" y="56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4" name="Google Shape;484;p102"/>
          <p:cNvSpPr/>
          <p:nvPr/>
        </p:nvSpPr>
        <p:spPr>
          <a:xfrm>
            <a:off x="9336081" y="3363740"/>
            <a:ext cx="149644" cy="199201"/>
          </a:xfrm>
          <a:custGeom>
            <a:avLst/>
            <a:gdLst/>
            <a:ahLst/>
            <a:cxnLst/>
            <a:rect l="l" t="t" r="r" b="b"/>
            <a:pathLst>
              <a:path w="52" h="72" extrusionOk="0">
                <a:moveTo>
                  <a:pt x="32" y="64"/>
                </a:moveTo>
                <a:cubicBezTo>
                  <a:pt x="31" y="64"/>
                  <a:pt x="30" y="63"/>
                  <a:pt x="30" y="62"/>
                </a:cubicBezTo>
                <a:cubicBezTo>
                  <a:pt x="30" y="62"/>
                  <a:pt x="30" y="58"/>
                  <a:pt x="30" y="57"/>
                </a:cubicBezTo>
                <a:cubicBezTo>
                  <a:pt x="29" y="56"/>
                  <a:pt x="22" y="53"/>
                  <a:pt x="21" y="53"/>
                </a:cubicBezTo>
                <a:cubicBezTo>
                  <a:pt x="22" y="52"/>
                  <a:pt x="23" y="51"/>
                  <a:pt x="24" y="49"/>
                </a:cubicBezTo>
                <a:cubicBezTo>
                  <a:pt x="24" y="48"/>
                  <a:pt x="23" y="46"/>
                  <a:pt x="24" y="45"/>
                </a:cubicBezTo>
                <a:cubicBezTo>
                  <a:pt x="24" y="44"/>
                  <a:pt x="28" y="43"/>
                  <a:pt x="30" y="42"/>
                </a:cubicBezTo>
                <a:cubicBezTo>
                  <a:pt x="31" y="41"/>
                  <a:pt x="33" y="36"/>
                  <a:pt x="34" y="35"/>
                </a:cubicBezTo>
                <a:cubicBezTo>
                  <a:pt x="35" y="35"/>
                  <a:pt x="37" y="35"/>
                  <a:pt x="38" y="35"/>
                </a:cubicBezTo>
                <a:cubicBezTo>
                  <a:pt x="39" y="34"/>
                  <a:pt x="39" y="32"/>
                  <a:pt x="40" y="31"/>
                </a:cubicBezTo>
                <a:cubicBezTo>
                  <a:pt x="41" y="31"/>
                  <a:pt x="42" y="31"/>
                  <a:pt x="42" y="31"/>
                </a:cubicBezTo>
                <a:cubicBezTo>
                  <a:pt x="43" y="27"/>
                  <a:pt x="40" y="24"/>
                  <a:pt x="41" y="20"/>
                </a:cubicBezTo>
                <a:cubicBezTo>
                  <a:pt x="41" y="19"/>
                  <a:pt x="42" y="19"/>
                  <a:pt x="43" y="19"/>
                </a:cubicBezTo>
                <a:cubicBezTo>
                  <a:pt x="43" y="19"/>
                  <a:pt x="43" y="16"/>
                  <a:pt x="44" y="16"/>
                </a:cubicBezTo>
                <a:cubicBezTo>
                  <a:pt x="44" y="15"/>
                  <a:pt x="46" y="16"/>
                  <a:pt x="47" y="16"/>
                </a:cubicBezTo>
                <a:cubicBezTo>
                  <a:pt x="48" y="15"/>
                  <a:pt x="51" y="9"/>
                  <a:pt x="52" y="9"/>
                </a:cubicBezTo>
                <a:cubicBezTo>
                  <a:pt x="52" y="9"/>
                  <a:pt x="52" y="9"/>
                  <a:pt x="52" y="9"/>
                </a:cubicBezTo>
                <a:cubicBezTo>
                  <a:pt x="46" y="0"/>
                  <a:pt x="46" y="0"/>
                  <a:pt x="46" y="0"/>
                </a:cubicBezTo>
                <a:cubicBezTo>
                  <a:pt x="45" y="6"/>
                  <a:pt x="45" y="6"/>
                  <a:pt x="45" y="6"/>
                </a:cubicBezTo>
                <a:cubicBezTo>
                  <a:pt x="41" y="8"/>
                  <a:pt x="41" y="8"/>
                  <a:pt x="41" y="8"/>
                </a:cubicBezTo>
                <a:cubicBezTo>
                  <a:pt x="41" y="10"/>
                  <a:pt x="41" y="10"/>
                  <a:pt x="41" y="10"/>
                </a:cubicBezTo>
                <a:cubicBezTo>
                  <a:pt x="39" y="12"/>
                  <a:pt x="39" y="12"/>
                  <a:pt x="39" y="12"/>
                </a:cubicBezTo>
                <a:cubicBezTo>
                  <a:pt x="35" y="12"/>
                  <a:pt x="35" y="12"/>
                  <a:pt x="35" y="12"/>
                </a:cubicBezTo>
                <a:cubicBezTo>
                  <a:pt x="32" y="14"/>
                  <a:pt x="32" y="14"/>
                  <a:pt x="32" y="14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20"/>
                  <a:pt x="32" y="20"/>
                  <a:pt x="32" y="20"/>
                </a:cubicBezTo>
                <a:cubicBezTo>
                  <a:pt x="28" y="19"/>
                  <a:pt x="28" y="19"/>
                  <a:pt x="28" y="19"/>
                </a:cubicBezTo>
                <a:cubicBezTo>
                  <a:pt x="24" y="18"/>
                  <a:pt x="24" y="18"/>
                  <a:pt x="24" y="18"/>
                </a:cubicBezTo>
                <a:cubicBezTo>
                  <a:pt x="22" y="15"/>
                  <a:pt x="22" y="15"/>
                  <a:pt x="22" y="15"/>
                </a:cubicBezTo>
                <a:cubicBezTo>
                  <a:pt x="18" y="16"/>
                  <a:pt x="18" y="16"/>
                  <a:pt x="18" y="16"/>
                </a:cubicBezTo>
                <a:cubicBezTo>
                  <a:pt x="19" y="21"/>
                  <a:pt x="19" y="21"/>
                  <a:pt x="19" y="21"/>
                </a:cubicBezTo>
                <a:cubicBezTo>
                  <a:pt x="13" y="26"/>
                  <a:pt x="13" y="26"/>
                  <a:pt x="13" y="26"/>
                </a:cubicBezTo>
                <a:cubicBezTo>
                  <a:pt x="11" y="30"/>
                  <a:pt x="11" y="30"/>
                  <a:pt x="11" y="30"/>
                </a:cubicBezTo>
                <a:cubicBezTo>
                  <a:pt x="7" y="36"/>
                  <a:pt x="7" y="36"/>
                  <a:pt x="7" y="36"/>
                </a:cubicBezTo>
                <a:cubicBezTo>
                  <a:pt x="4" y="39"/>
                  <a:pt x="4" y="39"/>
                  <a:pt x="4" y="39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6"/>
                  <a:pt x="1" y="47"/>
                  <a:pt x="1" y="47"/>
                </a:cubicBezTo>
                <a:cubicBezTo>
                  <a:pt x="2" y="48"/>
                  <a:pt x="4" y="48"/>
                  <a:pt x="5" y="49"/>
                </a:cubicBezTo>
                <a:cubicBezTo>
                  <a:pt x="4" y="54"/>
                  <a:pt x="4" y="54"/>
                  <a:pt x="7" y="57"/>
                </a:cubicBezTo>
                <a:cubicBezTo>
                  <a:pt x="1" y="59"/>
                  <a:pt x="1" y="59"/>
                  <a:pt x="0" y="65"/>
                </a:cubicBezTo>
                <a:cubicBezTo>
                  <a:pt x="1" y="65"/>
                  <a:pt x="3" y="66"/>
                  <a:pt x="5" y="67"/>
                </a:cubicBezTo>
                <a:cubicBezTo>
                  <a:pt x="3" y="69"/>
                  <a:pt x="3" y="69"/>
                  <a:pt x="6" y="71"/>
                </a:cubicBezTo>
                <a:cubicBezTo>
                  <a:pt x="7" y="72"/>
                  <a:pt x="7" y="72"/>
                  <a:pt x="7" y="72"/>
                </a:cubicBezTo>
                <a:cubicBezTo>
                  <a:pt x="8" y="72"/>
                  <a:pt x="9" y="70"/>
                  <a:pt x="10" y="70"/>
                </a:cubicBezTo>
                <a:cubicBezTo>
                  <a:pt x="13" y="69"/>
                  <a:pt x="13" y="70"/>
                  <a:pt x="16" y="70"/>
                </a:cubicBezTo>
                <a:cubicBezTo>
                  <a:pt x="21" y="65"/>
                  <a:pt x="21" y="65"/>
                  <a:pt x="21" y="65"/>
                </a:cubicBezTo>
                <a:cubicBezTo>
                  <a:pt x="23" y="64"/>
                  <a:pt x="23" y="64"/>
                  <a:pt x="23" y="64"/>
                </a:cubicBezTo>
                <a:cubicBezTo>
                  <a:pt x="23" y="64"/>
                  <a:pt x="26" y="66"/>
                  <a:pt x="28" y="66"/>
                </a:cubicBezTo>
                <a:cubicBezTo>
                  <a:pt x="30" y="66"/>
                  <a:pt x="32" y="64"/>
                  <a:pt x="32" y="64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5" name="Google Shape;485;p102"/>
          <p:cNvSpPr/>
          <p:nvPr/>
        </p:nvSpPr>
        <p:spPr>
          <a:xfrm>
            <a:off x="6302135" y="4283455"/>
            <a:ext cx="300754" cy="302333"/>
          </a:xfrm>
          <a:custGeom>
            <a:avLst/>
            <a:gdLst/>
            <a:ahLst/>
            <a:cxnLst/>
            <a:rect l="l" t="t" r="r" b="b"/>
            <a:pathLst>
              <a:path w="105" h="109" extrusionOk="0">
                <a:moveTo>
                  <a:pt x="51" y="104"/>
                </a:moveTo>
                <a:cubicBezTo>
                  <a:pt x="51" y="100"/>
                  <a:pt x="51" y="100"/>
                  <a:pt x="51" y="100"/>
                </a:cubicBezTo>
                <a:cubicBezTo>
                  <a:pt x="52" y="97"/>
                  <a:pt x="52" y="97"/>
                  <a:pt x="52" y="97"/>
                </a:cubicBezTo>
                <a:cubicBezTo>
                  <a:pt x="52" y="97"/>
                  <a:pt x="51" y="96"/>
                  <a:pt x="51" y="94"/>
                </a:cubicBezTo>
                <a:cubicBezTo>
                  <a:pt x="51" y="92"/>
                  <a:pt x="50" y="92"/>
                  <a:pt x="52" y="91"/>
                </a:cubicBezTo>
                <a:cubicBezTo>
                  <a:pt x="53" y="91"/>
                  <a:pt x="53" y="88"/>
                  <a:pt x="54" y="85"/>
                </a:cubicBezTo>
                <a:cubicBezTo>
                  <a:pt x="54" y="83"/>
                  <a:pt x="58" y="84"/>
                  <a:pt x="60" y="82"/>
                </a:cubicBezTo>
                <a:cubicBezTo>
                  <a:pt x="62" y="80"/>
                  <a:pt x="63" y="81"/>
                  <a:pt x="63" y="81"/>
                </a:cubicBezTo>
                <a:cubicBezTo>
                  <a:pt x="63" y="81"/>
                  <a:pt x="64" y="81"/>
                  <a:pt x="66" y="82"/>
                </a:cubicBezTo>
                <a:cubicBezTo>
                  <a:pt x="68" y="83"/>
                  <a:pt x="67" y="86"/>
                  <a:pt x="67" y="88"/>
                </a:cubicBezTo>
                <a:cubicBezTo>
                  <a:pt x="71" y="89"/>
                  <a:pt x="71" y="84"/>
                  <a:pt x="73" y="83"/>
                </a:cubicBezTo>
                <a:cubicBezTo>
                  <a:pt x="75" y="82"/>
                  <a:pt x="73" y="80"/>
                  <a:pt x="73" y="78"/>
                </a:cubicBezTo>
                <a:cubicBezTo>
                  <a:pt x="73" y="76"/>
                  <a:pt x="74" y="75"/>
                  <a:pt x="75" y="72"/>
                </a:cubicBezTo>
                <a:cubicBezTo>
                  <a:pt x="76" y="70"/>
                  <a:pt x="78" y="71"/>
                  <a:pt x="79" y="68"/>
                </a:cubicBezTo>
                <a:cubicBezTo>
                  <a:pt x="80" y="65"/>
                  <a:pt x="79" y="65"/>
                  <a:pt x="81" y="64"/>
                </a:cubicBezTo>
                <a:cubicBezTo>
                  <a:pt x="83" y="62"/>
                  <a:pt x="82" y="61"/>
                  <a:pt x="82" y="58"/>
                </a:cubicBezTo>
                <a:cubicBezTo>
                  <a:pt x="83" y="55"/>
                  <a:pt x="83" y="55"/>
                  <a:pt x="85" y="54"/>
                </a:cubicBezTo>
                <a:cubicBezTo>
                  <a:pt x="87" y="54"/>
                  <a:pt x="90" y="52"/>
                  <a:pt x="91" y="51"/>
                </a:cubicBezTo>
                <a:cubicBezTo>
                  <a:pt x="93" y="50"/>
                  <a:pt x="91" y="47"/>
                  <a:pt x="91" y="47"/>
                </a:cubicBezTo>
                <a:cubicBezTo>
                  <a:pt x="91" y="47"/>
                  <a:pt x="91" y="44"/>
                  <a:pt x="93" y="43"/>
                </a:cubicBezTo>
                <a:cubicBezTo>
                  <a:pt x="94" y="43"/>
                  <a:pt x="94" y="41"/>
                  <a:pt x="95" y="39"/>
                </a:cubicBezTo>
                <a:cubicBezTo>
                  <a:pt x="96" y="37"/>
                  <a:pt x="94" y="36"/>
                  <a:pt x="96" y="35"/>
                </a:cubicBezTo>
                <a:cubicBezTo>
                  <a:pt x="97" y="33"/>
                  <a:pt x="99" y="31"/>
                  <a:pt x="99" y="30"/>
                </a:cubicBezTo>
                <a:cubicBezTo>
                  <a:pt x="99" y="28"/>
                  <a:pt x="100" y="28"/>
                  <a:pt x="102" y="28"/>
                </a:cubicBezTo>
                <a:cubicBezTo>
                  <a:pt x="104" y="28"/>
                  <a:pt x="105" y="21"/>
                  <a:pt x="105" y="20"/>
                </a:cubicBezTo>
                <a:cubicBezTo>
                  <a:pt x="105" y="18"/>
                  <a:pt x="102" y="17"/>
                  <a:pt x="102" y="17"/>
                </a:cubicBezTo>
                <a:cubicBezTo>
                  <a:pt x="103" y="9"/>
                  <a:pt x="103" y="9"/>
                  <a:pt x="103" y="9"/>
                </a:cubicBezTo>
                <a:cubicBezTo>
                  <a:pt x="98" y="0"/>
                  <a:pt x="98" y="0"/>
                  <a:pt x="98" y="0"/>
                </a:cubicBezTo>
                <a:cubicBezTo>
                  <a:pt x="93" y="2"/>
                  <a:pt x="93" y="2"/>
                  <a:pt x="93" y="2"/>
                </a:cubicBezTo>
                <a:cubicBezTo>
                  <a:pt x="93" y="2"/>
                  <a:pt x="91" y="6"/>
                  <a:pt x="88" y="6"/>
                </a:cubicBezTo>
                <a:cubicBezTo>
                  <a:pt x="85" y="6"/>
                  <a:pt x="82" y="7"/>
                  <a:pt x="78" y="6"/>
                </a:cubicBezTo>
                <a:cubicBezTo>
                  <a:pt x="74" y="4"/>
                  <a:pt x="71" y="6"/>
                  <a:pt x="69" y="6"/>
                </a:cubicBezTo>
                <a:cubicBezTo>
                  <a:pt x="67" y="6"/>
                  <a:pt x="64" y="7"/>
                  <a:pt x="63" y="9"/>
                </a:cubicBezTo>
                <a:cubicBezTo>
                  <a:pt x="63" y="10"/>
                  <a:pt x="60" y="9"/>
                  <a:pt x="55" y="9"/>
                </a:cubicBezTo>
                <a:cubicBezTo>
                  <a:pt x="50" y="9"/>
                  <a:pt x="52" y="8"/>
                  <a:pt x="51" y="7"/>
                </a:cubicBezTo>
                <a:cubicBezTo>
                  <a:pt x="49" y="5"/>
                  <a:pt x="46" y="6"/>
                  <a:pt x="44" y="7"/>
                </a:cubicBezTo>
                <a:cubicBezTo>
                  <a:pt x="42" y="9"/>
                  <a:pt x="38" y="8"/>
                  <a:pt x="38" y="8"/>
                </a:cubicBezTo>
                <a:cubicBezTo>
                  <a:pt x="38" y="8"/>
                  <a:pt x="36" y="3"/>
                  <a:pt x="34" y="3"/>
                </a:cubicBezTo>
                <a:cubicBezTo>
                  <a:pt x="32" y="3"/>
                  <a:pt x="32" y="1"/>
                  <a:pt x="30" y="1"/>
                </a:cubicBezTo>
                <a:cubicBezTo>
                  <a:pt x="27" y="1"/>
                  <a:pt x="25" y="1"/>
                  <a:pt x="23" y="2"/>
                </a:cubicBezTo>
                <a:cubicBezTo>
                  <a:pt x="20" y="3"/>
                  <a:pt x="14" y="6"/>
                  <a:pt x="14" y="6"/>
                </a:cubicBezTo>
                <a:cubicBezTo>
                  <a:pt x="14" y="6"/>
                  <a:pt x="14" y="9"/>
                  <a:pt x="14" y="11"/>
                </a:cubicBezTo>
                <a:cubicBezTo>
                  <a:pt x="14" y="13"/>
                  <a:pt x="10" y="16"/>
                  <a:pt x="10" y="16"/>
                </a:cubicBezTo>
                <a:cubicBezTo>
                  <a:pt x="7" y="23"/>
                  <a:pt x="7" y="23"/>
                  <a:pt x="7" y="23"/>
                </a:cubicBezTo>
                <a:cubicBezTo>
                  <a:pt x="7" y="23"/>
                  <a:pt x="8" y="27"/>
                  <a:pt x="7" y="28"/>
                </a:cubicBezTo>
                <a:cubicBezTo>
                  <a:pt x="5" y="29"/>
                  <a:pt x="6" y="30"/>
                  <a:pt x="8" y="31"/>
                </a:cubicBezTo>
                <a:cubicBezTo>
                  <a:pt x="10" y="32"/>
                  <a:pt x="10" y="33"/>
                  <a:pt x="9" y="36"/>
                </a:cubicBezTo>
                <a:cubicBezTo>
                  <a:pt x="8" y="39"/>
                  <a:pt x="10" y="41"/>
                  <a:pt x="9" y="41"/>
                </a:cubicBezTo>
                <a:cubicBezTo>
                  <a:pt x="7" y="41"/>
                  <a:pt x="7" y="42"/>
                  <a:pt x="7" y="45"/>
                </a:cubicBezTo>
                <a:cubicBezTo>
                  <a:pt x="7" y="47"/>
                  <a:pt x="7" y="48"/>
                  <a:pt x="6" y="50"/>
                </a:cubicBezTo>
                <a:cubicBezTo>
                  <a:pt x="5" y="52"/>
                  <a:pt x="3" y="52"/>
                  <a:pt x="5" y="54"/>
                </a:cubicBezTo>
                <a:cubicBezTo>
                  <a:pt x="6" y="56"/>
                  <a:pt x="5" y="58"/>
                  <a:pt x="3" y="57"/>
                </a:cubicBezTo>
                <a:cubicBezTo>
                  <a:pt x="1" y="56"/>
                  <a:pt x="1" y="58"/>
                  <a:pt x="2" y="60"/>
                </a:cubicBezTo>
                <a:cubicBezTo>
                  <a:pt x="3" y="62"/>
                  <a:pt x="0" y="70"/>
                  <a:pt x="2" y="72"/>
                </a:cubicBezTo>
                <a:cubicBezTo>
                  <a:pt x="3" y="74"/>
                  <a:pt x="3" y="76"/>
                  <a:pt x="3" y="78"/>
                </a:cubicBezTo>
                <a:cubicBezTo>
                  <a:pt x="3" y="80"/>
                  <a:pt x="2" y="85"/>
                  <a:pt x="2" y="85"/>
                </a:cubicBezTo>
                <a:cubicBezTo>
                  <a:pt x="5" y="84"/>
                  <a:pt x="8" y="84"/>
                  <a:pt x="9" y="84"/>
                </a:cubicBezTo>
                <a:cubicBezTo>
                  <a:pt x="9" y="84"/>
                  <a:pt x="8" y="85"/>
                  <a:pt x="8" y="86"/>
                </a:cubicBezTo>
                <a:cubicBezTo>
                  <a:pt x="10" y="86"/>
                  <a:pt x="15" y="85"/>
                  <a:pt x="17" y="86"/>
                </a:cubicBezTo>
                <a:cubicBezTo>
                  <a:pt x="19" y="86"/>
                  <a:pt x="20" y="90"/>
                  <a:pt x="22" y="91"/>
                </a:cubicBezTo>
                <a:cubicBezTo>
                  <a:pt x="23" y="91"/>
                  <a:pt x="25" y="91"/>
                  <a:pt x="25" y="91"/>
                </a:cubicBezTo>
                <a:cubicBezTo>
                  <a:pt x="25" y="91"/>
                  <a:pt x="25" y="93"/>
                  <a:pt x="25" y="94"/>
                </a:cubicBezTo>
                <a:cubicBezTo>
                  <a:pt x="26" y="94"/>
                  <a:pt x="26" y="94"/>
                  <a:pt x="26" y="94"/>
                </a:cubicBezTo>
                <a:cubicBezTo>
                  <a:pt x="27" y="95"/>
                  <a:pt x="27" y="96"/>
                  <a:pt x="28" y="98"/>
                </a:cubicBezTo>
                <a:cubicBezTo>
                  <a:pt x="28" y="98"/>
                  <a:pt x="28" y="98"/>
                  <a:pt x="28" y="98"/>
                </a:cubicBezTo>
                <a:cubicBezTo>
                  <a:pt x="28" y="98"/>
                  <a:pt x="27" y="99"/>
                  <a:pt x="26" y="100"/>
                </a:cubicBezTo>
                <a:cubicBezTo>
                  <a:pt x="27" y="103"/>
                  <a:pt x="29" y="106"/>
                  <a:pt x="31" y="109"/>
                </a:cubicBezTo>
                <a:cubicBezTo>
                  <a:pt x="34" y="109"/>
                  <a:pt x="35" y="109"/>
                  <a:pt x="38" y="108"/>
                </a:cubicBezTo>
                <a:cubicBezTo>
                  <a:pt x="38" y="107"/>
                  <a:pt x="38" y="107"/>
                  <a:pt x="38" y="107"/>
                </a:cubicBezTo>
                <a:cubicBezTo>
                  <a:pt x="39" y="107"/>
                  <a:pt x="39" y="108"/>
                  <a:pt x="41" y="108"/>
                </a:cubicBezTo>
                <a:cubicBezTo>
                  <a:pt x="42" y="106"/>
                  <a:pt x="42" y="106"/>
                  <a:pt x="42" y="106"/>
                </a:cubicBezTo>
                <a:cubicBezTo>
                  <a:pt x="43" y="106"/>
                  <a:pt x="42" y="108"/>
                  <a:pt x="44" y="107"/>
                </a:cubicBezTo>
                <a:cubicBezTo>
                  <a:pt x="45" y="106"/>
                  <a:pt x="45" y="104"/>
                  <a:pt x="46" y="104"/>
                </a:cubicBezTo>
                <a:cubicBezTo>
                  <a:pt x="46" y="103"/>
                  <a:pt x="48" y="104"/>
                  <a:pt x="48" y="104"/>
                </a:cubicBezTo>
                <a:cubicBezTo>
                  <a:pt x="49" y="105"/>
                  <a:pt x="49" y="105"/>
                  <a:pt x="50" y="106"/>
                </a:cubicBezTo>
                <a:cubicBezTo>
                  <a:pt x="50" y="105"/>
                  <a:pt x="50" y="103"/>
                  <a:pt x="51" y="104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6" name="Google Shape;486;p102"/>
          <p:cNvSpPr/>
          <p:nvPr/>
        </p:nvSpPr>
        <p:spPr>
          <a:xfrm>
            <a:off x="6231714" y="4000900"/>
            <a:ext cx="403451" cy="346129"/>
          </a:xfrm>
          <a:custGeom>
            <a:avLst/>
            <a:gdLst/>
            <a:ahLst/>
            <a:cxnLst/>
            <a:rect l="l" t="t" r="r" b="b"/>
            <a:pathLst>
              <a:path w="140" h="125" extrusionOk="0">
                <a:moveTo>
                  <a:pt x="130" y="5"/>
                </a:moveTo>
                <a:cubicBezTo>
                  <a:pt x="123" y="10"/>
                  <a:pt x="123" y="10"/>
                  <a:pt x="123" y="10"/>
                </a:cubicBezTo>
                <a:cubicBezTo>
                  <a:pt x="122" y="12"/>
                  <a:pt x="122" y="12"/>
                  <a:pt x="122" y="12"/>
                </a:cubicBezTo>
                <a:cubicBezTo>
                  <a:pt x="102" y="0"/>
                  <a:pt x="102" y="0"/>
                  <a:pt x="102" y="0"/>
                </a:cubicBezTo>
                <a:cubicBezTo>
                  <a:pt x="55" y="35"/>
                  <a:pt x="55" y="35"/>
                  <a:pt x="55" y="35"/>
                </a:cubicBezTo>
                <a:cubicBezTo>
                  <a:pt x="50" y="44"/>
                  <a:pt x="50" y="44"/>
                  <a:pt x="50" y="44"/>
                </a:cubicBezTo>
                <a:cubicBezTo>
                  <a:pt x="38" y="46"/>
                  <a:pt x="38" y="46"/>
                  <a:pt x="38" y="46"/>
                </a:cubicBezTo>
                <a:cubicBezTo>
                  <a:pt x="39" y="71"/>
                  <a:pt x="39" y="71"/>
                  <a:pt x="39" y="71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3"/>
                  <a:pt x="36" y="76"/>
                  <a:pt x="36" y="78"/>
                </a:cubicBezTo>
                <a:cubicBezTo>
                  <a:pt x="36" y="80"/>
                  <a:pt x="35" y="80"/>
                  <a:pt x="35" y="80"/>
                </a:cubicBezTo>
                <a:cubicBezTo>
                  <a:pt x="30" y="80"/>
                  <a:pt x="30" y="80"/>
                  <a:pt x="30" y="80"/>
                </a:cubicBezTo>
                <a:cubicBezTo>
                  <a:pt x="30" y="80"/>
                  <a:pt x="22" y="84"/>
                  <a:pt x="19" y="84"/>
                </a:cubicBezTo>
                <a:cubicBezTo>
                  <a:pt x="16" y="85"/>
                  <a:pt x="11" y="85"/>
                  <a:pt x="10" y="86"/>
                </a:cubicBezTo>
                <a:cubicBezTo>
                  <a:pt x="8" y="87"/>
                  <a:pt x="4" y="87"/>
                  <a:pt x="4" y="87"/>
                </a:cubicBezTo>
                <a:cubicBezTo>
                  <a:pt x="3" y="89"/>
                  <a:pt x="3" y="89"/>
                  <a:pt x="3" y="89"/>
                </a:cubicBezTo>
                <a:cubicBezTo>
                  <a:pt x="2" y="88"/>
                  <a:pt x="2" y="88"/>
                  <a:pt x="2" y="88"/>
                </a:cubicBezTo>
                <a:cubicBezTo>
                  <a:pt x="0" y="92"/>
                  <a:pt x="0" y="92"/>
                  <a:pt x="0" y="92"/>
                </a:cubicBezTo>
                <a:cubicBezTo>
                  <a:pt x="3" y="96"/>
                  <a:pt x="3" y="96"/>
                  <a:pt x="3" y="96"/>
                </a:cubicBezTo>
                <a:cubicBezTo>
                  <a:pt x="9" y="100"/>
                  <a:pt x="9" y="100"/>
                  <a:pt x="9" y="100"/>
                </a:cubicBezTo>
                <a:cubicBezTo>
                  <a:pt x="9" y="103"/>
                  <a:pt x="9" y="103"/>
                  <a:pt x="9" y="103"/>
                </a:cubicBezTo>
                <a:cubicBezTo>
                  <a:pt x="13" y="111"/>
                  <a:pt x="13" y="111"/>
                  <a:pt x="13" y="111"/>
                </a:cubicBezTo>
                <a:cubicBezTo>
                  <a:pt x="13" y="111"/>
                  <a:pt x="16" y="110"/>
                  <a:pt x="16" y="111"/>
                </a:cubicBezTo>
                <a:cubicBezTo>
                  <a:pt x="16" y="113"/>
                  <a:pt x="15" y="115"/>
                  <a:pt x="15" y="115"/>
                </a:cubicBezTo>
                <a:cubicBezTo>
                  <a:pt x="17" y="123"/>
                  <a:pt x="17" y="123"/>
                  <a:pt x="17" y="123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1" y="119"/>
                  <a:pt x="23" y="118"/>
                  <a:pt x="25" y="120"/>
                </a:cubicBezTo>
                <a:cubicBezTo>
                  <a:pt x="27" y="121"/>
                  <a:pt x="26" y="123"/>
                  <a:pt x="26" y="123"/>
                </a:cubicBezTo>
                <a:cubicBezTo>
                  <a:pt x="31" y="125"/>
                  <a:pt x="31" y="125"/>
                  <a:pt x="31" y="125"/>
                </a:cubicBezTo>
                <a:cubicBezTo>
                  <a:pt x="34" y="118"/>
                  <a:pt x="34" y="118"/>
                  <a:pt x="34" y="118"/>
                </a:cubicBezTo>
                <a:cubicBezTo>
                  <a:pt x="34" y="118"/>
                  <a:pt x="38" y="115"/>
                  <a:pt x="38" y="113"/>
                </a:cubicBezTo>
                <a:cubicBezTo>
                  <a:pt x="38" y="111"/>
                  <a:pt x="38" y="108"/>
                  <a:pt x="38" y="108"/>
                </a:cubicBezTo>
                <a:cubicBezTo>
                  <a:pt x="38" y="108"/>
                  <a:pt x="44" y="105"/>
                  <a:pt x="47" y="104"/>
                </a:cubicBezTo>
                <a:cubicBezTo>
                  <a:pt x="49" y="103"/>
                  <a:pt x="51" y="103"/>
                  <a:pt x="54" y="103"/>
                </a:cubicBezTo>
                <a:cubicBezTo>
                  <a:pt x="56" y="103"/>
                  <a:pt x="56" y="105"/>
                  <a:pt x="58" y="105"/>
                </a:cubicBezTo>
                <a:cubicBezTo>
                  <a:pt x="60" y="105"/>
                  <a:pt x="62" y="110"/>
                  <a:pt x="62" y="110"/>
                </a:cubicBezTo>
                <a:cubicBezTo>
                  <a:pt x="62" y="110"/>
                  <a:pt x="66" y="111"/>
                  <a:pt x="68" y="109"/>
                </a:cubicBezTo>
                <a:cubicBezTo>
                  <a:pt x="70" y="108"/>
                  <a:pt x="73" y="107"/>
                  <a:pt x="75" y="109"/>
                </a:cubicBezTo>
                <a:cubicBezTo>
                  <a:pt x="76" y="110"/>
                  <a:pt x="74" y="111"/>
                  <a:pt x="79" y="111"/>
                </a:cubicBezTo>
                <a:cubicBezTo>
                  <a:pt x="84" y="111"/>
                  <a:pt x="87" y="112"/>
                  <a:pt x="87" y="111"/>
                </a:cubicBezTo>
                <a:cubicBezTo>
                  <a:pt x="88" y="109"/>
                  <a:pt x="91" y="108"/>
                  <a:pt x="93" y="108"/>
                </a:cubicBezTo>
                <a:cubicBezTo>
                  <a:pt x="95" y="108"/>
                  <a:pt x="98" y="106"/>
                  <a:pt x="102" y="108"/>
                </a:cubicBezTo>
                <a:cubicBezTo>
                  <a:pt x="106" y="109"/>
                  <a:pt x="109" y="108"/>
                  <a:pt x="112" y="108"/>
                </a:cubicBezTo>
                <a:cubicBezTo>
                  <a:pt x="115" y="108"/>
                  <a:pt x="117" y="104"/>
                  <a:pt x="117" y="104"/>
                </a:cubicBezTo>
                <a:cubicBezTo>
                  <a:pt x="122" y="102"/>
                  <a:pt x="122" y="102"/>
                  <a:pt x="122" y="102"/>
                </a:cubicBezTo>
                <a:cubicBezTo>
                  <a:pt x="122" y="92"/>
                  <a:pt x="122" y="92"/>
                  <a:pt x="122" y="92"/>
                </a:cubicBezTo>
                <a:cubicBezTo>
                  <a:pt x="135" y="81"/>
                  <a:pt x="135" y="81"/>
                  <a:pt x="135" y="81"/>
                </a:cubicBezTo>
                <a:cubicBezTo>
                  <a:pt x="135" y="81"/>
                  <a:pt x="135" y="49"/>
                  <a:pt x="135" y="45"/>
                </a:cubicBezTo>
                <a:cubicBezTo>
                  <a:pt x="136" y="42"/>
                  <a:pt x="136" y="39"/>
                  <a:pt x="138" y="36"/>
                </a:cubicBezTo>
                <a:cubicBezTo>
                  <a:pt x="140" y="34"/>
                  <a:pt x="135" y="27"/>
                  <a:pt x="135" y="27"/>
                </a:cubicBezTo>
                <a:lnTo>
                  <a:pt x="130" y="5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7" name="Google Shape;487;p102"/>
          <p:cNvSpPr/>
          <p:nvPr/>
        </p:nvSpPr>
        <p:spPr>
          <a:xfrm>
            <a:off x="4072155" y="4267914"/>
            <a:ext cx="102696" cy="113021"/>
          </a:xfrm>
          <a:custGeom>
            <a:avLst/>
            <a:gdLst/>
            <a:ahLst/>
            <a:cxnLst/>
            <a:rect l="l" t="t" r="r" b="b"/>
            <a:pathLst>
              <a:path w="36" h="41" extrusionOk="0">
                <a:moveTo>
                  <a:pt x="0" y="18"/>
                </a:moveTo>
                <a:cubicBezTo>
                  <a:pt x="0" y="19"/>
                  <a:pt x="0" y="20"/>
                  <a:pt x="0" y="21"/>
                </a:cubicBezTo>
                <a:cubicBezTo>
                  <a:pt x="1" y="22"/>
                  <a:pt x="4" y="24"/>
                  <a:pt x="5" y="25"/>
                </a:cubicBezTo>
                <a:cubicBezTo>
                  <a:pt x="7" y="27"/>
                  <a:pt x="6" y="30"/>
                  <a:pt x="8" y="33"/>
                </a:cubicBezTo>
                <a:cubicBezTo>
                  <a:pt x="9" y="34"/>
                  <a:pt x="10" y="35"/>
                  <a:pt x="12" y="36"/>
                </a:cubicBezTo>
                <a:cubicBezTo>
                  <a:pt x="12" y="36"/>
                  <a:pt x="13" y="36"/>
                  <a:pt x="15" y="37"/>
                </a:cubicBezTo>
                <a:cubicBezTo>
                  <a:pt x="15" y="36"/>
                  <a:pt x="14" y="35"/>
                  <a:pt x="14" y="34"/>
                </a:cubicBezTo>
                <a:cubicBezTo>
                  <a:pt x="14" y="33"/>
                  <a:pt x="12" y="34"/>
                  <a:pt x="12" y="31"/>
                </a:cubicBezTo>
                <a:cubicBezTo>
                  <a:pt x="14" y="29"/>
                  <a:pt x="14" y="29"/>
                  <a:pt x="14" y="29"/>
                </a:cubicBezTo>
                <a:cubicBezTo>
                  <a:pt x="14" y="30"/>
                  <a:pt x="15" y="32"/>
                  <a:pt x="16" y="33"/>
                </a:cubicBezTo>
                <a:cubicBezTo>
                  <a:pt x="18" y="34"/>
                  <a:pt x="18" y="32"/>
                  <a:pt x="20" y="35"/>
                </a:cubicBezTo>
                <a:cubicBezTo>
                  <a:pt x="21" y="37"/>
                  <a:pt x="21" y="38"/>
                  <a:pt x="22" y="39"/>
                </a:cubicBezTo>
                <a:cubicBezTo>
                  <a:pt x="24" y="39"/>
                  <a:pt x="26" y="39"/>
                  <a:pt x="26" y="39"/>
                </a:cubicBezTo>
                <a:cubicBezTo>
                  <a:pt x="26" y="39"/>
                  <a:pt x="27" y="41"/>
                  <a:pt x="29" y="41"/>
                </a:cubicBezTo>
                <a:cubicBezTo>
                  <a:pt x="31" y="41"/>
                  <a:pt x="32" y="41"/>
                  <a:pt x="32" y="41"/>
                </a:cubicBezTo>
                <a:cubicBezTo>
                  <a:pt x="32" y="40"/>
                  <a:pt x="30" y="39"/>
                  <a:pt x="30" y="38"/>
                </a:cubicBezTo>
                <a:cubicBezTo>
                  <a:pt x="30" y="36"/>
                  <a:pt x="31" y="37"/>
                  <a:pt x="31" y="36"/>
                </a:cubicBezTo>
                <a:cubicBezTo>
                  <a:pt x="32" y="34"/>
                  <a:pt x="30" y="31"/>
                  <a:pt x="30" y="31"/>
                </a:cubicBezTo>
                <a:cubicBezTo>
                  <a:pt x="30" y="28"/>
                  <a:pt x="31" y="26"/>
                  <a:pt x="31" y="23"/>
                </a:cubicBezTo>
                <a:cubicBezTo>
                  <a:pt x="32" y="23"/>
                  <a:pt x="32" y="23"/>
                  <a:pt x="32" y="23"/>
                </a:cubicBezTo>
                <a:cubicBezTo>
                  <a:pt x="33" y="18"/>
                  <a:pt x="31" y="15"/>
                  <a:pt x="33" y="10"/>
                </a:cubicBezTo>
                <a:cubicBezTo>
                  <a:pt x="34" y="8"/>
                  <a:pt x="36" y="6"/>
                  <a:pt x="36" y="5"/>
                </a:cubicBezTo>
                <a:cubicBezTo>
                  <a:pt x="36" y="4"/>
                  <a:pt x="35" y="0"/>
                  <a:pt x="35" y="0"/>
                </a:cubicBezTo>
                <a:cubicBezTo>
                  <a:pt x="29" y="1"/>
                  <a:pt x="29" y="1"/>
                  <a:pt x="29" y="1"/>
                </a:cubicBezTo>
                <a:cubicBezTo>
                  <a:pt x="29" y="1"/>
                  <a:pt x="26" y="3"/>
                  <a:pt x="26" y="5"/>
                </a:cubicBezTo>
                <a:cubicBezTo>
                  <a:pt x="26" y="6"/>
                  <a:pt x="22" y="6"/>
                  <a:pt x="20" y="7"/>
                </a:cubicBezTo>
                <a:cubicBezTo>
                  <a:pt x="18" y="8"/>
                  <a:pt x="16" y="9"/>
                  <a:pt x="16" y="7"/>
                </a:cubicBezTo>
                <a:cubicBezTo>
                  <a:pt x="15" y="6"/>
                  <a:pt x="13" y="6"/>
                  <a:pt x="11" y="6"/>
                </a:cubicBezTo>
                <a:cubicBezTo>
                  <a:pt x="8" y="7"/>
                  <a:pt x="4" y="9"/>
                  <a:pt x="4" y="9"/>
                </a:cubicBezTo>
                <a:cubicBezTo>
                  <a:pt x="4" y="9"/>
                  <a:pt x="5" y="15"/>
                  <a:pt x="4" y="17"/>
                </a:cubicBezTo>
                <a:cubicBezTo>
                  <a:pt x="3" y="19"/>
                  <a:pt x="0" y="18"/>
                  <a:pt x="0" y="18"/>
                </a:cubicBezTo>
                <a:close/>
                <a:moveTo>
                  <a:pt x="7" y="24"/>
                </a:moveTo>
                <a:cubicBezTo>
                  <a:pt x="10" y="24"/>
                  <a:pt x="14" y="26"/>
                  <a:pt x="9" y="27"/>
                </a:cubicBezTo>
                <a:cubicBezTo>
                  <a:pt x="9" y="27"/>
                  <a:pt x="6" y="24"/>
                  <a:pt x="7" y="24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8" name="Google Shape;488;p102"/>
          <p:cNvSpPr/>
          <p:nvPr/>
        </p:nvSpPr>
        <p:spPr>
          <a:xfrm>
            <a:off x="10361579" y="5780992"/>
            <a:ext cx="306622" cy="435133"/>
          </a:xfrm>
          <a:custGeom>
            <a:avLst/>
            <a:gdLst/>
            <a:ahLst/>
            <a:cxnLst/>
            <a:rect l="l" t="t" r="r" b="b"/>
            <a:pathLst>
              <a:path w="107" h="157" extrusionOk="0">
                <a:moveTo>
                  <a:pt x="11" y="147"/>
                </a:moveTo>
                <a:cubicBezTo>
                  <a:pt x="11" y="150"/>
                  <a:pt x="10" y="154"/>
                  <a:pt x="9" y="157"/>
                </a:cubicBezTo>
                <a:cubicBezTo>
                  <a:pt x="12" y="157"/>
                  <a:pt x="15" y="156"/>
                  <a:pt x="16" y="156"/>
                </a:cubicBezTo>
                <a:cubicBezTo>
                  <a:pt x="16" y="155"/>
                  <a:pt x="16" y="154"/>
                  <a:pt x="17" y="153"/>
                </a:cubicBezTo>
                <a:cubicBezTo>
                  <a:pt x="15" y="153"/>
                  <a:pt x="15" y="153"/>
                  <a:pt x="15" y="153"/>
                </a:cubicBezTo>
                <a:cubicBezTo>
                  <a:pt x="14" y="152"/>
                  <a:pt x="15" y="151"/>
                  <a:pt x="15" y="150"/>
                </a:cubicBezTo>
                <a:cubicBezTo>
                  <a:pt x="14" y="149"/>
                  <a:pt x="12" y="148"/>
                  <a:pt x="11" y="147"/>
                </a:cubicBezTo>
                <a:close/>
                <a:moveTo>
                  <a:pt x="54" y="72"/>
                </a:moveTo>
                <a:cubicBezTo>
                  <a:pt x="53" y="72"/>
                  <a:pt x="52" y="74"/>
                  <a:pt x="52" y="75"/>
                </a:cubicBezTo>
                <a:cubicBezTo>
                  <a:pt x="47" y="80"/>
                  <a:pt x="50" y="79"/>
                  <a:pt x="48" y="86"/>
                </a:cubicBezTo>
                <a:cubicBezTo>
                  <a:pt x="48" y="87"/>
                  <a:pt x="46" y="87"/>
                  <a:pt x="46" y="88"/>
                </a:cubicBezTo>
                <a:cubicBezTo>
                  <a:pt x="46" y="89"/>
                  <a:pt x="46" y="90"/>
                  <a:pt x="46" y="91"/>
                </a:cubicBezTo>
                <a:cubicBezTo>
                  <a:pt x="46" y="91"/>
                  <a:pt x="43" y="92"/>
                  <a:pt x="43" y="92"/>
                </a:cubicBezTo>
                <a:cubicBezTo>
                  <a:pt x="42" y="94"/>
                  <a:pt x="43" y="96"/>
                  <a:pt x="42" y="97"/>
                </a:cubicBezTo>
                <a:cubicBezTo>
                  <a:pt x="42" y="98"/>
                  <a:pt x="41" y="98"/>
                  <a:pt x="40" y="98"/>
                </a:cubicBezTo>
                <a:cubicBezTo>
                  <a:pt x="39" y="101"/>
                  <a:pt x="39" y="104"/>
                  <a:pt x="36" y="106"/>
                </a:cubicBezTo>
                <a:cubicBezTo>
                  <a:pt x="36" y="107"/>
                  <a:pt x="34" y="106"/>
                  <a:pt x="33" y="107"/>
                </a:cubicBezTo>
                <a:cubicBezTo>
                  <a:pt x="33" y="108"/>
                  <a:pt x="33" y="109"/>
                  <a:pt x="32" y="109"/>
                </a:cubicBezTo>
                <a:cubicBezTo>
                  <a:pt x="31" y="111"/>
                  <a:pt x="29" y="111"/>
                  <a:pt x="27" y="113"/>
                </a:cubicBezTo>
                <a:cubicBezTo>
                  <a:pt x="26" y="113"/>
                  <a:pt x="25" y="115"/>
                  <a:pt x="25" y="115"/>
                </a:cubicBezTo>
                <a:cubicBezTo>
                  <a:pt x="22" y="117"/>
                  <a:pt x="20" y="115"/>
                  <a:pt x="18" y="117"/>
                </a:cubicBezTo>
                <a:cubicBezTo>
                  <a:pt x="16" y="118"/>
                  <a:pt x="14" y="122"/>
                  <a:pt x="13" y="123"/>
                </a:cubicBezTo>
                <a:cubicBezTo>
                  <a:pt x="12" y="124"/>
                  <a:pt x="11" y="123"/>
                  <a:pt x="10" y="123"/>
                </a:cubicBezTo>
                <a:cubicBezTo>
                  <a:pt x="10" y="124"/>
                  <a:pt x="10" y="126"/>
                  <a:pt x="9" y="126"/>
                </a:cubicBezTo>
                <a:cubicBezTo>
                  <a:pt x="8" y="127"/>
                  <a:pt x="7" y="126"/>
                  <a:pt x="7" y="127"/>
                </a:cubicBezTo>
                <a:cubicBezTo>
                  <a:pt x="6" y="127"/>
                  <a:pt x="6" y="129"/>
                  <a:pt x="5" y="129"/>
                </a:cubicBezTo>
                <a:cubicBezTo>
                  <a:pt x="5" y="130"/>
                  <a:pt x="4" y="129"/>
                  <a:pt x="3" y="129"/>
                </a:cubicBezTo>
                <a:cubicBezTo>
                  <a:pt x="3" y="129"/>
                  <a:pt x="3" y="131"/>
                  <a:pt x="3" y="131"/>
                </a:cubicBezTo>
                <a:cubicBezTo>
                  <a:pt x="4" y="130"/>
                  <a:pt x="5" y="133"/>
                  <a:pt x="5" y="133"/>
                </a:cubicBezTo>
                <a:cubicBezTo>
                  <a:pt x="4" y="133"/>
                  <a:pt x="3" y="134"/>
                  <a:pt x="3" y="135"/>
                </a:cubicBezTo>
                <a:cubicBezTo>
                  <a:pt x="2" y="135"/>
                  <a:pt x="3" y="137"/>
                  <a:pt x="3" y="137"/>
                </a:cubicBezTo>
                <a:cubicBezTo>
                  <a:pt x="0" y="138"/>
                  <a:pt x="0" y="138"/>
                  <a:pt x="0" y="138"/>
                </a:cubicBezTo>
                <a:cubicBezTo>
                  <a:pt x="0" y="139"/>
                  <a:pt x="0" y="139"/>
                  <a:pt x="0" y="140"/>
                </a:cubicBezTo>
                <a:cubicBezTo>
                  <a:pt x="0" y="141"/>
                  <a:pt x="3" y="142"/>
                  <a:pt x="5" y="143"/>
                </a:cubicBezTo>
                <a:cubicBezTo>
                  <a:pt x="5" y="144"/>
                  <a:pt x="5" y="144"/>
                  <a:pt x="5" y="144"/>
                </a:cubicBezTo>
                <a:cubicBezTo>
                  <a:pt x="8" y="145"/>
                  <a:pt x="9" y="142"/>
                  <a:pt x="11" y="143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13" y="146"/>
                  <a:pt x="15" y="146"/>
                  <a:pt x="16" y="146"/>
                </a:cubicBezTo>
                <a:cubicBezTo>
                  <a:pt x="16" y="146"/>
                  <a:pt x="16" y="147"/>
                  <a:pt x="17" y="147"/>
                </a:cubicBezTo>
                <a:cubicBezTo>
                  <a:pt x="18" y="148"/>
                  <a:pt x="24" y="149"/>
                  <a:pt x="25" y="149"/>
                </a:cubicBezTo>
                <a:cubicBezTo>
                  <a:pt x="25" y="148"/>
                  <a:pt x="29" y="146"/>
                  <a:pt x="29" y="145"/>
                </a:cubicBezTo>
                <a:cubicBezTo>
                  <a:pt x="29" y="144"/>
                  <a:pt x="29" y="144"/>
                  <a:pt x="29" y="144"/>
                </a:cubicBezTo>
                <a:cubicBezTo>
                  <a:pt x="30" y="143"/>
                  <a:pt x="31" y="144"/>
                  <a:pt x="32" y="143"/>
                </a:cubicBezTo>
                <a:cubicBezTo>
                  <a:pt x="32" y="142"/>
                  <a:pt x="32" y="142"/>
                  <a:pt x="32" y="142"/>
                </a:cubicBezTo>
                <a:cubicBezTo>
                  <a:pt x="32" y="141"/>
                  <a:pt x="35" y="140"/>
                  <a:pt x="36" y="139"/>
                </a:cubicBezTo>
                <a:cubicBezTo>
                  <a:pt x="37" y="137"/>
                  <a:pt x="36" y="135"/>
                  <a:pt x="37" y="133"/>
                </a:cubicBezTo>
                <a:cubicBezTo>
                  <a:pt x="39" y="129"/>
                  <a:pt x="40" y="127"/>
                  <a:pt x="41" y="120"/>
                </a:cubicBezTo>
                <a:cubicBezTo>
                  <a:pt x="42" y="120"/>
                  <a:pt x="42" y="119"/>
                  <a:pt x="42" y="119"/>
                </a:cubicBezTo>
                <a:cubicBezTo>
                  <a:pt x="45" y="118"/>
                  <a:pt x="46" y="120"/>
                  <a:pt x="49" y="117"/>
                </a:cubicBezTo>
                <a:cubicBezTo>
                  <a:pt x="49" y="117"/>
                  <a:pt x="50" y="115"/>
                  <a:pt x="50" y="115"/>
                </a:cubicBezTo>
                <a:cubicBezTo>
                  <a:pt x="52" y="114"/>
                  <a:pt x="57" y="115"/>
                  <a:pt x="58" y="115"/>
                </a:cubicBezTo>
                <a:cubicBezTo>
                  <a:pt x="58" y="114"/>
                  <a:pt x="57" y="114"/>
                  <a:pt x="55" y="114"/>
                </a:cubicBezTo>
                <a:cubicBezTo>
                  <a:pt x="55" y="109"/>
                  <a:pt x="55" y="107"/>
                  <a:pt x="58" y="105"/>
                </a:cubicBezTo>
                <a:cubicBezTo>
                  <a:pt x="59" y="104"/>
                  <a:pt x="60" y="105"/>
                  <a:pt x="60" y="104"/>
                </a:cubicBezTo>
                <a:cubicBezTo>
                  <a:pt x="62" y="102"/>
                  <a:pt x="61" y="101"/>
                  <a:pt x="62" y="99"/>
                </a:cubicBezTo>
                <a:cubicBezTo>
                  <a:pt x="62" y="98"/>
                  <a:pt x="64" y="97"/>
                  <a:pt x="64" y="97"/>
                </a:cubicBezTo>
                <a:cubicBezTo>
                  <a:pt x="65" y="96"/>
                  <a:pt x="66" y="92"/>
                  <a:pt x="67" y="91"/>
                </a:cubicBezTo>
                <a:cubicBezTo>
                  <a:pt x="68" y="91"/>
                  <a:pt x="68" y="91"/>
                  <a:pt x="68" y="91"/>
                </a:cubicBezTo>
                <a:cubicBezTo>
                  <a:pt x="69" y="89"/>
                  <a:pt x="67" y="88"/>
                  <a:pt x="67" y="86"/>
                </a:cubicBezTo>
                <a:cubicBezTo>
                  <a:pt x="67" y="86"/>
                  <a:pt x="69" y="85"/>
                  <a:pt x="69" y="85"/>
                </a:cubicBezTo>
                <a:cubicBezTo>
                  <a:pt x="70" y="83"/>
                  <a:pt x="69" y="81"/>
                  <a:pt x="69" y="80"/>
                </a:cubicBezTo>
                <a:cubicBezTo>
                  <a:pt x="68" y="80"/>
                  <a:pt x="67" y="81"/>
                  <a:pt x="66" y="81"/>
                </a:cubicBezTo>
                <a:cubicBezTo>
                  <a:pt x="68" y="81"/>
                  <a:pt x="65" y="82"/>
                  <a:pt x="65" y="82"/>
                </a:cubicBezTo>
                <a:cubicBezTo>
                  <a:pt x="65" y="81"/>
                  <a:pt x="65" y="80"/>
                  <a:pt x="64" y="80"/>
                </a:cubicBezTo>
                <a:cubicBezTo>
                  <a:pt x="64" y="79"/>
                  <a:pt x="62" y="80"/>
                  <a:pt x="62" y="80"/>
                </a:cubicBezTo>
                <a:cubicBezTo>
                  <a:pt x="61" y="80"/>
                  <a:pt x="62" y="81"/>
                  <a:pt x="62" y="82"/>
                </a:cubicBezTo>
                <a:cubicBezTo>
                  <a:pt x="61" y="82"/>
                  <a:pt x="60" y="81"/>
                  <a:pt x="59" y="82"/>
                </a:cubicBezTo>
                <a:cubicBezTo>
                  <a:pt x="59" y="81"/>
                  <a:pt x="59" y="79"/>
                  <a:pt x="58" y="78"/>
                </a:cubicBezTo>
                <a:cubicBezTo>
                  <a:pt x="58" y="78"/>
                  <a:pt x="58" y="78"/>
                  <a:pt x="58" y="78"/>
                </a:cubicBezTo>
                <a:cubicBezTo>
                  <a:pt x="57" y="78"/>
                  <a:pt x="56" y="76"/>
                  <a:pt x="56" y="76"/>
                </a:cubicBezTo>
                <a:cubicBezTo>
                  <a:pt x="55" y="77"/>
                  <a:pt x="55" y="74"/>
                  <a:pt x="55" y="74"/>
                </a:cubicBezTo>
                <a:cubicBezTo>
                  <a:pt x="56" y="73"/>
                  <a:pt x="56" y="74"/>
                  <a:pt x="57" y="72"/>
                </a:cubicBezTo>
                <a:cubicBezTo>
                  <a:pt x="56" y="72"/>
                  <a:pt x="55" y="72"/>
                  <a:pt x="54" y="72"/>
                </a:cubicBezTo>
                <a:close/>
                <a:moveTo>
                  <a:pt x="55" y="0"/>
                </a:moveTo>
                <a:cubicBezTo>
                  <a:pt x="55" y="1"/>
                  <a:pt x="54" y="0"/>
                  <a:pt x="54" y="2"/>
                </a:cubicBezTo>
                <a:cubicBezTo>
                  <a:pt x="55" y="4"/>
                  <a:pt x="59" y="6"/>
                  <a:pt x="60" y="8"/>
                </a:cubicBezTo>
                <a:cubicBezTo>
                  <a:pt x="61" y="10"/>
                  <a:pt x="61" y="13"/>
                  <a:pt x="62" y="15"/>
                </a:cubicBezTo>
                <a:cubicBezTo>
                  <a:pt x="64" y="17"/>
                  <a:pt x="66" y="19"/>
                  <a:pt x="67" y="21"/>
                </a:cubicBezTo>
                <a:cubicBezTo>
                  <a:pt x="68" y="22"/>
                  <a:pt x="67" y="22"/>
                  <a:pt x="68" y="23"/>
                </a:cubicBezTo>
                <a:cubicBezTo>
                  <a:pt x="69" y="24"/>
                  <a:pt x="69" y="23"/>
                  <a:pt x="70" y="24"/>
                </a:cubicBezTo>
                <a:cubicBezTo>
                  <a:pt x="70" y="25"/>
                  <a:pt x="71" y="26"/>
                  <a:pt x="71" y="27"/>
                </a:cubicBezTo>
                <a:cubicBezTo>
                  <a:pt x="69" y="28"/>
                  <a:pt x="70" y="30"/>
                  <a:pt x="70" y="32"/>
                </a:cubicBezTo>
                <a:cubicBezTo>
                  <a:pt x="71" y="33"/>
                  <a:pt x="73" y="32"/>
                  <a:pt x="74" y="33"/>
                </a:cubicBezTo>
                <a:cubicBezTo>
                  <a:pt x="74" y="34"/>
                  <a:pt x="73" y="34"/>
                  <a:pt x="72" y="34"/>
                </a:cubicBezTo>
                <a:cubicBezTo>
                  <a:pt x="73" y="39"/>
                  <a:pt x="75" y="43"/>
                  <a:pt x="73" y="48"/>
                </a:cubicBezTo>
                <a:cubicBezTo>
                  <a:pt x="73" y="48"/>
                  <a:pt x="71" y="49"/>
                  <a:pt x="71" y="50"/>
                </a:cubicBezTo>
                <a:cubicBezTo>
                  <a:pt x="70" y="51"/>
                  <a:pt x="70" y="53"/>
                  <a:pt x="70" y="55"/>
                </a:cubicBezTo>
                <a:cubicBezTo>
                  <a:pt x="68" y="55"/>
                  <a:pt x="66" y="56"/>
                  <a:pt x="64" y="56"/>
                </a:cubicBezTo>
                <a:cubicBezTo>
                  <a:pt x="64" y="58"/>
                  <a:pt x="65" y="57"/>
                  <a:pt x="64" y="58"/>
                </a:cubicBezTo>
                <a:cubicBezTo>
                  <a:pt x="64" y="58"/>
                  <a:pt x="64" y="59"/>
                  <a:pt x="64" y="60"/>
                </a:cubicBezTo>
                <a:cubicBezTo>
                  <a:pt x="69" y="63"/>
                  <a:pt x="78" y="66"/>
                  <a:pt x="76" y="76"/>
                </a:cubicBezTo>
                <a:cubicBezTo>
                  <a:pt x="76" y="77"/>
                  <a:pt x="73" y="79"/>
                  <a:pt x="73" y="80"/>
                </a:cubicBezTo>
                <a:cubicBezTo>
                  <a:pt x="73" y="81"/>
                  <a:pt x="73" y="81"/>
                  <a:pt x="73" y="82"/>
                </a:cubicBezTo>
                <a:cubicBezTo>
                  <a:pt x="74" y="82"/>
                  <a:pt x="78" y="83"/>
                  <a:pt x="78" y="83"/>
                </a:cubicBezTo>
                <a:cubicBezTo>
                  <a:pt x="79" y="84"/>
                  <a:pt x="80" y="86"/>
                  <a:pt x="80" y="86"/>
                </a:cubicBezTo>
                <a:cubicBezTo>
                  <a:pt x="84" y="84"/>
                  <a:pt x="84" y="85"/>
                  <a:pt x="86" y="80"/>
                </a:cubicBezTo>
                <a:cubicBezTo>
                  <a:pt x="86" y="80"/>
                  <a:pt x="88" y="78"/>
                  <a:pt x="88" y="78"/>
                </a:cubicBezTo>
                <a:cubicBezTo>
                  <a:pt x="88" y="77"/>
                  <a:pt x="87" y="75"/>
                  <a:pt x="88" y="74"/>
                </a:cubicBezTo>
                <a:cubicBezTo>
                  <a:pt x="89" y="72"/>
                  <a:pt x="92" y="72"/>
                  <a:pt x="93" y="71"/>
                </a:cubicBezTo>
                <a:cubicBezTo>
                  <a:pt x="94" y="70"/>
                  <a:pt x="93" y="68"/>
                  <a:pt x="93" y="66"/>
                </a:cubicBezTo>
                <a:cubicBezTo>
                  <a:pt x="93" y="66"/>
                  <a:pt x="95" y="65"/>
                  <a:pt x="95" y="64"/>
                </a:cubicBezTo>
                <a:cubicBezTo>
                  <a:pt x="94" y="63"/>
                  <a:pt x="94" y="63"/>
                  <a:pt x="93" y="62"/>
                </a:cubicBezTo>
                <a:cubicBezTo>
                  <a:pt x="98" y="58"/>
                  <a:pt x="97" y="57"/>
                  <a:pt x="102" y="60"/>
                </a:cubicBezTo>
                <a:cubicBezTo>
                  <a:pt x="102" y="58"/>
                  <a:pt x="101" y="56"/>
                  <a:pt x="101" y="55"/>
                </a:cubicBezTo>
                <a:cubicBezTo>
                  <a:pt x="101" y="55"/>
                  <a:pt x="103" y="54"/>
                  <a:pt x="103" y="54"/>
                </a:cubicBezTo>
                <a:cubicBezTo>
                  <a:pt x="105" y="51"/>
                  <a:pt x="106" y="47"/>
                  <a:pt x="107" y="44"/>
                </a:cubicBezTo>
                <a:cubicBezTo>
                  <a:pt x="102" y="38"/>
                  <a:pt x="102" y="42"/>
                  <a:pt x="96" y="44"/>
                </a:cubicBezTo>
                <a:cubicBezTo>
                  <a:pt x="95" y="46"/>
                  <a:pt x="95" y="46"/>
                  <a:pt x="95" y="46"/>
                </a:cubicBezTo>
                <a:cubicBezTo>
                  <a:pt x="95" y="46"/>
                  <a:pt x="88" y="43"/>
                  <a:pt x="88" y="43"/>
                </a:cubicBezTo>
                <a:cubicBezTo>
                  <a:pt x="85" y="42"/>
                  <a:pt x="86" y="40"/>
                  <a:pt x="85" y="36"/>
                </a:cubicBezTo>
                <a:cubicBezTo>
                  <a:pt x="85" y="36"/>
                  <a:pt x="85" y="32"/>
                  <a:pt x="84" y="31"/>
                </a:cubicBezTo>
                <a:cubicBezTo>
                  <a:pt x="84" y="31"/>
                  <a:pt x="82" y="32"/>
                  <a:pt x="82" y="32"/>
                </a:cubicBezTo>
                <a:cubicBezTo>
                  <a:pt x="82" y="30"/>
                  <a:pt x="82" y="27"/>
                  <a:pt x="82" y="27"/>
                </a:cubicBezTo>
                <a:cubicBezTo>
                  <a:pt x="80" y="27"/>
                  <a:pt x="80" y="27"/>
                  <a:pt x="80" y="27"/>
                </a:cubicBezTo>
                <a:cubicBezTo>
                  <a:pt x="80" y="30"/>
                  <a:pt x="79" y="33"/>
                  <a:pt x="79" y="35"/>
                </a:cubicBezTo>
                <a:cubicBezTo>
                  <a:pt x="79" y="35"/>
                  <a:pt x="78" y="33"/>
                  <a:pt x="78" y="33"/>
                </a:cubicBezTo>
                <a:cubicBezTo>
                  <a:pt x="78" y="32"/>
                  <a:pt x="76" y="32"/>
                  <a:pt x="75" y="32"/>
                </a:cubicBezTo>
                <a:cubicBezTo>
                  <a:pt x="75" y="28"/>
                  <a:pt x="75" y="26"/>
                  <a:pt x="75" y="24"/>
                </a:cubicBezTo>
                <a:cubicBezTo>
                  <a:pt x="75" y="22"/>
                  <a:pt x="72" y="21"/>
                  <a:pt x="72" y="19"/>
                </a:cubicBezTo>
                <a:cubicBezTo>
                  <a:pt x="72" y="18"/>
                  <a:pt x="74" y="17"/>
                  <a:pt x="74" y="17"/>
                </a:cubicBezTo>
                <a:cubicBezTo>
                  <a:pt x="74" y="15"/>
                  <a:pt x="73" y="14"/>
                  <a:pt x="73" y="12"/>
                </a:cubicBezTo>
                <a:cubicBezTo>
                  <a:pt x="71" y="12"/>
                  <a:pt x="71" y="13"/>
                  <a:pt x="70" y="13"/>
                </a:cubicBezTo>
                <a:cubicBezTo>
                  <a:pt x="69" y="12"/>
                  <a:pt x="70" y="11"/>
                  <a:pt x="70" y="10"/>
                </a:cubicBezTo>
                <a:cubicBezTo>
                  <a:pt x="70" y="10"/>
                  <a:pt x="67" y="7"/>
                  <a:pt x="67" y="7"/>
                </a:cubicBezTo>
                <a:cubicBezTo>
                  <a:pt x="67" y="7"/>
                  <a:pt x="65" y="7"/>
                  <a:pt x="64" y="7"/>
                </a:cubicBezTo>
                <a:cubicBezTo>
                  <a:pt x="65" y="7"/>
                  <a:pt x="64" y="5"/>
                  <a:pt x="64" y="5"/>
                </a:cubicBezTo>
                <a:cubicBezTo>
                  <a:pt x="60" y="6"/>
                  <a:pt x="64" y="10"/>
                  <a:pt x="60" y="4"/>
                </a:cubicBezTo>
                <a:cubicBezTo>
                  <a:pt x="59" y="4"/>
                  <a:pt x="57" y="2"/>
                  <a:pt x="57" y="2"/>
                </a:cubicBezTo>
                <a:cubicBezTo>
                  <a:pt x="57" y="0"/>
                  <a:pt x="58" y="1"/>
                  <a:pt x="58" y="0"/>
                </a:cubicBezTo>
                <a:cubicBezTo>
                  <a:pt x="57" y="0"/>
                  <a:pt x="56" y="0"/>
                  <a:pt x="55" y="0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9" name="Google Shape;489;p102"/>
          <p:cNvSpPr/>
          <p:nvPr/>
        </p:nvSpPr>
        <p:spPr>
          <a:xfrm>
            <a:off x="6324142" y="3006309"/>
            <a:ext cx="110032" cy="93243"/>
          </a:xfrm>
          <a:custGeom>
            <a:avLst/>
            <a:gdLst/>
            <a:ahLst/>
            <a:cxnLst/>
            <a:rect l="l" t="t" r="r" b="b"/>
            <a:pathLst>
              <a:path w="38" h="34" extrusionOk="0">
                <a:moveTo>
                  <a:pt x="38" y="9"/>
                </a:moveTo>
                <a:cubicBezTo>
                  <a:pt x="38" y="9"/>
                  <a:pt x="36" y="8"/>
                  <a:pt x="36" y="8"/>
                </a:cubicBezTo>
                <a:cubicBezTo>
                  <a:pt x="36" y="7"/>
                  <a:pt x="36" y="5"/>
                  <a:pt x="36" y="5"/>
                </a:cubicBezTo>
                <a:cubicBezTo>
                  <a:pt x="34" y="4"/>
                  <a:pt x="32" y="4"/>
                  <a:pt x="31" y="5"/>
                </a:cubicBezTo>
                <a:cubicBezTo>
                  <a:pt x="30" y="5"/>
                  <a:pt x="29" y="5"/>
                  <a:pt x="28" y="5"/>
                </a:cubicBezTo>
                <a:cubicBezTo>
                  <a:pt x="27" y="4"/>
                  <a:pt x="27" y="4"/>
                  <a:pt x="27" y="4"/>
                </a:cubicBezTo>
                <a:cubicBezTo>
                  <a:pt x="26" y="3"/>
                  <a:pt x="24" y="4"/>
                  <a:pt x="24" y="4"/>
                </a:cubicBezTo>
                <a:cubicBezTo>
                  <a:pt x="24" y="5"/>
                  <a:pt x="22" y="5"/>
                  <a:pt x="22" y="5"/>
                </a:cubicBezTo>
                <a:cubicBezTo>
                  <a:pt x="21" y="6"/>
                  <a:pt x="21" y="8"/>
                  <a:pt x="20" y="8"/>
                </a:cubicBezTo>
                <a:cubicBezTo>
                  <a:pt x="18" y="9"/>
                  <a:pt x="16" y="9"/>
                  <a:pt x="14" y="10"/>
                </a:cubicBezTo>
                <a:cubicBezTo>
                  <a:pt x="13" y="11"/>
                  <a:pt x="13" y="16"/>
                  <a:pt x="10" y="18"/>
                </a:cubicBezTo>
                <a:cubicBezTo>
                  <a:pt x="9" y="19"/>
                  <a:pt x="12" y="20"/>
                  <a:pt x="12" y="21"/>
                </a:cubicBezTo>
                <a:cubicBezTo>
                  <a:pt x="12" y="22"/>
                  <a:pt x="9" y="22"/>
                  <a:pt x="9" y="23"/>
                </a:cubicBezTo>
                <a:cubicBezTo>
                  <a:pt x="9" y="24"/>
                  <a:pt x="9" y="25"/>
                  <a:pt x="10" y="26"/>
                </a:cubicBezTo>
                <a:cubicBezTo>
                  <a:pt x="9" y="27"/>
                  <a:pt x="9" y="27"/>
                  <a:pt x="8" y="28"/>
                </a:cubicBezTo>
                <a:cubicBezTo>
                  <a:pt x="8" y="28"/>
                  <a:pt x="5" y="28"/>
                  <a:pt x="4" y="28"/>
                </a:cubicBezTo>
                <a:cubicBezTo>
                  <a:pt x="3" y="27"/>
                  <a:pt x="3" y="26"/>
                  <a:pt x="0" y="26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6"/>
                  <a:pt x="2" y="32"/>
                  <a:pt x="7" y="32"/>
                </a:cubicBezTo>
                <a:cubicBezTo>
                  <a:pt x="10" y="33"/>
                  <a:pt x="10" y="31"/>
                  <a:pt x="12" y="31"/>
                </a:cubicBezTo>
                <a:cubicBezTo>
                  <a:pt x="15" y="31"/>
                  <a:pt x="16" y="30"/>
                  <a:pt x="16" y="32"/>
                </a:cubicBezTo>
                <a:cubicBezTo>
                  <a:pt x="16" y="34"/>
                  <a:pt x="20" y="34"/>
                  <a:pt x="20" y="34"/>
                </a:cubicBezTo>
                <a:cubicBezTo>
                  <a:pt x="20" y="34"/>
                  <a:pt x="22" y="28"/>
                  <a:pt x="23" y="25"/>
                </a:cubicBezTo>
                <a:cubicBezTo>
                  <a:pt x="24" y="23"/>
                  <a:pt x="23" y="21"/>
                  <a:pt x="28" y="23"/>
                </a:cubicBezTo>
                <a:cubicBezTo>
                  <a:pt x="32" y="25"/>
                  <a:pt x="32" y="21"/>
                  <a:pt x="32" y="21"/>
                </a:cubicBezTo>
                <a:cubicBezTo>
                  <a:pt x="32" y="21"/>
                  <a:pt x="37" y="20"/>
                  <a:pt x="35" y="18"/>
                </a:cubicBezTo>
                <a:cubicBezTo>
                  <a:pt x="33" y="17"/>
                  <a:pt x="34" y="15"/>
                  <a:pt x="36" y="16"/>
                </a:cubicBezTo>
                <a:cubicBezTo>
                  <a:pt x="38" y="16"/>
                  <a:pt x="38" y="9"/>
                  <a:pt x="38" y="9"/>
                </a:cubicBezTo>
                <a:close/>
                <a:moveTo>
                  <a:pt x="2" y="24"/>
                </a:moveTo>
                <a:cubicBezTo>
                  <a:pt x="2" y="24"/>
                  <a:pt x="4" y="26"/>
                  <a:pt x="4" y="26"/>
                </a:cubicBezTo>
                <a:cubicBezTo>
                  <a:pt x="5" y="26"/>
                  <a:pt x="6" y="26"/>
                  <a:pt x="7" y="26"/>
                </a:cubicBezTo>
                <a:cubicBezTo>
                  <a:pt x="7" y="26"/>
                  <a:pt x="7" y="24"/>
                  <a:pt x="6" y="24"/>
                </a:cubicBezTo>
                <a:cubicBezTo>
                  <a:pt x="5" y="23"/>
                  <a:pt x="4" y="24"/>
                  <a:pt x="2" y="24"/>
                </a:cubicBezTo>
                <a:close/>
                <a:moveTo>
                  <a:pt x="24" y="0"/>
                </a:moveTo>
                <a:cubicBezTo>
                  <a:pt x="23" y="0"/>
                  <a:pt x="20" y="3"/>
                  <a:pt x="24" y="2"/>
                </a:cubicBezTo>
                <a:cubicBezTo>
                  <a:pt x="24" y="2"/>
                  <a:pt x="27" y="0"/>
                  <a:pt x="24" y="0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0" name="Google Shape;490;p102"/>
          <p:cNvSpPr/>
          <p:nvPr/>
        </p:nvSpPr>
        <p:spPr>
          <a:xfrm>
            <a:off x="8228427" y="3807350"/>
            <a:ext cx="205393" cy="118672"/>
          </a:xfrm>
          <a:custGeom>
            <a:avLst/>
            <a:gdLst/>
            <a:ahLst/>
            <a:cxnLst/>
            <a:rect l="l" t="t" r="r" b="b"/>
            <a:pathLst>
              <a:path w="140" h="84" extrusionOk="0">
                <a:moveTo>
                  <a:pt x="140" y="53"/>
                </a:moveTo>
                <a:lnTo>
                  <a:pt x="126" y="51"/>
                </a:lnTo>
                <a:lnTo>
                  <a:pt x="112" y="49"/>
                </a:lnTo>
                <a:lnTo>
                  <a:pt x="102" y="45"/>
                </a:lnTo>
                <a:lnTo>
                  <a:pt x="95" y="43"/>
                </a:lnTo>
                <a:lnTo>
                  <a:pt x="91" y="37"/>
                </a:lnTo>
                <a:lnTo>
                  <a:pt x="83" y="29"/>
                </a:lnTo>
                <a:lnTo>
                  <a:pt x="75" y="25"/>
                </a:lnTo>
                <a:lnTo>
                  <a:pt x="75" y="17"/>
                </a:lnTo>
                <a:lnTo>
                  <a:pt x="69" y="14"/>
                </a:lnTo>
                <a:lnTo>
                  <a:pt x="59" y="15"/>
                </a:lnTo>
                <a:lnTo>
                  <a:pt x="51" y="15"/>
                </a:lnTo>
                <a:lnTo>
                  <a:pt x="44" y="2"/>
                </a:lnTo>
                <a:lnTo>
                  <a:pt x="38" y="2"/>
                </a:lnTo>
                <a:lnTo>
                  <a:pt x="30" y="2"/>
                </a:lnTo>
                <a:lnTo>
                  <a:pt x="22" y="0"/>
                </a:lnTo>
                <a:lnTo>
                  <a:pt x="18" y="2"/>
                </a:lnTo>
                <a:lnTo>
                  <a:pt x="8" y="8"/>
                </a:lnTo>
                <a:lnTo>
                  <a:pt x="0" y="19"/>
                </a:lnTo>
                <a:lnTo>
                  <a:pt x="2" y="29"/>
                </a:lnTo>
                <a:lnTo>
                  <a:pt x="12" y="33"/>
                </a:lnTo>
                <a:lnTo>
                  <a:pt x="16" y="39"/>
                </a:lnTo>
                <a:lnTo>
                  <a:pt x="24" y="43"/>
                </a:lnTo>
                <a:lnTo>
                  <a:pt x="34" y="47"/>
                </a:lnTo>
                <a:lnTo>
                  <a:pt x="46" y="53"/>
                </a:lnTo>
                <a:lnTo>
                  <a:pt x="55" y="53"/>
                </a:lnTo>
                <a:lnTo>
                  <a:pt x="63" y="59"/>
                </a:lnTo>
                <a:lnTo>
                  <a:pt x="67" y="65"/>
                </a:lnTo>
                <a:lnTo>
                  <a:pt x="75" y="65"/>
                </a:lnTo>
                <a:lnTo>
                  <a:pt x="83" y="72"/>
                </a:lnTo>
                <a:lnTo>
                  <a:pt x="97" y="72"/>
                </a:lnTo>
                <a:lnTo>
                  <a:pt x="110" y="80"/>
                </a:lnTo>
                <a:lnTo>
                  <a:pt x="120" y="80"/>
                </a:lnTo>
                <a:lnTo>
                  <a:pt x="128" y="84"/>
                </a:lnTo>
                <a:lnTo>
                  <a:pt x="136" y="82"/>
                </a:lnTo>
                <a:lnTo>
                  <a:pt x="140" y="78"/>
                </a:lnTo>
                <a:lnTo>
                  <a:pt x="140" y="72"/>
                </a:lnTo>
                <a:lnTo>
                  <a:pt x="136" y="68"/>
                </a:lnTo>
                <a:lnTo>
                  <a:pt x="138" y="63"/>
                </a:lnTo>
                <a:lnTo>
                  <a:pt x="140" y="53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1" name="Google Shape;491;p102"/>
          <p:cNvSpPr/>
          <p:nvPr/>
        </p:nvSpPr>
        <p:spPr>
          <a:xfrm>
            <a:off x="6531002" y="5218709"/>
            <a:ext cx="334497" cy="368733"/>
          </a:xfrm>
          <a:custGeom>
            <a:avLst/>
            <a:gdLst/>
            <a:ahLst/>
            <a:cxnLst/>
            <a:rect l="l" t="t" r="r" b="b"/>
            <a:pathLst>
              <a:path w="116" h="133" extrusionOk="0">
                <a:moveTo>
                  <a:pt x="1" y="2"/>
                </a:moveTo>
                <a:cubicBezTo>
                  <a:pt x="1" y="4"/>
                  <a:pt x="2" y="5"/>
                  <a:pt x="2" y="5"/>
                </a:cubicBezTo>
                <a:cubicBezTo>
                  <a:pt x="1" y="6"/>
                  <a:pt x="0" y="9"/>
                  <a:pt x="0" y="13"/>
                </a:cubicBezTo>
                <a:cubicBezTo>
                  <a:pt x="1" y="15"/>
                  <a:pt x="1" y="15"/>
                  <a:pt x="1" y="15"/>
                </a:cubicBezTo>
                <a:cubicBezTo>
                  <a:pt x="1" y="16"/>
                  <a:pt x="4" y="16"/>
                  <a:pt x="4" y="17"/>
                </a:cubicBezTo>
                <a:cubicBezTo>
                  <a:pt x="6" y="18"/>
                  <a:pt x="7" y="22"/>
                  <a:pt x="8" y="23"/>
                </a:cubicBezTo>
                <a:cubicBezTo>
                  <a:pt x="9" y="24"/>
                  <a:pt x="11" y="24"/>
                  <a:pt x="11" y="25"/>
                </a:cubicBezTo>
                <a:cubicBezTo>
                  <a:pt x="11" y="26"/>
                  <a:pt x="10" y="29"/>
                  <a:pt x="10" y="30"/>
                </a:cubicBezTo>
                <a:cubicBezTo>
                  <a:pt x="10" y="31"/>
                  <a:pt x="12" y="33"/>
                  <a:pt x="12" y="35"/>
                </a:cubicBezTo>
                <a:cubicBezTo>
                  <a:pt x="12" y="36"/>
                  <a:pt x="12" y="37"/>
                  <a:pt x="12" y="39"/>
                </a:cubicBezTo>
                <a:cubicBezTo>
                  <a:pt x="16" y="45"/>
                  <a:pt x="16" y="45"/>
                  <a:pt x="16" y="45"/>
                </a:cubicBezTo>
                <a:cubicBezTo>
                  <a:pt x="16" y="45"/>
                  <a:pt x="18" y="45"/>
                  <a:pt x="18" y="45"/>
                </a:cubicBezTo>
                <a:cubicBezTo>
                  <a:pt x="20" y="48"/>
                  <a:pt x="18" y="51"/>
                  <a:pt x="19" y="53"/>
                </a:cubicBezTo>
                <a:cubicBezTo>
                  <a:pt x="20" y="53"/>
                  <a:pt x="20" y="53"/>
                  <a:pt x="20" y="53"/>
                </a:cubicBezTo>
                <a:cubicBezTo>
                  <a:pt x="20" y="53"/>
                  <a:pt x="21" y="55"/>
                  <a:pt x="21" y="56"/>
                </a:cubicBezTo>
                <a:cubicBezTo>
                  <a:pt x="21" y="56"/>
                  <a:pt x="23" y="57"/>
                  <a:pt x="24" y="58"/>
                </a:cubicBezTo>
                <a:cubicBezTo>
                  <a:pt x="24" y="58"/>
                  <a:pt x="23" y="60"/>
                  <a:pt x="24" y="60"/>
                </a:cubicBezTo>
                <a:cubicBezTo>
                  <a:pt x="24" y="60"/>
                  <a:pt x="24" y="60"/>
                  <a:pt x="24" y="60"/>
                </a:cubicBezTo>
                <a:cubicBezTo>
                  <a:pt x="24" y="61"/>
                  <a:pt x="24" y="61"/>
                  <a:pt x="25" y="62"/>
                </a:cubicBezTo>
                <a:cubicBezTo>
                  <a:pt x="25" y="62"/>
                  <a:pt x="23" y="64"/>
                  <a:pt x="23" y="64"/>
                </a:cubicBezTo>
                <a:cubicBezTo>
                  <a:pt x="23" y="64"/>
                  <a:pt x="24" y="66"/>
                  <a:pt x="24" y="66"/>
                </a:cubicBezTo>
                <a:cubicBezTo>
                  <a:pt x="24" y="66"/>
                  <a:pt x="23" y="69"/>
                  <a:pt x="24" y="70"/>
                </a:cubicBezTo>
                <a:cubicBezTo>
                  <a:pt x="24" y="71"/>
                  <a:pt x="25" y="71"/>
                  <a:pt x="25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73"/>
                  <a:pt x="25" y="78"/>
                  <a:pt x="25" y="78"/>
                </a:cubicBezTo>
                <a:cubicBezTo>
                  <a:pt x="24" y="79"/>
                  <a:pt x="24" y="80"/>
                  <a:pt x="24" y="82"/>
                </a:cubicBezTo>
                <a:cubicBezTo>
                  <a:pt x="25" y="84"/>
                  <a:pt x="27" y="86"/>
                  <a:pt x="28" y="88"/>
                </a:cubicBezTo>
                <a:cubicBezTo>
                  <a:pt x="28" y="90"/>
                  <a:pt x="27" y="93"/>
                  <a:pt x="28" y="96"/>
                </a:cubicBezTo>
                <a:cubicBezTo>
                  <a:pt x="27" y="96"/>
                  <a:pt x="26" y="96"/>
                  <a:pt x="26" y="96"/>
                </a:cubicBezTo>
                <a:cubicBezTo>
                  <a:pt x="26" y="98"/>
                  <a:pt x="28" y="99"/>
                  <a:pt x="28" y="100"/>
                </a:cubicBezTo>
                <a:cubicBezTo>
                  <a:pt x="27" y="101"/>
                  <a:pt x="27" y="106"/>
                  <a:pt x="28" y="109"/>
                </a:cubicBezTo>
                <a:cubicBezTo>
                  <a:pt x="28" y="109"/>
                  <a:pt x="29" y="109"/>
                  <a:pt x="29" y="110"/>
                </a:cubicBezTo>
                <a:cubicBezTo>
                  <a:pt x="30" y="112"/>
                  <a:pt x="30" y="113"/>
                  <a:pt x="30" y="116"/>
                </a:cubicBezTo>
                <a:cubicBezTo>
                  <a:pt x="31" y="117"/>
                  <a:pt x="34" y="124"/>
                  <a:pt x="35" y="124"/>
                </a:cubicBezTo>
                <a:cubicBezTo>
                  <a:pt x="36" y="125"/>
                  <a:pt x="38" y="124"/>
                  <a:pt x="39" y="124"/>
                </a:cubicBezTo>
                <a:cubicBezTo>
                  <a:pt x="40" y="125"/>
                  <a:pt x="39" y="127"/>
                  <a:pt x="39" y="128"/>
                </a:cubicBezTo>
                <a:cubicBezTo>
                  <a:pt x="40" y="129"/>
                  <a:pt x="40" y="129"/>
                  <a:pt x="41" y="130"/>
                </a:cubicBezTo>
                <a:cubicBezTo>
                  <a:pt x="41" y="130"/>
                  <a:pt x="44" y="128"/>
                  <a:pt x="45" y="127"/>
                </a:cubicBezTo>
                <a:cubicBezTo>
                  <a:pt x="45" y="125"/>
                  <a:pt x="46" y="125"/>
                  <a:pt x="48" y="125"/>
                </a:cubicBezTo>
                <a:cubicBezTo>
                  <a:pt x="50" y="125"/>
                  <a:pt x="48" y="127"/>
                  <a:pt x="49" y="129"/>
                </a:cubicBezTo>
                <a:cubicBezTo>
                  <a:pt x="50" y="131"/>
                  <a:pt x="50" y="131"/>
                  <a:pt x="53" y="131"/>
                </a:cubicBezTo>
                <a:cubicBezTo>
                  <a:pt x="56" y="131"/>
                  <a:pt x="56" y="133"/>
                  <a:pt x="58" y="131"/>
                </a:cubicBezTo>
                <a:cubicBezTo>
                  <a:pt x="60" y="130"/>
                  <a:pt x="61" y="130"/>
                  <a:pt x="62" y="128"/>
                </a:cubicBezTo>
                <a:cubicBezTo>
                  <a:pt x="63" y="126"/>
                  <a:pt x="67" y="126"/>
                  <a:pt x="67" y="126"/>
                </a:cubicBezTo>
                <a:cubicBezTo>
                  <a:pt x="68" y="93"/>
                  <a:pt x="68" y="93"/>
                  <a:pt x="68" y="93"/>
                </a:cubicBezTo>
                <a:cubicBezTo>
                  <a:pt x="68" y="53"/>
                  <a:pt x="68" y="53"/>
                  <a:pt x="68" y="53"/>
                </a:cubicBezTo>
                <a:cubicBezTo>
                  <a:pt x="78" y="53"/>
                  <a:pt x="78" y="53"/>
                  <a:pt x="78" y="53"/>
                </a:cubicBezTo>
                <a:cubicBezTo>
                  <a:pt x="78" y="17"/>
                  <a:pt x="78" y="17"/>
                  <a:pt x="78" y="17"/>
                </a:cubicBezTo>
                <a:cubicBezTo>
                  <a:pt x="85" y="17"/>
                  <a:pt x="85" y="17"/>
                  <a:pt x="85" y="17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5"/>
                  <a:pt x="107" y="17"/>
                  <a:pt x="107" y="14"/>
                </a:cubicBezTo>
                <a:cubicBezTo>
                  <a:pt x="107" y="11"/>
                  <a:pt x="112" y="16"/>
                  <a:pt x="112" y="13"/>
                </a:cubicBezTo>
                <a:cubicBezTo>
                  <a:pt x="112" y="10"/>
                  <a:pt x="116" y="11"/>
                  <a:pt x="116" y="11"/>
                </a:cubicBezTo>
                <a:cubicBezTo>
                  <a:pt x="116" y="11"/>
                  <a:pt x="114" y="11"/>
                  <a:pt x="113" y="9"/>
                </a:cubicBezTo>
                <a:cubicBezTo>
                  <a:pt x="112" y="7"/>
                  <a:pt x="110" y="8"/>
                  <a:pt x="110" y="8"/>
                </a:cubicBezTo>
                <a:cubicBezTo>
                  <a:pt x="98" y="9"/>
                  <a:pt x="98" y="9"/>
                  <a:pt x="98" y="9"/>
                </a:cubicBezTo>
                <a:cubicBezTo>
                  <a:pt x="80" y="12"/>
                  <a:pt x="80" y="12"/>
                  <a:pt x="80" y="12"/>
                </a:cubicBezTo>
                <a:cubicBezTo>
                  <a:pt x="80" y="12"/>
                  <a:pt x="75" y="10"/>
                  <a:pt x="73" y="11"/>
                </a:cubicBezTo>
                <a:cubicBezTo>
                  <a:pt x="71" y="11"/>
                  <a:pt x="72" y="9"/>
                  <a:pt x="70" y="11"/>
                </a:cubicBezTo>
                <a:cubicBezTo>
                  <a:pt x="67" y="12"/>
                  <a:pt x="66" y="8"/>
                  <a:pt x="63" y="9"/>
                </a:cubicBezTo>
                <a:cubicBezTo>
                  <a:pt x="60" y="10"/>
                  <a:pt x="61" y="7"/>
                  <a:pt x="59" y="7"/>
                </a:cubicBezTo>
                <a:cubicBezTo>
                  <a:pt x="57" y="7"/>
                  <a:pt x="55" y="4"/>
                  <a:pt x="55" y="4"/>
                </a:cubicBezTo>
                <a:cubicBezTo>
                  <a:pt x="17" y="3"/>
                  <a:pt x="17" y="3"/>
                  <a:pt x="17" y="3"/>
                </a:cubicBezTo>
                <a:cubicBezTo>
                  <a:pt x="17" y="3"/>
                  <a:pt x="14" y="0"/>
                  <a:pt x="12" y="0"/>
                </a:cubicBezTo>
                <a:cubicBezTo>
                  <a:pt x="10" y="0"/>
                  <a:pt x="10" y="4"/>
                  <a:pt x="7" y="3"/>
                </a:cubicBezTo>
                <a:cubicBezTo>
                  <a:pt x="4" y="2"/>
                  <a:pt x="1" y="2"/>
                  <a:pt x="1" y="2"/>
                </a:cubicBezTo>
                <a:close/>
                <a:moveTo>
                  <a:pt x="25" y="31"/>
                </a:moveTo>
                <a:cubicBezTo>
                  <a:pt x="27" y="31"/>
                  <a:pt x="25" y="32"/>
                  <a:pt x="24" y="33"/>
                </a:cubicBezTo>
                <a:cubicBezTo>
                  <a:pt x="25" y="32"/>
                  <a:pt x="24" y="30"/>
                  <a:pt x="25" y="3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2" name="Google Shape;492;p102"/>
          <p:cNvSpPr/>
          <p:nvPr/>
        </p:nvSpPr>
        <p:spPr>
          <a:xfrm>
            <a:off x="7406855" y="3465459"/>
            <a:ext cx="22006" cy="25430"/>
          </a:xfrm>
          <a:custGeom>
            <a:avLst/>
            <a:gdLst/>
            <a:ahLst/>
            <a:cxnLst/>
            <a:rect l="l" t="t" r="r" b="b"/>
            <a:pathLst>
              <a:path w="8" h="9" extrusionOk="0">
                <a:moveTo>
                  <a:pt x="6" y="9"/>
                </a:moveTo>
                <a:cubicBezTo>
                  <a:pt x="4" y="7"/>
                  <a:pt x="1" y="4"/>
                  <a:pt x="0" y="1"/>
                </a:cubicBezTo>
                <a:cubicBezTo>
                  <a:pt x="4" y="0"/>
                  <a:pt x="4" y="0"/>
                  <a:pt x="4" y="0"/>
                </a:cubicBezTo>
                <a:cubicBezTo>
                  <a:pt x="5" y="2"/>
                  <a:pt x="5" y="2"/>
                  <a:pt x="5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5"/>
                  <a:pt x="5" y="5"/>
                  <a:pt x="5" y="5"/>
                </a:cubicBezTo>
                <a:cubicBezTo>
                  <a:pt x="7" y="5"/>
                  <a:pt x="8" y="6"/>
                  <a:pt x="8" y="7"/>
                </a:cubicBezTo>
                <a:cubicBezTo>
                  <a:pt x="8" y="8"/>
                  <a:pt x="7" y="9"/>
                  <a:pt x="6" y="9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3" name="Google Shape;493;p102"/>
          <p:cNvSpPr/>
          <p:nvPr/>
        </p:nvSpPr>
        <p:spPr>
          <a:xfrm>
            <a:off x="6984666" y="5037874"/>
            <a:ext cx="268477" cy="474691"/>
          </a:xfrm>
          <a:custGeom>
            <a:avLst/>
            <a:gdLst/>
            <a:ahLst/>
            <a:cxnLst/>
            <a:rect l="l" t="t" r="r" b="b"/>
            <a:pathLst>
              <a:path w="93" h="171" extrusionOk="0">
                <a:moveTo>
                  <a:pt x="40" y="29"/>
                </a:moveTo>
                <a:cubicBezTo>
                  <a:pt x="41" y="29"/>
                  <a:pt x="41" y="29"/>
                  <a:pt x="42" y="30"/>
                </a:cubicBezTo>
                <a:cubicBezTo>
                  <a:pt x="43" y="32"/>
                  <a:pt x="44" y="33"/>
                  <a:pt x="44" y="36"/>
                </a:cubicBezTo>
                <a:cubicBezTo>
                  <a:pt x="45" y="39"/>
                  <a:pt x="46" y="39"/>
                  <a:pt x="47" y="40"/>
                </a:cubicBezTo>
                <a:cubicBezTo>
                  <a:pt x="49" y="41"/>
                  <a:pt x="48" y="43"/>
                  <a:pt x="47" y="47"/>
                </a:cubicBezTo>
                <a:cubicBezTo>
                  <a:pt x="46" y="50"/>
                  <a:pt x="48" y="49"/>
                  <a:pt x="48" y="52"/>
                </a:cubicBezTo>
                <a:cubicBezTo>
                  <a:pt x="47" y="55"/>
                  <a:pt x="44" y="54"/>
                  <a:pt x="43" y="54"/>
                </a:cubicBezTo>
                <a:cubicBezTo>
                  <a:pt x="41" y="53"/>
                  <a:pt x="42" y="60"/>
                  <a:pt x="43" y="62"/>
                </a:cubicBezTo>
                <a:cubicBezTo>
                  <a:pt x="45" y="63"/>
                  <a:pt x="43" y="66"/>
                  <a:pt x="41" y="66"/>
                </a:cubicBezTo>
                <a:cubicBezTo>
                  <a:pt x="39" y="67"/>
                  <a:pt x="39" y="62"/>
                  <a:pt x="39" y="62"/>
                </a:cubicBezTo>
                <a:cubicBezTo>
                  <a:pt x="39" y="62"/>
                  <a:pt x="39" y="62"/>
                  <a:pt x="37" y="61"/>
                </a:cubicBezTo>
                <a:cubicBezTo>
                  <a:pt x="35" y="60"/>
                  <a:pt x="33" y="58"/>
                  <a:pt x="31" y="56"/>
                </a:cubicBezTo>
                <a:cubicBezTo>
                  <a:pt x="30" y="55"/>
                  <a:pt x="31" y="53"/>
                  <a:pt x="32" y="52"/>
                </a:cubicBezTo>
                <a:cubicBezTo>
                  <a:pt x="33" y="50"/>
                  <a:pt x="33" y="47"/>
                  <a:pt x="33" y="45"/>
                </a:cubicBezTo>
                <a:cubicBezTo>
                  <a:pt x="33" y="43"/>
                  <a:pt x="31" y="41"/>
                  <a:pt x="31" y="41"/>
                </a:cubicBezTo>
                <a:cubicBezTo>
                  <a:pt x="31" y="41"/>
                  <a:pt x="27" y="43"/>
                  <a:pt x="25" y="43"/>
                </a:cubicBezTo>
                <a:cubicBezTo>
                  <a:pt x="24" y="44"/>
                  <a:pt x="25" y="42"/>
                  <a:pt x="24" y="40"/>
                </a:cubicBezTo>
                <a:cubicBezTo>
                  <a:pt x="23" y="38"/>
                  <a:pt x="20" y="37"/>
                  <a:pt x="20" y="37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3"/>
                  <a:pt x="4" y="46"/>
                  <a:pt x="3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2" y="55"/>
                  <a:pt x="2" y="55"/>
                  <a:pt x="2" y="55"/>
                </a:cubicBezTo>
                <a:cubicBezTo>
                  <a:pt x="2" y="55"/>
                  <a:pt x="4" y="55"/>
                  <a:pt x="6" y="55"/>
                </a:cubicBezTo>
                <a:cubicBezTo>
                  <a:pt x="7" y="55"/>
                  <a:pt x="9" y="56"/>
                  <a:pt x="10" y="57"/>
                </a:cubicBezTo>
                <a:cubicBezTo>
                  <a:pt x="12" y="58"/>
                  <a:pt x="13" y="60"/>
                  <a:pt x="16" y="60"/>
                </a:cubicBezTo>
                <a:cubicBezTo>
                  <a:pt x="18" y="61"/>
                  <a:pt x="19" y="62"/>
                  <a:pt x="21" y="63"/>
                </a:cubicBezTo>
                <a:cubicBezTo>
                  <a:pt x="22" y="64"/>
                  <a:pt x="22" y="67"/>
                  <a:pt x="22" y="67"/>
                </a:cubicBezTo>
                <a:cubicBezTo>
                  <a:pt x="22" y="67"/>
                  <a:pt x="20" y="69"/>
                  <a:pt x="20" y="72"/>
                </a:cubicBezTo>
                <a:cubicBezTo>
                  <a:pt x="21" y="74"/>
                  <a:pt x="20" y="76"/>
                  <a:pt x="21" y="79"/>
                </a:cubicBezTo>
                <a:cubicBezTo>
                  <a:pt x="22" y="81"/>
                  <a:pt x="24" y="83"/>
                  <a:pt x="24" y="83"/>
                </a:cubicBezTo>
                <a:cubicBezTo>
                  <a:pt x="24" y="83"/>
                  <a:pt x="22" y="85"/>
                  <a:pt x="21" y="86"/>
                </a:cubicBezTo>
                <a:cubicBezTo>
                  <a:pt x="20" y="88"/>
                  <a:pt x="18" y="89"/>
                  <a:pt x="20" y="90"/>
                </a:cubicBezTo>
                <a:cubicBezTo>
                  <a:pt x="21" y="92"/>
                  <a:pt x="22" y="92"/>
                  <a:pt x="21" y="94"/>
                </a:cubicBezTo>
                <a:cubicBezTo>
                  <a:pt x="19" y="97"/>
                  <a:pt x="21" y="96"/>
                  <a:pt x="20" y="99"/>
                </a:cubicBezTo>
                <a:cubicBezTo>
                  <a:pt x="19" y="102"/>
                  <a:pt x="22" y="104"/>
                  <a:pt x="21" y="106"/>
                </a:cubicBezTo>
                <a:cubicBezTo>
                  <a:pt x="20" y="111"/>
                  <a:pt x="20" y="107"/>
                  <a:pt x="20" y="109"/>
                </a:cubicBezTo>
                <a:cubicBezTo>
                  <a:pt x="20" y="111"/>
                  <a:pt x="24" y="109"/>
                  <a:pt x="22" y="111"/>
                </a:cubicBezTo>
                <a:cubicBezTo>
                  <a:pt x="21" y="113"/>
                  <a:pt x="18" y="117"/>
                  <a:pt x="18" y="117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5"/>
                  <a:pt x="13" y="132"/>
                  <a:pt x="11" y="134"/>
                </a:cubicBezTo>
                <a:cubicBezTo>
                  <a:pt x="10" y="137"/>
                  <a:pt x="11" y="140"/>
                  <a:pt x="12" y="144"/>
                </a:cubicBezTo>
                <a:cubicBezTo>
                  <a:pt x="13" y="148"/>
                  <a:pt x="12" y="151"/>
                  <a:pt x="11" y="153"/>
                </a:cubicBezTo>
                <a:cubicBezTo>
                  <a:pt x="11" y="155"/>
                  <a:pt x="10" y="156"/>
                  <a:pt x="11" y="158"/>
                </a:cubicBezTo>
                <a:cubicBezTo>
                  <a:pt x="12" y="160"/>
                  <a:pt x="12" y="161"/>
                  <a:pt x="12" y="161"/>
                </a:cubicBezTo>
                <a:cubicBezTo>
                  <a:pt x="12" y="161"/>
                  <a:pt x="16" y="163"/>
                  <a:pt x="16" y="165"/>
                </a:cubicBezTo>
                <a:cubicBezTo>
                  <a:pt x="16" y="167"/>
                  <a:pt x="15" y="171"/>
                  <a:pt x="15" y="171"/>
                </a:cubicBezTo>
                <a:cubicBezTo>
                  <a:pt x="21" y="171"/>
                  <a:pt x="21" y="171"/>
                  <a:pt x="21" y="171"/>
                </a:cubicBezTo>
                <a:cubicBezTo>
                  <a:pt x="21" y="170"/>
                  <a:pt x="22" y="169"/>
                  <a:pt x="22" y="167"/>
                </a:cubicBezTo>
                <a:cubicBezTo>
                  <a:pt x="21" y="167"/>
                  <a:pt x="19" y="167"/>
                  <a:pt x="19" y="165"/>
                </a:cubicBezTo>
                <a:cubicBezTo>
                  <a:pt x="18" y="165"/>
                  <a:pt x="19" y="164"/>
                  <a:pt x="19" y="163"/>
                </a:cubicBezTo>
                <a:cubicBezTo>
                  <a:pt x="25" y="156"/>
                  <a:pt x="38" y="156"/>
                  <a:pt x="44" y="149"/>
                </a:cubicBezTo>
                <a:cubicBezTo>
                  <a:pt x="44" y="149"/>
                  <a:pt x="45" y="147"/>
                  <a:pt x="45" y="147"/>
                </a:cubicBezTo>
                <a:cubicBezTo>
                  <a:pt x="46" y="145"/>
                  <a:pt x="44" y="144"/>
                  <a:pt x="44" y="143"/>
                </a:cubicBezTo>
                <a:cubicBezTo>
                  <a:pt x="43" y="139"/>
                  <a:pt x="45" y="130"/>
                  <a:pt x="44" y="126"/>
                </a:cubicBezTo>
                <a:cubicBezTo>
                  <a:pt x="44" y="125"/>
                  <a:pt x="41" y="120"/>
                  <a:pt x="41" y="118"/>
                </a:cubicBezTo>
                <a:cubicBezTo>
                  <a:pt x="40" y="115"/>
                  <a:pt x="41" y="110"/>
                  <a:pt x="41" y="109"/>
                </a:cubicBezTo>
                <a:cubicBezTo>
                  <a:pt x="40" y="108"/>
                  <a:pt x="38" y="108"/>
                  <a:pt x="38" y="108"/>
                </a:cubicBezTo>
                <a:cubicBezTo>
                  <a:pt x="37" y="106"/>
                  <a:pt x="37" y="98"/>
                  <a:pt x="37" y="96"/>
                </a:cubicBezTo>
                <a:cubicBezTo>
                  <a:pt x="37" y="96"/>
                  <a:pt x="41" y="95"/>
                  <a:pt x="42" y="94"/>
                </a:cubicBezTo>
                <a:cubicBezTo>
                  <a:pt x="44" y="93"/>
                  <a:pt x="43" y="90"/>
                  <a:pt x="45" y="89"/>
                </a:cubicBezTo>
                <a:cubicBezTo>
                  <a:pt x="45" y="88"/>
                  <a:pt x="47" y="88"/>
                  <a:pt x="48" y="88"/>
                </a:cubicBezTo>
                <a:cubicBezTo>
                  <a:pt x="50" y="86"/>
                  <a:pt x="50" y="80"/>
                  <a:pt x="50" y="78"/>
                </a:cubicBezTo>
                <a:cubicBezTo>
                  <a:pt x="53" y="78"/>
                  <a:pt x="55" y="78"/>
                  <a:pt x="57" y="78"/>
                </a:cubicBezTo>
                <a:cubicBezTo>
                  <a:pt x="57" y="78"/>
                  <a:pt x="58" y="77"/>
                  <a:pt x="58" y="77"/>
                </a:cubicBezTo>
                <a:cubicBezTo>
                  <a:pt x="59" y="77"/>
                  <a:pt x="61" y="77"/>
                  <a:pt x="62" y="77"/>
                </a:cubicBezTo>
                <a:cubicBezTo>
                  <a:pt x="62" y="76"/>
                  <a:pt x="62" y="76"/>
                  <a:pt x="62" y="76"/>
                </a:cubicBezTo>
                <a:cubicBezTo>
                  <a:pt x="63" y="75"/>
                  <a:pt x="65" y="75"/>
                  <a:pt x="66" y="74"/>
                </a:cubicBezTo>
                <a:cubicBezTo>
                  <a:pt x="66" y="74"/>
                  <a:pt x="67" y="72"/>
                  <a:pt x="68" y="72"/>
                </a:cubicBezTo>
                <a:cubicBezTo>
                  <a:pt x="70" y="70"/>
                  <a:pt x="73" y="71"/>
                  <a:pt x="76" y="70"/>
                </a:cubicBezTo>
                <a:cubicBezTo>
                  <a:pt x="78" y="69"/>
                  <a:pt x="78" y="66"/>
                  <a:pt x="80" y="64"/>
                </a:cubicBezTo>
                <a:cubicBezTo>
                  <a:pt x="81" y="63"/>
                  <a:pt x="83" y="64"/>
                  <a:pt x="84" y="62"/>
                </a:cubicBezTo>
                <a:cubicBezTo>
                  <a:pt x="85" y="61"/>
                  <a:pt x="84" y="60"/>
                  <a:pt x="85" y="58"/>
                </a:cubicBezTo>
                <a:cubicBezTo>
                  <a:pt x="85" y="57"/>
                  <a:pt x="87" y="57"/>
                  <a:pt x="88" y="56"/>
                </a:cubicBezTo>
                <a:cubicBezTo>
                  <a:pt x="89" y="54"/>
                  <a:pt x="88" y="53"/>
                  <a:pt x="89" y="50"/>
                </a:cubicBezTo>
                <a:cubicBezTo>
                  <a:pt x="89" y="50"/>
                  <a:pt x="91" y="50"/>
                  <a:pt x="91" y="49"/>
                </a:cubicBezTo>
                <a:cubicBezTo>
                  <a:pt x="91" y="48"/>
                  <a:pt x="92" y="48"/>
                  <a:pt x="91" y="47"/>
                </a:cubicBezTo>
                <a:cubicBezTo>
                  <a:pt x="90" y="47"/>
                  <a:pt x="90" y="47"/>
                  <a:pt x="90" y="47"/>
                </a:cubicBezTo>
                <a:cubicBezTo>
                  <a:pt x="90" y="47"/>
                  <a:pt x="88" y="42"/>
                  <a:pt x="89" y="42"/>
                </a:cubicBezTo>
                <a:cubicBezTo>
                  <a:pt x="90" y="43"/>
                  <a:pt x="90" y="31"/>
                  <a:pt x="91" y="30"/>
                </a:cubicBezTo>
                <a:cubicBezTo>
                  <a:pt x="91" y="30"/>
                  <a:pt x="93" y="29"/>
                  <a:pt x="92" y="29"/>
                </a:cubicBezTo>
                <a:cubicBezTo>
                  <a:pt x="90" y="29"/>
                  <a:pt x="91" y="21"/>
                  <a:pt x="91" y="21"/>
                </a:cubicBezTo>
                <a:cubicBezTo>
                  <a:pt x="90" y="16"/>
                  <a:pt x="90" y="6"/>
                  <a:pt x="88" y="4"/>
                </a:cubicBezTo>
                <a:cubicBezTo>
                  <a:pt x="87" y="4"/>
                  <a:pt x="88" y="2"/>
                  <a:pt x="89" y="0"/>
                </a:cubicBezTo>
                <a:cubicBezTo>
                  <a:pt x="89" y="0"/>
                  <a:pt x="83" y="3"/>
                  <a:pt x="81" y="4"/>
                </a:cubicBezTo>
                <a:cubicBezTo>
                  <a:pt x="79" y="5"/>
                  <a:pt x="77" y="5"/>
                  <a:pt x="74" y="6"/>
                </a:cubicBezTo>
                <a:cubicBezTo>
                  <a:pt x="72" y="6"/>
                  <a:pt x="72" y="8"/>
                  <a:pt x="70" y="9"/>
                </a:cubicBezTo>
                <a:cubicBezTo>
                  <a:pt x="68" y="9"/>
                  <a:pt x="68" y="10"/>
                  <a:pt x="67" y="9"/>
                </a:cubicBezTo>
                <a:cubicBezTo>
                  <a:pt x="65" y="8"/>
                  <a:pt x="65" y="10"/>
                  <a:pt x="63" y="11"/>
                </a:cubicBezTo>
                <a:cubicBezTo>
                  <a:pt x="61" y="12"/>
                  <a:pt x="59" y="12"/>
                  <a:pt x="57" y="12"/>
                </a:cubicBezTo>
                <a:cubicBezTo>
                  <a:pt x="54" y="12"/>
                  <a:pt x="53" y="13"/>
                  <a:pt x="50" y="13"/>
                </a:cubicBezTo>
                <a:cubicBezTo>
                  <a:pt x="48" y="14"/>
                  <a:pt x="48" y="10"/>
                  <a:pt x="46" y="10"/>
                </a:cubicBezTo>
                <a:cubicBezTo>
                  <a:pt x="44" y="9"/>
                  <a:pt x="45" y="9"/>
                  <a:pt x="43" y="11"/>
                </a:cubicBezTo>
                <a:cubicBezTo>
                  <a:pt x="41" y="11"/>
                  <a:pt x="40" y="12"/>
                  <a:pt x="39" y="12"/>
                </a:cubicBezTo>
                <a:cubicBezTo>
                  <a:pt x="38" y="13"/>
                  <a:pt x="38" y="15"/>
                  <a:pt x="38" y="17"/>
                </a:cubicBezTo>
                <a:cubicBezTo>
                  <a:pt x="38" y="17"/>
                  <a:pt x="40" y="19"/>
                  <a:pt x="40" y="19"/>
                </a:cubicBezTo>
                <a:cubicBezTo>
                  <a:pt x="41" y="21"/>
                  <a:pt x="39" y="23"/>
                  <a:pt x="39" y="24"/>
                </a:cubicBezTo>
                <a:cubicBezTo>
                  <a:pt x="39" y="25"/>
                  <a:pt x="40" y="27"/>
                  <a:pt x="40" y="29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4" name="Google Shape;494;p102"/>
          <p:cNvSpPr/>
          <p:nvPr/>
        </p:nvSpPr>
        <p:spPr>
          <a:xfrm>
            <a:off x="5929650" y="3612388"/>
            <a:ext cx="278747" cy="267014"/>
          </a:xfrm>
          <a:custGeom>
            <a:avLst/>
            <a:gdLst/>
            <a:ahLst/>
            <a:cxnLst/>
            <a:rect l="l" t="t" r="r" b="b"/>
            <a:pathLst>
              <a:path w="97" h="96" extrusionOk="0">
                <a:moveTo>
                  <a:pt x="88" y="8"/>
                </a:moveTo>
                <a:cubicBezTo>
                  <a:pt x="87" y="8"/>
                  <a:pt x="87" y="8"/>
                  <a:pt x="87" y="8"/>
                </a:cubicBezTo>
                <a:cubicBezTo>
                  <a:pt x="86" y="7"/>
                  <a:pt x="85" y="7"/>
                  <a:pt x="84" y="7"/>
                </a:cubicBezTo>
                <a:cubicBezTo>
                  <a:pt x="84" y="6"/>
                  <a:pt x="84" y="5"/>
                  <a:pt x="84" y="5"/>
                </a:cubicBezTo>
                <a:cubicBezTo>
                  <a:pt x="83" y="5"/>
                  <a:pt x="83" y="5"/>
                  <a:pt x="83" y="5"/>
                </a:cubicBezTo>
                <a:cubicBezTo>
                  <a:pt x="82" y="5"/>
                  <a:pt x="81" y="7"/>
                  <a:pt x="80" y="7"/>
                </a:cubicBezTo>
                <a:cubicBezTo>
                  <a:pt x="77" y="8"/>
                  <a:pt x="75" y="6"/>
                  <a:pt x="72" y="7"/>
                </a:cubicBezTo>
                <a:cubicBezTo>
                  <a:pt x="71" y="7"/>
                  <a:pt x="69" y="9"/>
                  <a:pt x="67" y="8"/>
                </a:cubicBezTo>
                <a:cubicBezTo>
                  <a:pt x="64" y="7"/>
                  <a:pt x="63" y="3"/>
                  <a:pt x="61" y="0"/>
                </a:cubicBezTo>
                <a:cubicBezTo>
                  <a:pt x="61" y="0"/>
                  <a:pt x="59" y="0"/>
                  <a:pt x="59" y="0"/>
                </a:cubicBezTo>
                <a:cubicBezTo>
                  <a:pt x="58" y="1"/>
                  <a:pt x="56" y="3"/>
                  <a:pt x="55" y="3"/>
                </a:cubicBezTo>
                <a:cubicBezTo>
                  <a:pt x="54" y="5"/>
                  <a:pt x="55" y="7"/>
                  <a:pt x="54" y="9"/>
                </a:cubicBezTo>
                <a:cubicBezTo>
                  <a:pt x="53" y="9"/>
                  <a:pt x="53" y="9"/>
                  <a:pt x="53" y="9"/>
                </a:cubicBezTo>
                <a:cubicBezTo>
                  <a:pt x="52" y="11"/>
                  <a:pt x="53" y="12"/>
                  <a:pt x="53" y="14"/>
                </a:cubicBezTo>
                <a:cubicBezTo>
                  <a:pt x="52" y="16"/>
                  <a:pt x="50" y="18"/>
                  <a:pt x="49" y="19"/>
                </a:cubicBezTo>
                <a:cubicBezTo>
                  <a:pt x="48" y="20"/>
                  <a:pt x="49" y="22"/>
                  <a:pt x="48" y="23"/>
                </a:cubicBezTo>
                <a:cubicBezTo>
                  <a:pt x="47" y="24"/>
                  <a:pt x="39" y="29"/>
                  <a:pt x="37" y="30"/>
                </a:cubicBezTo>
                <a:cubicBezTo>
                  <a:pt x="36" y="30"/>
                  <a:pt x="35" y="29"/>
                  <a:pt x="34" y="30"/>
                </a:cubicBezTo>
                <a:cubicBezTo>
                  <a:pt x="33" y="30"/>
                  <a:pt x="26" y="37"/>
                  <a:pt x="25" y="39"/>
                </a:cubicBezTo>
                <a:cubicBezTo>
                  <a:pt x="25" y="40"/>
                  <a:pt x="26" y="42"/>
                  <a:pt x="25" y="44"/>
                </a:cubicBezTo>
                <a:cubicBezTo>
                  <a:pt x="25" y="45"/>
                  <a:pt x="23" y="47"/>
                  <a:pt x="22" y="48"/>
                </a:cubicBezTo>
                <a:cubicBezTo>
                  <a:pt x="19" y="58"/>
                  <a:pt x="27" y="65"/>
                  <a:pt x="21" y="74"/>
                </a:cubicBezTo>
                <a:cubicBezTo>
                  <a:pt x="21" y="75"/>
                  <a:pt x="20" y="75"/>
                  <a:pt x="20" y="75"/>
                </a:cubicBezTo>
                <a:cubicBezTo>
                  <a:pt x="18" y="77"/>
                  <a:pt x="16" y="84"/>
                  <a:pt x="14" y="86"/>
                </a:cubicBezTo>
                <a:cubicBezTo>
                  <a:pt x="13" y="86"/>
                  <a:pt x="12" y="86"/>
                  <a:pt x="11" y="86"/>
                </a:cubicBezTo>
                <a:cubicBezTo>
                  <a:pt x="9" y="88"/>
                  <a:pt x="8" y="91"/>
                  <a:pt x="6" y="92"/>
                </a:cubicBezTo>
                <a:cubicBezTo>
                  <a:pt x="5" y="93"/>
                  <a:pt x="4" y="93"/>
                  <a:pt x="3" y="93"/>
                </a:cubicBezTo>
                <a:cubicBezTo>
                  <a:pt x="2" y="93"/>
                  <a:pt x="1" y="95"/>
                  <a:pt x="0" y="96"/>
                </a:cubicBezTo>
                <a:cubicBezTo>
                  <a:pt x="37" y="95"/>
                  <a:pt x="37" y="95"/>
                  <a:pt x="37" y="95"/>
                </a:cubicBezTo>
                <a:cubicBezTo>
                  <a:pt x="37" y="86"/>
                  <a:pt x="37" y="86"/>
                  <a:pt x="37" y="86"/>
                </a:cubicBezTo>
                <a:cubicBezTo>
                  <a:pt x="37" y="86"/>
                  <a:pt x="38" y="85"/>
                  <a:pt x="39" y="83"/>
                </a:cubicBezTo>
                <a:cubicBezTo>
                  <a:pt x="41" y="82"/>
                  <a:pt x="42" y="80"/>
                  <a:pt x="44" y="79"/>
                </a:cubicBezTo>
                <a:cubicBezTo>
                  <a:pt x="45" y="77"/>
                  <a:pt x="47" y="76"/>
                  <a:pt x="50" y="75"/>
                </a:cubicBezTo>
                <a:cubicBezTo>
                  <a:pt x="54" y="75"/>
                  <a:pt x="57" y="75"/>
                  <a:pt x="59" y="72"/>
                </a:cubicBezTo>
                <a:cubicBezTo>
                  <a:pt x="62" y="68"/>
                  <a:pt x="62" y="70"/>
                  <a:pt x="65" y="70"/>
                </a:cubicBezTo>
                <a:cubicBezTo>
                  <a:pt x="67" y="69"/>
                  <a:pt x="67" y="68"/>
                  <a:pt x="71" y="66"/>
                </a:cubicBezTo>
                <a:cubicBezTo>
                  <a:pt x="74" y="64"/>
                  <a:pt x="77" y="56"/>
                  <a:pt x="77" y="56"/>
                </a:cubicBezTo>
                <a:cubicBezTo>
                  <a:pt x="77" y="56"/>
                  <a:pt x="80" y="56"/>
                  <a:pt x="83" y="54"/>
                </a:cubicBezTo>
                <a:cubicBezTo>
                  <a:pt x="85" y="52"/>
                  <a:pt x="84" y="52"/>
                  <a:pt x="84" y="49"/>
                </a:cubicBezTo>
                <a:cubicBezTo>
                  <a:pt x="84" y="46"/>
                  <a:pt x="89" y="46"/>
                  <a:pt x="89" y="44"/>
                </a:cubicBezTo>
                <a:cubicBezTo>
                  <a:pt x="89" y="41"/>
                  <a:pt x="94" y="40"/>
                  <a:pt x="95" y="38"/>
                </a:cubicBezTo>
                <a:cubicBezTo>
                  <a:pt x="97" y="37"/>
                  <a:pt x="95" y="35"/>
                  <a:pt x="93" y="33"/>
                </a:cubicBezTo>
                <a:cubicBezTo>
                  <a:pt x="92" y="30"/>
                  <a:pt x="92" y="30"/>
                  <a:pt x="92" y="27"/>
                </a:cubicBezTo>
                <a:cubicBezTo>
                  <a:pt x="92" y="24"/>
                  <a:pt x="89" y="25"/>
                  <a:pt x="89" y="22"/>
                </a:cubicBezTo>
                <a:cubicBezTo>
                  <a:pt x="89" y="19"/>
                  <a:pt x="90" y="17"/>
                  <a:pt x="91" y="14"/>
                </a:cubicBezTo>
                <a:cubicBezTo>
                  <a:pt x="91" y="12"/>
                  <a:pt x="88" y="8"/>
                  <a:pt x="88" y="8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5" name="Google Shape;495;p102"/>
          <p:cNvSpPr/>
          <p:nvPr/>
        </p:nvSpPr>
        <p:spPr>
          <a:xfrm>
            <a:off x="8436755" y="3058581"/>
            <a:ext cx="779026" cy="368733"/>
          </a:xfrm>
          <a:custGeom>
            <a:avLst/>
            <a:gdLst/>
            <a:ahLst/>
            <a:cxnLst/>
            <a:rect l="l" t="t" r="r" b="b"/>
            <a:pathLst>
              <a:path w="271" h="133" extrusionOk="0">
                <a:moveTo>
                  <a:pt x="0" y="37"/>
                </a:moveTo>
                <a:cubicBezTo>
                  <a:pt x="5" y="36"/>
                  <a:pt x="5" y="36"/>
                  <a:pt x="5" y="36"/>
                </a:cubicBezTo>
                <a:cubicBezTo>
                  <a:pt x="8" y="34"/>
                  <a:pt x="8" y="34"/>
                  <a:pt x="8" y="34"/>
                </a:cubicBezTo>
                <a:cubicBezTo>
                  <a:pt x="10" y="31"/>
                  <a:pt x="10" y="31"/>
                  <a:pt x="10" y="31"/>
                </a:cubicBezTo>
                <a:cubicBezTo>
                  <a:pt x="10" y="29"/>
                  <a:pt x="10" y="29"/>
                  <a:pt x="10" y="29"/>
                </a:cubicBezTo>
                <a:cubicBezTo>
                  <a:pt x="12" y="26"/>
                  <a:pt x="12" y="26"/>
                  <a:pt x="12" y="26"/>
                </a:cubicBezTo>
                <a:cubicBezTo>
                  <a:pt x="16" y="24"/>
                  <a:pt x="16" y="24"/>
                  <a:pt x="16" y="24"/>
                </a:cubicBezTo>
                <a:cubicBezTo>
                  <a:pt x="20" y="22"/>
                  <a:pt x="20" y="22"/>
                  <a:pt x="20" y="22"/>
                </a:cubicBezTo>
                <a:cubicBezTo>
                  <a:pt x="26" y="20"/>
                  <a:pt x="26" y="20"/>
                  <a:pt x="26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34" y="17"/>
                  <a:pt x="34" y="17"/>
                  <a:pt x="34" y="17"/>
                </a:cubicBezTo>
                <a:cubicBezTo>
                  <a:pt x="39" y="18"/>
                  <a:pt x="39" y="18"/>
                  <a:pt x="39" y="18"/>
                </a:cubicBezTo>
                <a:cubicBezTo>
                  <a:pt x="41" y="21"/>
                  <a:pt x="41" y="21"/>
                  <a:pt x="41" y="21"/>
                </a:cubicBezTo>
                <a:cubicBezTo>
                  <a:pt x="46" y="18"/>
                  <a:pt x="46" y="18"/>
                  <a:pt x="46" y="18"/>
                </a:cubicBezTo>
                <a:cubicBezTo>
                  <a:pt x="52" y="22"/>
                  <a:pt x="52" y="22"/>
                  <a:pt x="52" y="22"/>
                </a:cubicBezTo>
                <a:cubicBezTo>
                  <a:pt x="57" y="24"/>
                  <a:pt x="57" y="24"/>
                  <a:pt x="57" y="24"/>
                </a:cubicBezTo>
                <a:cubicBezTo>
                  <a:pt x="63" y="25"/>
                  <a:pt x="63" y="25"/>
                  <a:pt x="63" y="25"/>
                </a:cubicBezTo>
                <a:cubicBezTo>
                  <a:pt x="69" y="26"/>
                  <a:pt x="69" y="26"/>
                  <a:pt x="69" y="26"/>
                </a:cubicBezTo>
                <a:cubicBezTo>
                  <a:pt x="77" y="25"/>
                  <a:pt x="77" y="25"/>
                  <a:pt x="77" y="25"/>
                </a:cubicBezTo>
                <a:cubicBezTo>
                  <a:pt x="84" y="25"/>
                  <a:pt x="84" y="25"/>
                  <a:pt x="84" y="25"/>
                </a:cubicBezTo>
                <a:cubicBezTo>
                  <a:pt x="86" y="23"/>
                  <a:pt x="86" y="23"/>
                  <a:pt x="86" y="23"/>
                </a:cubicBezTo>
                <a:cubicBezTo>
                  <a:pt x="85" y="17"/>
                  <a:pt x="85" y="17"/>
                  <a:pt x="85" y="17"/>
                </a:cubicBezTo>
                <a:cubicBezTo>
                  <a:pt x="83" y="13"/>
                  <a:pt x="83" y="13"/>
                  <a:pt x="83" y="13"/>
                </a:cubicBezTo>
                <a:cubicBezTo>
                  <a:pt x="78" y="11"/>
                  <a:pt x="78" y="11"/>
                  <a:pt x="78" y="11"/>
                </a:cubicBezTo>
                <a:cubicBezTo>
                  <a:pt x="80" y="7"/>
                  <a:pt x="80" y="7"/>
                  <a:pt x="80" y="7"/>
                </a:cubicBezTo>
                <a:cubicBezTo>
                  <a:pt x="82" y="4"/>
                  <a:pt x="82" y="4"/>
                  <a:pt x="82" y="4"/>
                </a:cubicBezTo>
                <a:cubicBezTo>
                  <a:pt x="84" y="0"/>
                  <a:pt x="84" y="0"/>
                  <a:pt x="84" y="0"/>
                </a:cubicBezTo>
                <a:cubicBezTo>
                  <a:pt x="90" y="1"/>
                  <a:pt x="90" y="1"/>
                  <a:pt x="90" y="1"/>
                </a:cubicBezTo>
                <a:cubicBezTo>
                  <a:pt x="94" y="2"/>
                  <a:pt x="94" y="2"/>
                  <a:pt x="94" y="2"/>
                </a:cubicBezTo>
                <a:cubicBezTo>
                  <a:pt x="100" y="2"/>
                  <a:pt x="100" y="2"/>
                  <a:pt x="100" y="2"/>
                </a:cubicBezTo>
                <a:cubicBezTo>
                  <a:pt x="103" y="5"/>
                  <a:pt x="103" y="5"/>
                  <a:pt x="103" y="5"/>
                </a:cubicBezTo>
                <a:cubicBezTo>
                  <a:pt x="109" y="5"/>
                  <a:pt x="109" y="5"/>
                  <a:pt x="109" y="5"/>
                </a:cubicBezTo>
                <a:cubicBezTo>
                  <a:pt x="117" y="12"/>
                  <a:pt x="117" y="12"/>
                  <a:pt x="117" y="12"/>
                </a:cubicBezTo>
                <a:cubicBezTo>
                  <a:pt x="122" y="16"/>
                  <a:pt x="122" y="16"/>
                  <a:pt x="122" y="16"/>
                </a:cubicBezTo>
                <a:cubicBezTo>
                  <a:pt x="125" y="22"/>
                  <a:pt x="125" y="22"/>
                  <a:pt x="125" y="22"/>
                </a:cubicBezTo>
                <a:cubicBezTo>
                  <a:pt x="128" y="24"/>
                  <a:pt x="128" y="24"/>
                  <a:pt x="128" y="24"/>
                </a:cubicBezTo>
                <a:cubicBezTo>
                  <a:pt x="134" y="28"/>
                  <a:pt x="134" y="28"/>
                  <a:pt x="134" y="28"/>
                </a:cubicBezTo>
                <a:cubicBezTo>
                  <a:pt x="138" y="27"/>
                  <a:pt x="138" y="27"/>
                  <a:pt x="138" y="27"/>
                </a:cubicBezTo>
                <a:cubicBezTo>
                  <a:pt x="141" y="27"/>
                  <a:pt x="141" y="27"/>
                  <a:pt x="141" y="27"/>
                </a:cubicBezTo>
                <a:cubicBezTo>
                  <a:pt x="146" y="26"/>
                  <a:pt x="146" y="26"/>
                  <a:pt x="146" y="26"/>
                </a:cubicBezTo>
                <a:cubicBezTo>
                  <a:pt x="149" y="23"/>
                  <a:pt x="149" y="23"/>
                  <a:pt x="149" y="23"/>
                </a:cubicBezTo>
                <a:cubicBezTo>
                  <a:pt x="155" y="25"/>
                  <a:pt x="155" y="25"/>
                  <a:pt x="155" y="25"/>
                </a:cubicBezTo>
                <a:cubicBezTo>
                  <a:pt x="163" y="27"/>
                  <a:pt x="163" y="27"/>
                  <a:pt x="163" y="27"/>
                </a:cubicBezTo>
                <a:cubicBezTo>
                  <a:pt x="166" y="28"/>
                  <a:pt x="166" y="28"/>
                  <a:pt x="166" y="28"/>
                </a:cubicBezTo>
                <a:cubicBezTo>
                  <a:pt x="166" y="31"/>
                  <a:pt x="166" y="31"/>
                  <a:pt x="166" y="31"/>
                </a:cubicBezTo>
                <a:cubicBezTo>
                  <a:pt x="169" y="34"/>
                  <a:pt x="169" y="34"/>
                  <a:pt x="169" y="34"/>
                </a:cubicBezTo>
                <a:cubicBezTo>
                  <a:pt x="174" y="34"/>
                  <a:pt x="174" y="34"/>
                  <a:pt x="174" y="34"/>
                </a:cubicBezTo>
                <a:cubicBezTo>
                  <a:pt x="178" y="37"/>
                  <a:pt x="178" y="37"/>
                  <a:pt x="178" y="37"/>
                </a:cubicBezTo>
                <a:cubicBezTo>
                  <a:pt x="182" y="37"/>
                  <a:pt x="182" y="37"/>
                  <a:pt x="182" y="37"/>
                </a:cubicBezTo>
                <a:cubicBezTo>
                  <a:pt x="186" y="35"/>
                  <a:pt x="186" y="35"/>
                  <a:pt x="186" y="35"/>
                </a:cubicBezTo>
                <a:cubicBezTo>
                  <a:pt x="190" y="36"/>
                  <a:pt x="190" y="36"/>
                  <a:pt x="190" y="36"/>
                </a:cubicBezTo>
                <a:cubicBezTo>
                  <a:pt x="195" y="38"/>
                  <a:pt x="195" y="38"/>
                  <a:pt x="195" y="38"/>
                </a:cubicBezTo>
                <a:cubicBezTo>
                  <a:pt x="202" y="36"/>
                  <a:pt x="202" y="36"/>
                  <a:pt x="202" y="36"/>
                </a:cubicBezTo>
                <a:cubicBezTo>
                  <a:pt x="206" y="34"/>
                  <a:pt x="206" y="34"/>
                  <a:pt x="206" y="34"/>
                </a:cubicBezTo>
                <a:cubicBezTo>
                  <a:pt x="214" y="33"/>
                  <a:pt x="214" y="33"/>
                  <a:pt x="214" y="33"/>
                </a:cubicBezTo>
                <a:cubicBezTo>
                  <a:pt x="222" y="27"/>
                  <a:pt x="222" y="27"/>
                  <a:pt x="222" y="27"/>
                </a:cubicBezTo>
                <a:cubicBezTo>
                  <a:pt x="224" y="26"/>
                  <a:pt x="224" y="26"/>
                  <a:pt x="224" y="26"/>
                </a:cubicBezTo>
                <a:cubicBezTo>
                  <a:pt x="230" y="31"/>
                  <a:pt x="230" y="31"/>
                  <a:pt x="230" y="31"/>
                </a:cubicBezTo>
                <a:cubicBezTo>
                  <a:pt x="235" y="30"/>
                  <a:pt x="235" y="30"/>
                  <a:pt x="235" y="30"/>
                </a:cubicBezTo>
                <a:cubicBezTo>
                  <a:pt x="241" y="32"/>
                  <a:pt x="241" y="32"/>
                  <a:pt x="241" y="32"/>
                </a:cubicBezTo>
                <a:cubicBezTo>
                  <a:pt x="237" y="42"/>
                  <a:pt x="237" y="42"/>
                  <a:pt x="237" y="42"/>
                </a:cubicBezTo>
                <a:cubicBezTo>
                  <a:pt x="237" y="42"/>
                  <a:pt x="237" y="44"/>
                  <a:pt x="238" y="45"/>
                </a:cubicBezTo>
                <a:cubicBezTo>
                  <a:pt x="239" y="49"/>
                  <a:pt x="236" y="52"/>
                  <a:pt x="236" y="52"/>
                </a:cubicBezTo>
                <a:cubicBezTo>
                  <a:pt x="235" y="57"/>
                  <a:pt x="235" y="57"/>
                  <a:pt x="235" y="57"/>
                </a:cubicBezTo>
                <a:cubicBezTo>
                  <a:pt x="242" y="59"/>
                  <a:pt x="242" y="59"/>
                  <a:pt x="242" y="59"/>
                </a:cubicBezTo>
                <a:cubicBezTo>
                  <a:pt x="248" y="58"/>
                  <a:pt x="248" y="58"/>
                  <a:pt x="248" y="58"/>
                </a:cubicBezTo>
                <a:cubicBezTo>
                  <a:pt x="253" y="53"/>
                  <a:pt x="253" y="53"/>
                  <a:pt x="253" y="53"/>
                </a:cubicBezTo>
                <a:cubicBezTo>
                  <a:pt x="256" y="54"/>
                  <a:pt x="256" y="54"/>
                  <a:pt x="256" y="54"/>
                </a:cubicBezTo>
                <a:cubicBezTo>
                  <a:pt x="258" y="57"/>
                  <a:pt x="258" y="57"/>
                  <a:pt x="258" y="57"/>
                </a:cubicBezTo>
                <a:cubicBezTo>
                  <a:pt x="262" y="60"/>
                  <a:pt x="262" y="60"/>
                  <a:pt x="262" y="60"/>
                </a:cubicBezTo>
                <a:cubicBezTo>
                  <a:pt x="268" y="62"/>
                  <a:pt x="268" y="62"/>
                  <a:pt x="268" y="62"/>
                </a:cubicBezTo>
                <a:cubicBezTo>
                  <a:pt x="271" y="66"/>
                  <a:pt x="271" y="66"/>
                  <a:pt x="271" y="66"/>
                </a:cubicBezTo>
                <a:cubicBezTo>
                  <a:pt x="270" y="70"/>
                  <a:pt x="270" y="70"/>
                  <a:pt x="270" y="70"/>
                </a:cubicBezTo>
                <a:cubicBezTo>
                  <a:pt x="270" y="70"/>
                  <a:pt x="265" y="69"/>
                  <a:pt x="262" y="70"/>
                </a:cubicBezTo>
                <a:cubicBezTo>
                  <a:pt x="260" y="70"/>
                  <a:pt x="256" y="75"/>
                  <a:pt x="256" y="75"/>
                </a:cubicBezTo>
                <a:cubicBezTo>
                  <a:pt x="251" y="74"/>
                  <a:pt x="251" y="74"/>
                  <a:pt x="251" y="74"/>
                </a:cubicBezTo>
                <a:cubicBezTo>
                  <a:pt x="244" y="79"/>
                  <a:pt x="244" y="79"/>
                  <a:pt x="244" y="79"/>
                </a:cubicBezTo>
                <a:cubicBezTo>
                  <a:pt x="242" y="77"/>
                  <a:pt x="242" y="77"/>
                  <a:pt x="242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2"/>
                  <a:pt x="237" y="82"/>
                  <a:pt x="237" y="82"/>
                </a:cubicBezTo>
                <a:cubicBezTo>
                  <a:pt x="234" y="84"/>
                  <a:pt x="234" y="84"/>
                  <a:pt x="234" y="84"/>
                </a:cubicBezTo>
                <a:cubicBezTo>
                  <a:pt x="223" y="87"/>
                  <a:pt x="223" y="87"/>
                  <a:pt x="223" y="87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14" y="97"/>
                  <a:pt x="214" y="97"/>
                  <a:pt x="214" y="97"/>
                </a:cubicBezTo>
                <a:cubicBezTo>
                  <a:pt x="209" y="95"/>
                  <a:pt x="209" y="95"/>
                  <a:pt x="209" y="95"/>
                </a:cubicBezTo>
                <a:cubicBezTo>
                  <a:pt x="205" y="91"/>
                  <a:pt x="205" y="91"/>
                  <a:pt x="205" y="91"/>
                </a:cubicBezTo>
                <a:cubicBezTo>
                  <a:pt x="201" y="90"/>
                  <a:pt x="201" y="90"/>
                  <a:pt x="201" y="90"/>
                </a:cubicBezTo>
                <a:cubicBezTo>
                  <a:pt x="197" y="92"/>
                  <a:pt x="197" y="92"/>
                  <a:pt x="197" y="92"/>
                </a:cubicBezTo>
                <a:cubicBezTo>
                  <a:pt x="195" y="97"/>
                  <a:pt x="195" y="97"/>
                  <a:pt x="195" y="97"/>
                </a:cubicBezTo>
                <a:cubicBezTo>
                  <a:pt x="195" y="102"/>
                  <a:pt x="195" y="102"/>
                  <a:pt x="195" y="102"/>
                </a:cubicBezTo>
                <a:cubicBezTo>
                  <a:pt x="196" y="107"/>
                  <a:pt x="196" y="107"/>
                  <a:pt x="196" y="107"/>
                </a:cubicBezTo>
                <a:cubicBezTo>
                  <a:pt x="198" y="111"/>
                  <a:pt x="198" y="111"/>
                  <a:pt x="198" y="111"/>
                </a:cubicBezTo>
                <a:cubicBezTo>
                  <a:pt x="195" y="116"/>
                  <a:pt x="195" y="116"/>
                  <a:pt x="195" y="116"/>
                </a:cubicBezTo>
                <a:cubicBezTo>
                  <a:pt x="191" y="118"/>
                  <a:pt x="191" y="118"/>
                  <a:pt x="191" y="118"/>
                </a:cubicBezTo>
                <a:cubicBezTo>
                  <a:pt x="184" y="120"/>
                  <a:pt x="184" y="120"/>
                  <a:pt x="184" y="120"/>
                </a:cubicBezTo>
                <a:cubicBezTo>
                  <a:pt x="175" y="122"/>
                  <a:pt x="175" y="122"/>
                  <a:pt x="175" y="122"/>
                </a:cubicBezTo>
                <a:cubicBezTo>
                  <a:pt x="167" y="121"/>
                  <a:pt x="167" y="121"/>
                  <a:pt x="167" y="121"/>
                </a:cubicBezTo>
                <a:cubicBezTo>
                  <a:pt x="163" y="123"/>
                  <a:pt x="163" y="123"/>
                  <a:pt x="163" y="123"/>
                </a:cubicBezTo>
                <a:cubicBezTo>
                  <a:pt x="159" y="123"/>
                  <a:pt x="159" y="123"/>
                  <a:pt x="159" y="123"/>
                </a:cubicBezTo>
                <a:cubicBezTo>
                  <a:pt x="155" y="128"/>
                  <a:pt x="155" y="128"/>
                  <a:pt x="155" y="128"/>
                </a:cubicBezTo>
                <a:cubicBezTo>
                  <a:pt x="149" y="130"/>
                  <a:pt x="149" y="130"/>
                  <a:pt x="149" y="130"/>
                </a:cubicBezTo>
                <a:cubicBezTo>
                  <a:pt x="143" y="130"/>
                  <a:pt x="143" y="130"/>
                  <a:pt x="143" y="130"/>
                </a:cubicBezTo>
                <a:cubicBezTo>
                  <a:pt x="137" y="133"/>
                  <a:pt x="137" y="133"/>
                  <a:pt x="137" y="133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24" y="129"/>
                  <a:pt x="124" y="129"/>
                  <a:pt x="124" y="129"/>
                </a:cubicBezTo>
                <a:cubicBezTo>
                  <a:pt x="119" y="125"/>
                  <a:pt x="119" y="125"/>
                  <a:pt x="119" y="125"/>
                </a:cubicBezTo>
                <a:cubicBezTo>
                  <a:pt x="117" y="124"/>
                  <a:pt x="117" y="124"/>
                  <a:pt x="117" y="124"/>
                </a:cubicBezTo>
                <a:cubicBezTo>
                  <a:pt x="104" y="123"/>
                  <a:pt x="104" y="123"/>
                  <a:pt x="104" y="123"/>
                </a:cubicBezTo>
                <a:cubicBezTo>
                  <a:pt x="96" y="122"/>
                  <a:pt x="96" y="122"/>
                  <a:pt x="96" y="122"/>
                </a:cubicBezTo>
                <a:cubicBezTo>
                  <a:pt x="89" y="121"/>
                  <a:pt x="89" y="121"/>
                  <a:pt x="89" y="121"/>
                </a:cubicBezTo>
                <a:cubicBezTo>
                  <a:pt x="83" y="122"/>
                  <a:pt x="83" y="122"/>
                  <a:pt x="83" y="122"/>
                </a:cubicBezTo>
                <a:cubicBezTo>
                  <a:pt x="77" y="121"/>
                  <a:pt x="77" y="121"/>
                  <a:pt x="77" y="121"/>
                </a:cubicBezTo>
                <a:cubicBezTo>
                  <a:pt x="73" y="119"/>
                  <a:pt x="73" y="119"/>
                  <a:pt x="73" y="119"/>
                </a:cubicBezTo>
                <a:cubicBezTo>
                  <a:pt x="68" y="114"/>
                  <a:pt x="68" y="114"/>
                  <a:pt x="68" y="114"/>
                </a:cubicBezTo>
                <a:cubicBezTo>
                  <a:pt x="63" y="110"/>
                  <a:pt x="63" y="110"/>
                  <a:pt x="63" y="110"/>
                </a:cubicBezTo>
                <a:cubicBezTo>
                  <a:pt x="60" y="107"/>
                  <a:pt x="60" y="107"/>
                  <a:pt x="60" y="107"/>
                </a:cubicBezTo>
                <a:cubicBezTo>
                  <a:pt x="58" y="103"/>
                  <a:pt x="58" y="103"/>
                  <a:pt x="58" y="103"/>
                </a:cubicBezTo>
                <a:cubicBezTo>
                  <a:pt x="55" y="99"/>
                  <a:pt x="55" y="99"/>
                  <a:pt x="55" y="99"/>
                </a:cubicBezTo>
                <a:cubicBezTo>
                  <a:pt x="50" y="97"/>
                  <a:pt x="50" y="97"/>
                  <a:pt x="50" y="97"/>
                </a:cubicBezTo>
                <a:cubicBezTo>
                  <a:pt x="47" y="95"/>
                  <a:pt x="47" y="95"/>
                  <a:pt x="47" y="95"/>
                </a:cubicBezTo>
                <a:cubicBezTo>
                  <a:pt x="42" y="92"/>
                  <a:pt x="42" y="92"/>
                  <a:pt x="42" y="92"/>
                </a:cubicBezTo>
                <a:cubicBezTo>
                  <a:pt x="37" y="92"/>
                  <a:pt x="37" y="92"/>
                  <a:pt x="37" y="92"/>
                </a:cubicBezTo>
                <a:cubicBezTo>
                  <a:pt x="32" y="90"/>
                  <a:pt x="32" y="90"/>
                  <a:pt x="32" y="90"/>
                </a:cubicBezTo>
                <a:cubicBezTo>
                  <a:pt x="31" y="86"/>
                  <a:pt x="31" y="86"/>
                  <a:pt x="31" y="86"/>
                </a:cubicBezTo>
                <a:cubicBezTo>
                  <a:pt x="32" y="81"/>
                  <a:pt x="32" y="81"/>
                  <a:pt x="32" y="81"/>
                </a:cubicBezTo>
                <a:cubicBezTo>
                  <a:pt x="33" y="77"/>
                  <a:pt x="33" y="77"/>
                  <a:pt x="33" y="77"/>
                </a:cubicBezTo>
                <a:cubicBezTo>
                  <a:pt x="30" y="72"/>
                  <a:pt x="30" y="72"/>
                  <a:pt x="30" y="72"/>
                </a:cubicBezTo>
                <a:cubicBezTo>
                  <a:pt x="25" y="70"/>
                  <a:pt x="25" y="70"/>
                  <a:pt x="25" y="70"/>
                </a:cubicBezTo>
                <a:cubicBezTo>
                  <a:pt x="25" y="67"/>
                  <a:pt x="25" y="67"/>
                  <a:pt x="25" y="67"/>
                </a:cubicBezTo>
                <a:cubicBezTo>
                  <a:pt x="20" y="61"/>
                  <a:pt x="20" y="61"/>
                  <a:pt x="20" y="61"/>
                </a:cubicBezTo>
                <a:cubicBezTo>
                  <a:pt x="15" y="58"/>
                  <a:pt x="15" y="58"/>
                  <a:pt x="15" y="58"/>
                </a:cubicBezTo>
                <a:cubicBezTo>
                  <a:pt x="9" y="59"/>
                  <a:pt x="9" y="59"/>
                  <a:pt x="9" y="59"/>
                </a:cubicBezTo>
                <a:cubicBezTo>
                  <a:pt x="5" y="58"/>
                  <a:pt x="5" y="58"/>
                  <a:pt x="5" y="58"/>
                </a:cubicBezTo>
                <a:cubicBezTo>
                  <a:pt x="2" y="55"/>
                  <a:pt x="2" y="55"/>
                  <a:pt x="2" y="55"/>
                </a:cubicBezTo>
                <a:cubicBezTo>
                  <a:pt x="1" y="52"/>
                  <a:pt x="1" y="52"/>
                  <a:pt x="1" y="52"/>
                </a:cubicBezTo>
                <a:cubicBezTo>
                  <a:pt x="0" y="45"/>
                  <a:pt x="0" y="45"/>
                  <a:pt x="0" y="45"/>
                </a:cubicBezTo>
                <a:lnTo>
                  <a:pt x="0" y="37"/>
                </a:lnTo>
                <a:close/>
                <a:moveTo>
                  <a:pt x="39" y="20"/>
                </a:moveTo>
                <a:cubicBezTo>
                  <a:pt x="39" y="20"/>
                  <a:pt x="41" y="21"/>
                  <a:pt x="41" y="21"/>
                </a:cubicBezTo>
                <a:cubicBezTo>
                  <a:pt x="40" y="22"/>
                  <a:pt x="40" y="23"/>
                  <a:pt x="40" y="24"/>
                </a:cubicBezTo>
                <a:cubicBezTo>
                  <a:pt x="39" y="24"/>
                  <a:pt x="39" y="24"/>
                  <a:pt x="37" y="24"/>
                </a:cubicBezTo>
                <a:cubicBezTo>
                  <a:pt x="37" y="24"/>
                  <a:pt x="36" y="22"/>
                  <a:pt x="36" y="22"/>
                </a:cubicBezTo>
                <a:cubicBezTo>
                  <a:pt x="37" y="21"/>
                  <a:pt x="38" y="21"/>
                  <a:pt x="39" y="20"/>
                </a:cubicBezTo>
                <a:close/>
                <a:moveTo>
                  <a:pt x="105" y="11"/>
                </a:moveTo>
                <a:cubicBezTo>
                  <a:pt x="106" y="13"/>
                  <a:pt x="106" y="13"/>
                  <a:pt x="106" y="13"/>
                </a:cubicBezTo>
                <a:cubicBezTo>
                  <a:pt x="107" y="16"/>
                  <a:pt x="103" y="22"/>
                  <a:pt x="103" y="14"/>
                </a:cubicBezTo>
                <a:lnTo>
                  <a:pt x="105" y="11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6" name="Google Shape;496;p102"/>
          <p:cNvSpPr/>
          <p:nvPr/>
        </p:nvSpPr>
        <p:spPr>
          <a:xfrm>
            <a:off x="6410700" y="3352438"/>
            <a:ext cx="8803" cy="8477"/>
          </a:xfrm>
          <a:custGeom>
            <a:avLst/>
            <a:gdLst/>
            <a:ahLst/>
            <a:cxnLst/>
            <a:rect l="l" t="t" r="r" b="b"/>
            <a:pathLst>
              <a:path w="3" h="3" extrusionOk="0">
                <a:moveTo>
                  <a:pt x="1" y="3"/>
                </a:moveTo>
                <a:cubicBezTo>
                  <a:pt x="0" y="1"/>
                  <a:pt x="0" y="1"/>
                  <a:pt x="0" y="1"/>
                </a:cubicBezTo>
                <a:cubicBezTo>
                  <a:pt x="2" y="0"/>
                  <a:pt x="2" y="0"/>
                  <a:pt x="2" y="0"/>
                </a:cubicBezTo>
                <a:cubicBezTo>
                  <a:pt x="3" y="2"/>
                  <a:pt x="3" y="2"/>
                  <a:pt x="3" y="2"/>
                </a:cubicBezTo>
                <a:cubicBezTo>
                  <a:pt x="2" y="2"/>
                  <a:pt x="2" y="3"/>
                  <a:pt x="2" y="3"/>
                </a:cubicBezTo>
                <a:lnTo>
                  <a:pt x="1" y="3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7" name="Google Shape;497;p102"/>
          <p:cNvSpPr/>
          <p:nvPr/>
        </p:nvSpPr>
        <p:spPr>
          <a:xfrm>
            <a:off x="6410700" y="3352438"/>
            <a:ext cx="8803" cy="8477"/>
          </a:xfrm>
          <a:custGeom>
            <a:avLst/>
            <a:gdLst/>
            <a:ahLst/>
            <a:cxnLst/>
            <a:rect l="l" t="t" r="r" b="b"/>
            <a:pathLst>
              <a:path w="3" h="3" extrusionOk="0">
                <a:moveTo>
                  <a:pt x="1" y="3"/>
                </a:moveTo>
                <a:cubicBezTo>
                  <a:pt x="0" y="1"/>
                  <a:pt x="0" y="1"/>
                  <a:pt x="0" y="1"/>
                </a:cubicBezTo>
                <a:cubicBezTo>
                  <a:pt x="2" y="0"/>
                  <a:pt x="2" y="0"/>
                  <a:pt x="2" y="0"/>
                </a:cubicBezTo>
                <a:cubicBezTo>
                  <a:pt x="3" y="2"/>
                  <a:pt x="3" y="2"/>
                  <a:pt x="3" y="2"/>
                </a:cubicBezTo>
                <a:cubicBezTo>
                  <a:pt x="2" y="2"/>
                  <a:pt x="2" y="3"/>
                  <a:pt x="2" y="3"/>
                </a:cubicBezTo>
                <a:lnTo>
                  <a:pt x="1" y="3"/>
                </a:ln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8" name="Google Shape;498;p102"/>
          <p:cNvSpPr/>
          <p:nvPr/>
        </p:nvSpPr>
        <p:spPr>
          <a:xfrm>
            <a:off x="3332740" y="3709869"/>
            <a:ext cx="759954" cy="546742"/>
          </a:xfrm>
          <a:custGeom>
            <a:avLst/>
            <a:gdLst/>
            <a:ahLst/>
            <a:cxnLst/>
            <a:rect l="l" t="t" r="r" b="b"/>
            <a:pathLst>
              <a:path w="264" h="197" extrusionOk="0">
                <a:moveTo>
                  <a:pt x="0" y="1"/>
                </a:moveTo>
                <a:cubicBezTo>
                  <a:pt x="0" y="3"/>
                  <a:pt x="0" y="4"/>
                  <a:pt x="1" y="6"/>
                </a:cubicBezTo>
                <a:cubicBezTo>
                  <a:pt x="1" y="7"/>
                  <a:pt x="3" y="7"/>
                  <a:pt x="4" y="8"/>
                </a:cubicBezTo>
                <a:cubicBezTo>
                  <a:pt x="4" y="9"/>
                  <a:pt x="3" y="10"/>
                  <a:pt x="4" y="11"/>
                </a:cubicBezTo>
                <a:cubicBezTo>
                  <a:pt x="4" y="12"/>
                  <a:pt x="6" y="13"/>
                  <a:pt x="7" y="14"/>
                </a:cubicBezTo>
                <a:cubicBezTo>
                  <a:pt x="8" y="16"/>
                  <a:pt x="6" y="19"/>
                  <a:pt x="8" y="22"/>
                </a:cubicBezTo>
                <a:cubicBezTo>
                  <a:pt x="8" y="22"/>
                  <a:pt x="10" y="23"/>
                  <a:pt x="10" y="23"/>
                </a:cubicBezTo>
                <a:cubicBezTo>
                  <a:pt x="11" y="23"/>
                  <a:pt x="10" y="25"/>
                  <a:pt x="11" y="25"/>
                </a:cubicBezTo>
                <a:cubicBezTo>
                  <a:pt x="11" y="26"/>
                  <a:pt x="13" y="26"/>
                  <a:pt x="14" y="27"/>
                </a:cubicBezTo>
                <a:cubicBezTo>
                  <a:pt x="14" y="27"/>
                  <a:pt x="14" y="28"/>
                  <a:pt x="14" y="29"/>
                </a:cubicBezTo>
                <a:cubicBezTo>
                  <a:pt x="15" y="29"/>
                  <a:pt x="17" y="28"/>
                  <a:pt x="18" y="29"/>
                </a:cubicBezTo>
                <a:cubicBezTo>
                  <a:pt x="18" y="29"/>
                  <a:pt x="18" y="31"/>
                  <a:pt x="19" y="31"/>
                </a:cubicBezTo>
                <a:cubicBezTo>
                  <a:pt x="20" y="32"/>
                  <a:pt x="21" y="32"/>
                  <a:pt x="22" y="33"/>
                </a:cubicBezTo>
                <a:cubicBezTo>
                  <a:pt x="24" y="36"/>
                  <a:pt x="22" y="37"/>
                  <a:pt x="23" y="41"/>
                </a:cubicBezTo>
                <a:cubicBezTo>
                  <a:pt x="23" y="41"/>
                  <a:pt x="25" y="43"/>
                  <a:pt x="25" y="43"/>
                </a:cubicBezTo>
                <a:cubicBezTo>
                  <a:pt x="25" y="47"/>
                  <a:pt x="24" y="50"/>
                  <a:pt x="24" y="53"/>
                </a:cubicBezTo>
                <a:cubicBezTo>
                  <a:pt x="22" y="53"/>
                  <a:pt x="20" y="53"/>
                  <a:pt x="17" y="53"/>
                </a:cubicBezTo>
                <a:cubicBezTo>
                  <a:pt x="17" y="55"/>
                  <a:pt x="17" y="55"/>
                  <a:pt x="17" y="55"/>
                </a:cubicBezTo>
                <a:cubicBezTo>
                  <a:pt x="19" y="56"/>
                  <a:pt x="21" y="57"/>
                  <a:pt x="22" y="58"/>
                </a:cubicBezTo>
                <a:cubicBezTo>
                  <a:pt x="23" y="59"/>
                  <a:pt x="24" y="62"/>
                  <a:pt x="25" y="62"/>
                </a:cubicBezTo>
                <a:cubicBezTo>
                  <a:pt x="25" y="62"/>
                  <a:pt x="26" y="62"/>
                  <a:pt x="27" y="62"/>
                </a:cubicBezTo>
                <a:cubicBezTo>
                  <a:pt x="27" y="63"/>
                  <a:pt x="27" y="64"/>
                  <a:pt x="28" y="65"/>
                </a:cubicBezTo>
                <a:cubicBezTo>
                  <a:pt x="28" y="65"/>
                  <a:pt x="30" y="64"/>
                  <a:pt x="31" y="65"/>
                </a:cubicBezTo>
                <a:cubicBezTo>
                  <a:pt x="32" y="65"/>
                  <a:pt x="40" y="72"/>
                  <a:pt x="41" y="73"/>
                </a:cubicBezTo>
                <a:cubicBezTo>
                  <a:pt x="41" y="75"/>
                  <a:pt x="40" y="74"/>
                  <a:pt x="40" y="76"/>
                </a:cubicBezTo>
                <a:cubicBezTo>
                  <a:pt x="40" y="76"/>
                  <a:pt x="42" y="79"/>
                  <a:pt x="42" y="80"/>
                </a:cubicBezTo>
                <a:cubicBezTo>
                  <a:pt x="43" y="82"/>
                  <a:pt x="41" y="86"/>
                  <a:pt x="42" y="88"/>
                </a:cubicBezTo>
                <a:cubicBezTo>
                  <a:pt x="43" y="89"/>
                  <a:pt x="45" y="89"/>
                  <a:pt x="46" y="90"/>
                </a:cubicBezTo>
                <a:cubicBezTo>
                  <a:pt x="47" y="90"/>
                  <a:pt x="46" y="92"/>
                  <a:pt x="47" y="93"/>
                </a:cubicBezTo>
                <a:cubicBezTo>
                  <a:pt x="47" y="93"/>
                  <a:pt x="49" y="94"/>
                  <a:pt x="50" y="95"/>
                </a:cubicBezTo>
                <a:cubicBezTo>
                  <a:pt x="51" y="96"/>
                  <a:pt x="58" y="104"/>
                  <a:pt x="58" y="105"/>
                </a:cubicBezTo>
                <a:cubicBezTo>
                  <a:pt x="58" y="106"/>
                  <a:pt x="58" y="107"/>
                  <a:pt x="58" y="109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1" y="109"/>
                  <a:pt x="60" y="108"/>
                  <a:pt x="61" y="107"/>
                </a:cubicBezTo>
                <a:cubicBezTo>
                  <a:pt x="61" y="107"/>
                  <a:pt x="61" y="107"/>
                  <a:pt x="61" y="107"/>
                </a:cubicBezTo>
                <a:cubicBezTo>
                  <a:pt x="62" y="107"/>
                  <a:pt x="63" y="106"/>
                  <a:pt x="63" y="105"/>
                </a:cubicBezTo>
                <a:cubicBezTo>
                  <a:pt x="63" y="104"/>
                  <a:pt x="64" y="103"/>
                  <a:pt x="63" y="101"/>
                </a:cubicBezTo>
                <a:cubicBezTo>
                  <a:pt x="63" y="101"/>
                  <a:pt x="58" y="98"/>
                  <a:pt x="58" y="98"/>
                </a:cubicBezTo>
                <a:cubicBezTo>
                  <a:pt x="58" y="97"/>
                  <a:pt x="58" y="96"/>
                  <a:pt x="58" y="95"/>
                </a:cubicBezTo>
                <a:cubicBezTo>
                  <a:pt x="57" y="95"/>
                  <a:pt x="57" y="94"/>
                  <a:pt x="57" y="94"/>
                </a:cubicBezTo>
                <a:cubicBezTo>
                  <a:pt x="56" y="94"/>
                  <a:pt x="55" y="94"/>
                  <a:pt x="54" y="94"/>
                </a:cubicBezTo>
                <a:cubicBezTo>
                  <a:pt x="53" y="94"/>
                  <a:pt x="54" y="92"/>
                  <a:pt x="53" y="92"/>
                </a:cubicBezTo>
                <a:cubicBezTo>
                  <a:pt x="53" y="91"/>
                  <a:pt x="55" y="90"/>
                  <a:pt x="54" y="88"/>
                </a:cubicBezTo>
                <a:cubicBezTo>
                  <a:pt x="54" y="87"/>
                  <a:pt x="52" y="87"/>
                  <a:pt x="51" y="86"/>
                </a:cubicBezTo>
                <a:cubicBezTo>
                  <a:pt x="51" y="84"/>
                  <a:pt x="52" y="83"/>
                  <a:pt x="52" y="81"/>
                </a:cubicBezTo>
                <a:cubicBezTo>
                  <a:pt x="52" y="81"/>
                  <a:pt x="48" y="76"/>
                  <a:pt x="48" y="76"/>
                </a:cubicBezTo>
                <a:cubicBezTo>
                  <a:pt x="48" y="75"/>
                  <a:pt x="48" y="74"/>
                  <a:pt x="48" y="73"/>
                </a:cubicBezTo>
                <a:cubicBezTo>
                  <a:pt x="47" y="69"/>
                  <a:pt x="45" y="65"/>
                  <a:pt x="41" y="63"/>
                </a:cubicBezTo>
                <a:cubicBezTo>
                  <a:pt x="42" y="62"/>
                  <a:pt x="43" y="60"/>
                  <a:pt x="42" y="59"/>
                </a:cubicBezTo>
                <a:cubicBezTo>
                  <a:pt x="42" y="58"/>
                  <a:pt x="40" y="58"/>
                  <a:pt x="39" y="57"/>
                </a:cubicBezTo>
                <a:cubicBezTo>
                  <a:pt x="39" y="57"/>
                  <a:pt x="40" y="55"/>
                  <a:pt x="39" y="55"/>
                </a:cubicBezTo>
                <a:cubicBezTo>
                  <a:pt x="39" y="54"/>
                  <a:pt x="37" y="53"/>
                  <a:pt x="36" y="52"/>
                </a:cubicBezTo>
                <a:cubicBezTo>
                  <a:pt x="35" y="50"/>
                  <a:pt x="36" y="47"/>
                  <a:pt x="35" y="45"/>
                </a:cubicBezTo>
                <a:cubicBezTo>
                  <a:pt x="33" y="44"/>
                  <a:pt x="33" y="44"/>
                  <a:pt x="33" y="44"/>
                </a:cubicBezTo>
                <a:cubicBezTo>
                  <a:pt x="33" y="44"/>
                  <a:pt x="34" y="42"/>
                  <a:pt x="33" y="42"/>
                </a:cubicBezTo>
                <a:cubicBezTo>
                  <a:pt x="33" y="42"/>
                  <a:pt x="33" y="42"/>
                  <a:pt x="33" y="42"/>
                </a:cubicBezTo>
                <a:cubicBezTo>
                  <a:pt x="33" y="41"/>
                  <a:pt x="33" y="41"/>
                  <a:pt x="33" y="41"/>
                </a:cubicBezTo>
                <a:cubicBezTo>
                  <a:pt x="32" y="41"/>
                  <a:pt x="31" y="42"/>
                  <a:pt x="30" y="41"/>
                </a:cubicBezTo>
                <a:cubicBezTo>
                  <a:pt x="30" y="40"/>
                  <a:pt x="30" y="37"/>
                  <a:pt x="31" y="37"/>
                </a:cubicBezTo>
                <a:cubicBezTo>
                  <a:pt x="31" y="36"/>
                  <a:pt x="31" y="36"/>
                  <a:pt x="31" y="36"/>
                </a:cubicBezTo>
                <a:cubicBezTo>
                  <a:pt x="28" y="31"/>
                  <a:pt x="28" y="31"/>
                  <a:pt x="28" y="31"/>
                </a:cubicBezTo>
                <a:cubicBezTo>
                  <a:pt x="27" y="31"/>
                  <a:pt x="26" y="31"/>
                  <a:pt x="25" y="31"/>
                </a:cubicBezTo>
                <a:cubicBezTo>
                  <a:pt x="25" y="31"/>
                  <a:pt x="25" y="29"/>
                  <a:pt x="25" y="29"/>
                </a:cubicBezTo>
                <a:cubicBezTo>
                  <a:pt x="25" y="28"/>
                  <a:pt x="23" y="26"/>
                  <a:pt x="22" y="25"/>
                </a:cubicBezTo>
                <a:cubicBezTo>
                  <a:pt x="21" y="23"/>
                  <a:pt x="22" y="21"/>
                  <a:pt x="20" y="19"/>
                </a:cubicBezTo>
                <a:cubicBezTo>
                  <a:pt x="20" y="18"/>
                  <a:pt x="17" y="16"/>
                  <a:pt x="17" y="16"/>
                </a:cubicBezTo>
                <a:cubicBezTo>
                  <a:pt x="16" y="13"/>
                  <a:pt x="18" y="11"/>
                  <a:pt x="18" y="10"/>
                </a:cubicBezTo>
                <a:cubicBezTo>
                  <a:pt x="18" y="9"/>
                  <a:pt x="17" y="10"/>
                  <a:pt x="18" y="9"/>
                </a:cubicBezTo>
                <a:cubicBezTo>
                  <a:pt x="19" y="9"/>
                  <a:pt x="20" y="8"/>
                  <a:pt x="22" y="9"/>
                </a:cubicBezTo>
                <a:cubicBezTo>
                  <a:pt x="22" y="9"/>
                  <a:pt x="22" y="11"/>
                  <a:pt x="23" y="11"/>
                </a:cubicBezTo>
                <a:cubicBezTo>
                  <a:pt x="24" y="12"/>
                  <a:pt x="25" y="11"/>
                  <a:pt x="26" y="12"/>
                </a:cubicBezTo>
                <a:cubicBezTo>
                  <a:pt x="26" y="12"/>
                  <a:pt x="27" y="10"/>
                  <a:pt x="27" y="10"/>
                </a:cubicBezTo>
                <a:cubicBezTo>
                  <a:pt x="28" y="9"/>
                  <a:pt x="29" y="10"/>
                  <a:pt x="31" y="10"/>
                </a:cubicBezTo>
                <a:cubicBezTo>
                  <a:pt x="33" y="14"/>
                  <a:pt x="30" y="11"/>
                  <a:pt x="34" y="15"/>
                </a:cubicBezTo>
                <a:cubicBezTo>
                  <a:pt x="33" y="20"/>
                  <a:pt x="34" y="22"/>
                  <a:pt x="36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9" y="28"/>
                  <a:pt x="38" y="30"/>
                  <a:pt x="39" y="33"/>
                </a:cubicBezTo>
                <a:cubicBezTo>
                  <a:pt x="41" y="35"/>
                  <a:pt x="43" y="37"/>
                  <a:pt x="44" y="39"/>
                </a:cubicBezTo>
                <a:cubicBezTo>
                  <a:pt x="44" y="39"/>
                  <a:pt x="46" y="39"/>
                  <a:pt x="46" y="39"/>
                </a:cubicBezTo>
                <a:cubicBezTo>
                  <a:pt x="47" y="41"/>
                  <a:pt x="46" y="42"/>
                  <a:pt x="46" y="43"/>
                </a:cubicBezTo>
                <a:cubicBezTo>
                  <a:pt x="46" y="45"/>
                  <a:pt x="46" y="45"/>
                  <a:pt x="46" y="45"/>
                </a:cubicBezTo>
                <a:cubicBezTo>
                  <a:pt x="47" y="45"/>
                  <a:pt x="50" y="45"/>
                  <a:pt x="51" y="46"/>
                </a:cubicBezTo>
                <a:cubicBezTo>
                  <a:pt x="52" y="47"/>
                  <a:pt x="52" y="53"/>
                  <a:pt x="54" y="53"/>
                </a:cubicBezTo>
                <a:cubicBezTo>
                  <a:pt x="55" y="54"/>
                  <a:pt x="57" y="53"/>
                  <a:pt x="57" y="53"/>
                </a:cubicBezTo>
                <a:cubicBezTo>
                  <a:pt x="59" y="55"/>
                  <a:pt x="57" y="57"/>
                  <a:pt x="57" y="59"/>
                </a:cubicBezTo>
                <a:cubicBezTo>
                  <a:pt x="58" y="60"/>
                  <a:pt x="61" y="60"/>
                  <a:pt x="62" y="61"/>
                </a:cubicBezTo>
                <a:cubicBezTo>
                  <a:pt x="62" y="62"/>
                  <a:pt x="62" y="65"/>
                  <a:pt x="63" y="65"/>
                </a:cubicBezTo>
                <a:cubicBezTo>
                  <a:pt x="64" y="66"/>
                  <a:pt x="66" y="65"/>
                  <a:pt x="67" y="65"/>
                </a:cubicBezTo>
                <a:cubicBezTo>
                  <a:pt x="68" y="66"/>
                  <a:pt x="68" y="67"/>
                  <a:pt x="68" y="68"/>
                </a:cubicBezTo>
                <a:cubicBezTo>
                  <a:pt x="69" y="68"/>
                  <a:pt x="69" y="68"/>
                  <a:pt x="69" y="68"/>
                </a:cubicBezTo>
                <a:cubicBezTo>
                  <a:pt x="69" y="69"/>
                  <a:pt x="69" y="70"/>
                  <a:pt x="69" y="71"/>
                </a:cubicBezTo>
                <a:cubicBezTo>
                  <a:pt x="68" y="71"/>
                  <a:pt x="66" y="71"/>
                  <a:pt x="66" y="72"/>
                </a:cubicBezTo>
                <a:cubicBezTo>
                  <a:pt x="66" y="73"/>
                  <a:pt x="66" y="75"/>
                  <a:pt x="66" y="76"/>
                </a:cubicBezTo>
                <a:cubicBezTo>
                  <a:pt x="67" y="76"/>
                  <a:pt x="68" y="76"/>
                  <a:pt x="69" y="77"/>
                </a:cubicBezTo>
                <a:cubicBezTo>
                  <a:pt x="70" y="77"/>
                  <a:pt x="70" y="79"/>
                  <a:pt x="70" y="79"/>
                </a:cubicBezTo>
                <a:cubicBezTo>
                  <a:pt x="71" y="80"/>
                  <a:pt x="73" y="81"/>
                  <a:pt x="74" y="81"/>
                </a:cubicBezTo>
                <a:cubicBezTo>
                  <a:pt x="74" y="81"/>
                  <a:pt x="79" y="88"/>
                  <a:pt x="79" y="88"/>
                </a:cubicBezTo>
                <a:cubicBezTo>
                  <a:pt x="80" y="89"/>
                  <a:pt x="79" y="90"/>
                  <a:pt x="80" y="91"/>
                </a:cubicBezTo>
                <a:cubicBezTo>
                  <a:pt x="81" y="92"/>
                  <a:pt x="82" y="92"/>
                  <a:pt x="83" y="93"/>
                </a:cubicBezTo>
                <a:cubicBezTo>
                  <a:pt x="84" y="94"/>
                  <a:pt x="86" y="96"/>
                  <a:pt x="86" y="96"/>
                </a:cubicBezTo>
                <a:cubicBezTo>
                  <a:pt x="86" y="97"/>
                  <a:pt x="86" y="98"/>
                  <a:pt x="86" y="99"/>
                </a:cubicBezTo>
                <a:cubicBezTo>
                  <a:pt x="87" y="99"/>
                  <a:pt x="89" y="101"/>
                  <a:pt x="90" y="102"/>
                </a:cubicBezTo>
                <a:cubicBezTo>
                  <a:pt x="90" y="103"/>
                  <a:pt x="90" y="103"/>
                  <a:pt x="90" y="104"/>
                </a:cubicBezTo>
                <a:cubicBezTo>
                  <a:pt x="90" y="104"/>
                  <a:pt x="92" y="105"/>
                  <a:pt x="92" y="105"/>
                </a:cubicBezTo>
                <a:cubicBezTo>
                  <a:pt x="93" y="107"/>
                  <a:pt x="92" y="108"/>
                  <a:pt x="93" y="110"/>
                </a:cubicBezTo>
                <a:cubicBezTo>
                  <a:pt x="95" y="113"/>
                  <a:pt x="97" y="114"/>
                  <a:pt x="99" y="119"/>
                </a:cubicBezTo>
                <a:cubicBezTo>
                  <a:pt x="100" y="119"/>
                  <a:pt x="100" y="119"/>
                  <a:pt x="100" y="119"/>
                </a:cubicBezTo>
                <a:cubicBezTo>
                  <a:pt x="100" y="121"/>
                  <a:pt x="100" y="122"/>
                  <a:pt x="100" y="124"/>
                </a:cubicBezTo>
                <a:cubicBezTo>
                  <a:pt x="100" y="125"/>
                  <a:pt x="103" y="126"/>
                  <a:pt x="102" y="131"/>
                </a:cubicBezTo>
                <a:cubicBezTo>
                  <a:pt x="102" y="132"/>
                  <a:pt x="100" y="134"/>
                  <a:pt x="99" y="134"/>
                </a:cubicBezTo>
                <a:cubicBezTo>
                  <a:pt x="98" y="136"/>
                  <a:pt x="101" y="137"/>
                  <a:pt x="101" y="138"/>
                </a:cubicBezTo>
                <a:cubicBezTo>
                  <a:pt x="100" y="139"/>
                  <a:pt x="98" y="139"/>
                  <a:pt x="99" y="142"/>
                </a:cubicBezTo>
                <a:cubicBezTo>
                  <a:pt x="99" y="142"/>
                  <a:pt x="100" y="145"/>
                  <a:pt x="101" y="146"/>
                </a:cubicBezTo>
                <a:cubicBezTo>
                  <a:pt x="102" y="146"/>
                  <a:pt x="102" y="146"/>
                  <a:pt x="102" y="146"/>
                </a:cubicBezTo>
                <a:cubicBezTo>
                  <a:pt x="103" y="147"/>
                  <a:pt x="102" y="148"/>
                  <a:pt x="103" y="149"/>
                </a:cubicBezTo>
                <a:cubicBezTo>
                  <a:pt x="103" y="150"/>
                  <a:pt x="107" y="153"/>
                  <a:pt x="108" y="154"/>
                </a:cubicBezTo>
                <a:cubicBezTo>
                  <a:pt x="109" y="154"/>
                  <a:pt x="110" y="154"/>
                  <a:pt x="111" y="154"/>
                </a:cubicBezTo>
                <a:cubicBezTo>
                  <a:pt x="112" y="155"/>
                  <a:pt x="111" y="156"/>
                  <a:pt x="112" y="157"/>
                </a:cubicBezTo>
                <a:cubicBezTo>
                  <a:pt x="113" y="158"/>
                  <a:pt x="115" y="159"/>
                  <a:pt x="117" y="160"/>
                </a:cubicBezTo>
                <a:cubicBezTo>
                  <a:pt x="117" y="161"/>
                  <a:pt x="119" y="163"/>
                  <a:pt x="119" y="164"/>
                </a:cubicBezTo>
                <a:cubicBezTo>
                  <a:pt x="119" y="164"/>
                  <a:pt x="121" y="167"/>
                  <a:pt x="121" y="167"/>
                </a:cubicBezTo>
                <a:cubicBezTo>
                  <a:pt x="125" y="169"/>
                  <a:pt x="128" y="167"/>
                  <a:pt x="131" y="168"/>
                </a:cubicBezTo>
                <a:cubicBezTo>
                  <a:pt x="132" y="169"/>
                  <a:pt x="133" y="172"/>
                  <a:pt x="134" y="172"/>
                </a:cubicBezTo>
                <a:cubicBezTo>
                  <a:pt x="136" y="174"/>
                  <a:pt x="140" y="175"/>
                  <a:pt x="142" y="176"/>
                </a:cubicBezTo>
                <a:cubicBezTo>
                  <a:pt x="143" y="177"/>
                  <a:pt x="143" y="178"/>
                  <a:pt x="144" y="178"/>
                </a:cubicBezTo>
                <a:cubicBezTo>
                  <a:pt x="147" y="180"/>
                  <a:pt x="149" y="179"/>
                  <a:pt x="153" y="180"/>
                </a:cubicBezTo>
                <a:cubicBezTo>
                  <a:pt x="154" y="182"/>
                  <a:pt x="154" y="182"/>
                  <a:pt x="154" y="182"/>
                </a:cubicBezTo>
                <a:cubicBezTo>
                  <a:pt x="156" y="182"/>
                  <a:pt x="156" y="181"/>
                  <a:pt x="158" y="181"/>
                </a:cubicBezTo>
                <a:cubicBezTo>
                  <a:pt x="158" y="181"/>
                  <a:pt x="158" y="183"/>
                  <a:pt x="158" y="183"/>
                </a:cubicBezTo>
                <a:cubicBezTo>
                  <a:pt x="159" y="183"/>
                  <a:pt x="160" y="183"/>
                  <a:pt x="161" y="183"/>
                </a:cubicBezTo>
                <a:cubicBezTo>
                  <a:pt x="162" y="183"/>
                  <a:pt x="163" y="185"/>
                  <a:pt x="164" y="186"/>
                </a:cubicBezTo>
                <a:cubicBezTo>
                  <a:pt x="164" y="187"/>
                  <a:pt x="164" y="187"/>
                  <a:pt x="164" y="187"/>
                </a:cubicBezTo>
                <a:cubicBezTo>
                  <a:pt x="165" y="187"/>
                  <a:pt x="166" y="186"/>
                  <a:pt x="166" y="186"/>
                </a:cubicBezTo>
                <a:cubicBezTo>
                  <a:pt x="169" y="186"/>
                  <a:pt x="168" y="187"/>
                  <a:pt x="169" y="188"/>
                </a:cubicBezTo>
                <a:cubicBezTo>
                  <a:pt x="171" y="188"/>
                  <a:pt x="173" y="187"/>
                  <a:pt x="174" y="187"/>
                </a:cubicBezTo>
                <a:cubicBezTo>
                  <a:pt x="175" y="187"/>
                  <a:pt x="175" y="188"/>
                  <a:pt x="175" y="189"/>
                </a:cubicBezTo>
                <a:cubicBezTo>
                  <a:pt x="176" y="189"/>
                  <a:pt x="178" y="190"/>
                  <a:pt x="178" y="190"/>
                </a:cubicBezTo>
                <a:cubicBezTo>
                  <a:pt x="181" y="190"/>
                  <a:pt x="182" y="187"/>
                  <a:pt x="184" y="187"/>
                </a:cubicBezTo>
                <a:cubicBezTo>
                  <a:pt x="186" y="186"/>
                  <a:pt x="188" y="187"/>
                  <a:pt x="190" y="187"/>
                </a:cubicBezTo>
                <a:cubicBezTo>
                  <a:pt x="191" y="187"/>
                  <a:pt x="193" y="185"/>
                  <a:pt x="193" y="185"/>
                </a:cubicBezTo>
                <a:cubicBezTo>
                  <a:pt x="195" y="185"/>
                  <a:pt x="194" y="186"/>
                  <a:pt x="195" y="186"/>
                </a:cubicBezTo>
                <a:cubicBezTo>
                  <a:pt x="198" y="187"/>
                  <a:pt x="200" y="186"/>
                  <a:pt x="202" y="187"/>
                </a:cubicBezTo>
                <a:cubicBezTo>
                  <a:pt x="203" y="187"/>
                  <a:pt x="204" y="190"/>
                  <a:pt x="205" y="190"/>
                </a:cubicBezTo>
                <a:cubicBezTo>
                  <a:pt x="206" y="191"/>
                  <a:pt x="207" y="190"/>
                  <a:pt x="208" y="190"/>
                </a:cubicBezTo>
                <a:cubicBezTo>
                  <a:pt x="210" y="191"/>
                  <a:pt x="211" y="194"/>
                  <a:pt x="212" y="197"/>
                </a:cubicBezTo>
                <a:cubicBezTo>
                  <a:pt x="212" y="197"/>
                  <a:pt x="212" y="197"/>
                  <a:pt x="212" y="197"/>
                </a:cubicBezTo>
                <a:cubicBezTo>
                  <a:pt x="212" y="197"/>
                  <a:pt x="214" y="194"/>
                  <a:pt x="213" y="192"/>
                </a:cubicBezTo>
                <a:cubicBezTo>
                  <a:pt x="212" y="191"/>
                  <a:pt x="218" y="184"/>
                  <a:pt x="218" y="184"/>
                </a:cubicBezTo>
                <a:cubicBezTo>
                  <a:pt x="229" y="184"/>
                  <a:pt x="229" y="184"/>
                  <a:pt x="229" y="184"/>
                </a:cubicBezTo>
                <a:cubicBezTo>
                  <a:pt x="229" y="184"/>
                  <a:pt x="229" y="181"/>
                  <a:pt x="227" y="179"/>
                </a:cubicBezTo>
                <a:cubicBezTo>
                  <a:pt x="224" y="178"/>
                  <a:pt x="222" y="174"/>
                  <a:pt x="222" y="174"/>
                </a:cubicBezTo>
                <a:cubicBezTo>
                  <a:pt x="222" y="171"/>
                  <a:pt x="222" y="171"/>
                  <a:pt x="222" y="171"/>
                </a:cubicBezTo>
                <a:cubicBezTo>
                  <a:pt x="225" y="171"/>
                  <a:pt x="225" y="171"/>
                  <a:pt x="225" y="171"/>
                </a:cubicBezTo>
                <a:cubicBezTo>
                  <a:pt x="226" y="166"/>
                  <a:pt x="226" y="166"/>
                  <a:pt x="226" y="166"/>
                </a:cubicBezTo>
                <a:cubicBezTo>
                  <a:pt x="241" y="166"/>
                  <a:pt x="241" y="166"/>
                  <a:pt x="241" y="166"/>
                </a:cubicBezTo>
                <a:cubicBezTo>
                  <a:pt x="244" y="164"/>
                  <a:pt x="244" y="164"/>
                  <a:pt x="244" y="164"/>
                </a:cubicBezTo>
                <a:cubicBezTo>
                  <a:pt x="244" y="164"/>
                  <a:pt x="246" y="161"/>
                  <a:pt x="248" y="163"/>
                </a:cubicBezTo>
                <a:cubicBezTo>
                  <a:pt x="249" y="161"/>
                  <a:pt x="250" y="160"/>
                  <a:pt x="251" y="158"/>
                </a:cubicBezTo>
                <a:cubicBezTo>
                  <a:pt x="251" y="160"/>
                  <a:pt x="251" y="162"/>
                  <a:pt x="250" y="162"/>
                </a:cubicBezTo>
                <a:cubicBezTo>
                  <a:pt x="252" y="163"/>
                  <a:pt x="253" y="164"/>
                  <a:pt x="254" y="164"/>
                </a:cubicBezTo>
                <a:cubicBezTo>
                  <a:pt x="254" y="158"/>
                  <a:pt x="255" y="154"/>
                  <a:pt x="256" y="148"/>
                </a:cubicBezTo>
                <a:cubicBezTo>
                  <a:pt x="257" y="148"/>
                  <a:pt x="257" y="148"/>
                  <a:pt x="257" y="148"/>
                </a:cubicBezTo>
                <a:cubicBezTo>
                  <a:pt x="258" y="147"/>
                  <a:pt x="256" y="146"/>
                  <a:pt x="256" y="143"/>
                </a:cubicBezTo>
                <a:cubicBezTo>
                  <a:pt x="256" y="139"/>
                  <a:pt x="264" y="129"/>
                  <a:pt x="259" y="126"/>
                </a:cubicBezTo>
                <a:cubicBezTo>
                  <a:pt x="258" y="126"/>
                  <a:pt x="257" y="126"/>
                  <a:pt x="257" y="126"/>
                </a:cubicBezTo>
                <a:cubicBezTo>
                  <a:pt x="255" y="125"/>
                  <a:pt x="255" y="125"/>
                  <a:pt x="255" y="125"/>
                </a:cubicBezTo>
                <a:cubicBezTo>
                  <a:pt x="254" y="124"/>
                  <a:pt x="249" y="125"/>
                  <a:pt x="248" y="126"/>
                </a:cubicBezTo>
                <a:cubicBezTo>
                  <a:pt x="247" y="126"/>
                  <a:pt x="246" y="128"/>
                  <a:pt x="246" y="129"/>
                </a:cubicBezTo>
                <a:cubicBezTo>
                  <a:pt x="244" y="129"/>
                  <a:pt x="243" y="128"/>
                  <a:pt x="242" y="129"/>
                </a:cubicBezTo>
                <a:cubicBezTo>
                  <a:pt x="241" y="129"/>
                  <a:pt x="240" y="131"/>
                  <a:pt x="240" y="131"/>
                </a:cubicBezTo>
                <a:cubicBezTo>
                  <a:pt x="236" y="132"/>
                  <a:pt x="235" y="130"/>
                  <a:pt x="234" y="134"/>
                </a:cubicBezTo>
                <a:cubicBezTo>
                  <a:pt x="232" y="137"/>
                  <a:pt x="232" y="142"/>
                  <a:pt x="231" y="146"/>
                </a:cubicBezTo>
                <a:cubicBezTo>
                  <a:pt x="231" y="146"/>
                  <a:pt x="228" y="148"/>
                  <a:pt x="228" y="148"/>
                </a:cubicBezTo>
                <a:cubicBezTo>
                  <a:pt x="228" y="150"/>
                  <a:pt x="229" y="152"/>
                  <a:pt x="228" y="154"/>
                </a:cubicBezTo>
                <a:cubicBezTo>
                  <a:pt x="228" y="154"/>
                  <a:pt x="228" y="154"/>
                  <a:pt x="228" y="154"/>
                </a:cubicBezTo>
                <a:cubicBezTo>
                  <a:pt x="225" y="155"/>
                  <a:pt x="224" y="158"/>
                  <a:pt x="222" y="160"/>
                </a:cubicBezTo>
                <a:cubicBezTo>
                  <a:pt x="221" y="160"/>
                  <a:pt x="219" y="161"/>
                  <a:pt x="219" y="161"/>
                </a:cubicBezTo>
                <a:cubicBezTo>
                  <a:pt x="219" y="161"/>
                  <a:pt x="218" y="159"/>
                  <a:pt x="218" y="158"/>
                </a:cubicBezTo>
                <a:cubicBezTo>
                  <a:pt x="213" y="159"/>
                  <a:pt x="212" y="159"/>
                  <a:pt x="209" y="162"/>
                </a:cubicBezTo>
                <a:cubicBezTo>
                  <a:pt x="209" y="162"/>
                  <a:pt x="208" y="164"/>
                  <a:pt x="208" y="164"/>
                </a:cubicBezTo>
                <a:cubicBezTo>
                  <a:pt x="207" y="164"/>
                  <a:pt x="205" y="164"/>
                  <a:pt x="203" y="164"/>
                </a:cubicBezTo>
                <a:cubicBezTo>
                  <a:pt x="203" y="165"/>
                  <a:pt x="203" y="165"/>
                  <a:pt x="203" y="165"/>
                </a:cubicBezTo>
                <a:cubicBezTo>
                  <a:pt x="201" y="166"/>
                  <a:pt x="198" y="165"/>
                  <a:pt x="195" y="165"/>
                </a:cubicBezTo>
                <a:cubicBezTo>
                  <a:pt x="192" y="159"/>
                  <a:pt x="191" y="159"/>
                  <a:pt x="184" y="159"/>
                </a:cubicBezTo>
                <a:cubicBezTo>
                  <a:pt x="183" y="158"/>
                  <a:pt x="184" y="157"/>
                  <a:pt x="184" y="156"/>
                </a:cubicBezTo>
                <a:cubicBezTo>
                  <a:pt x="183" y="154"/>
                  <a:pt x="180" y="152"/>
                  <a:pt x="180" y="150"/>
                </a:cubicBezTo>
                <a:cubicBezTo>
                  <a:pt x="180" y="149"/>
                  <a:pt x="180" y="147"/>
                  <a:pt x="180" y="146"/>
                </a:cubicBezTo>
                <a:cubicBezTo>
                  <a:pt x="180" y="146"/>
                  <a:pt x="178" y="147"/>
                  <a:pt x="178" y="146"/>
                </a:cubicBezTo>
                <a:cubicBezTo>
                  <a:pt x="177" y="146"/>
                  <a:pt x="176" y="143"/>
                  <a:pt x="175" y="142"/>
                </a:cubicBezTo>
                <a:cubicBezTo>
                  <a:pt x="175" y="141"/>
                  <a:pt x="173" y="141"/>
                  <a:pt x="172" y="140"/>
                </a:cubicBezTo>
                <a:cubicBezTo>
                  <a:pt x="171" y="138"/>
                  <a:pt x="172" y="136"/>
                  <a:pt x="171" y="134"/>
                </a:cubicBezTo>
                <a:cubicBezTo>
                  <a:pt x="171" y="134"/>
                  <a:pt x="169" y="133"/>
                  <a:pt x="168" y="132"/>
                </a:cubicBezTo>
                <a:cubicBezTo>
                  <a:pt x="168" y="131"/>
                  <a:pt x="168" y="129"/>
                  <a:pt x="168" y="129"/>
                </a:cubicBezTo>
                <a:cubicBezTo>
                  <a:pt x="167" y="129"/>
                  <a:pt x="166" y="130"/>
                  <a:pt x="166" y="130"/>
                </a:cubicBezTo>
                <a:cubicBezTo>
                  <a:pt x="167" y="125"/>
                  <a:pt x="166" y="124"/>
                  <a:pt x="166" y="119"/>
                </a:cubicBezTo>
                <a:cubicBezTo>
                  <a:pt x="167" y="118"/>
                  <a:pt x="169" y="116"/>
                  <a:pt x="168" y="113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7" y="109"/>
                  <a:pt x="168" y="107"/>
                  <a:pt x="167" y="106"/>
                </a:cubicBezTo>
                <a:cubicBezTo>
                  <a:pt x="166" y="105"/>
                  <a:pt x="166" y="105"/>
                  <a:pt x="166" y="105"/>
                </a:cubicBezTo>
                <a:cubicBezTo>
                  <a:pt x="165" y="102"/>
                  <a:pt x="167" y="101"/>
                  <a:pt x="166" y="98"/>
                </a:cubicBezTo>
                <a:cubicBezTo>
                  <a:pt x="165" y="95"/>
                  <a:pt x="165" y="95"/>
                  <a:pt x="165" y="95"/>
                </a:cubicBezTo>
                <a:cubicBezTo>
                  <a:pt x="165" y="94"/>
                  <a:pt x="167" y="90"/>
                  <a:pt x="165" y="89"/>
                </a:cubicBezTo>
                <a:cubicBezTo>
                  <a:pt x="166" y="88"/>
                  <a:pt x="167" y="88"/>
                  <a:pt x="168" y="87"/>
                </a:cubicBezTo>
                <a:cubicBezTo>
                  <a:pt x="168" y="86"/>
                  <a:pt x="167" y="85"/>
                  <a:pt x="168" y="85"/>
                </a:cubicBezTo>
                <a:cubicBezTo>
                  <a:pt x="168" y="85"/>
                  <a:pt x="170" y="85"/>
                  <a:pt x="170" y="85"/>
                </a:cubicBezTo>
                <a:cubicBezTo>
                  <a:pt x="171" y="83"/>
                  <a:pt x="171" y="82"/>
                  <a:pt x="172" y="81"/>
                </a:cubicBezTo>
                <a:cubicBezTo>
                  <a:pt x="173" y="80"/>
                  <a:pt x="172" y="79"/>
                  <a:pt x="172" y="79"/>
                </a:cubicBezTo>
                <a:cubicBezTo>
                  <a:pt x="168" y="79"/>
                  <a:pt x="168" y="79"/>
                  <a:pt x="168" y="79"/>
                </a:cubicBezTo>
                <a:cubicBezTo>
                  <a:pt x="166" y="76"/>
                  <a:pt x="166" y="76"/>
                  <a:pt x="166" y="76"/>
                </a:cubicBezTo>
                <a:cubicBezTo>
                  <a:pt x="162" y="76"/>
                  <a:pt x="162" y="76"/>
                  <a:pt x="162" y="76"/>
                </a:cubicBezTo>
                <a:cubicBezTo>
                  <a:pt x="158" y="74"/>
                  <a:pt x="158" y="74"/>
                  <a:pt x="158" y="74"/>
                </a:cubicBezTo>
                <a:cubicBezTo>
                  <a:pt x="156" y="73"/>
                  <a:pt x="156" y="73"/>
                  <a:pt x="156" y="73"/>
                </a:cubicBezTo>
                <a:cubicBezTo>
                  <a:pt x="155" y="69"/>
                  <a:pt x="155" y="69"/>
                  <a:pt x="155" y="69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52" y="60"/>
                  <a:pt x="152" y="60"/>
                  <a:pt x="152" y="60"/>
                </a:cubicBezTo>
                <a:cubicBezTo>
                  <a:pt x="149" y="58"/>
                  <a:pt x="149" y="58"/>
                  <a:pt x="149" y="58"/>
                </a:cubicBezTo>
                <a:cubicBezTo>
                  <a:pt x="147" y="54"/>
                  <a:pt x="147" y="54"/>
                  <a:pt x="147" y="54"/>
                </a:cubicBezTo>
                <a:cubicBezTo>
                  <a:pt x="145" y="50"/>
                  <a:pt x="145" y="50"/>
                  <a:pt x="145" y="50"/>
                </a:cubicBezTo>
                <a:cubicBezTo>
                  <a:pt x="143" y="46"/>
                  <a:pt x="143" y="46"/>
                  <a:pt x="143" y="46"/>
                </a:cubicBezTo>
                <a:cubicBezTo>
                  <a:pt x="142" y="44"/>
                  <a:pt x="142" y="44"/>
                  <a:pt x="142" y="44"/>
                </a:cubicBezTo>
                <a:cubicBezTo>
                  <a:pt x="141" y="41"/>
                  <a:pt x="141" y="41"/>
                  <a:pt x="141" y="41"/>
                </a:cubicBezTo>
                <a:cubicBezTo>
                  <a:pt x="139" y="38"/>
                  <a:pt x="139" y="38"/>
                  <a:pt x="139" y="38"/>
                </a:cubicBezTo>
                <a:cubicBezTo>
                  <a:pt x="136" y="36"/>
                  <a:pt x="136" y="36"/>
                  <a:pt x="136" y="36"/>
                </a:cubicBezTo>
                <a:cubicBezTo>
                  <a:pt x="133" y="34"/>
                  <a:pt x="133" y="34"/>
                  <a:pt x="133" y="34"/>
                </a:cubicBezTo>
                <a:cubicBezTo>
                  <a:pt x="130" y="34"/>
                  <a:pt x="130" y="34"/>
                  <a:pt x="130" y="34"/>
                </a:cubicBezTo>
                <a:cubicBezTo>
                  <a:pt x="127" y="35"/>
                  <a:pt x="127" y="35"/>
                  <a:pt x="127" y="35"/>
                </a:cubicBezTo>
                <a:cubicBezTo>
                  <a:pt x="124" y="39"/>
                  <a:pt x="124" y="39"/>
                  <a:pt x="124" y="39"/>
                </a:cubicBezTo>
                <a:cubicBezTo>
                  <a:pt x="122" y="41"/>
                  <a:pt x="122" y="41"/>
                  <a:pt x="122" y="41"/>
                </a:cubicBezTo>
                <a:cubicBezTo>
                  <a:pt x="119" y="41"/>
                  <a:pt x="119" y="41"/>
                  <a:pt x="119" y="41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3" y="39"/>
                  <a:pt x="113" y="39"/>
                  <a:pt x="113" y="39"/>
                </a:cubicBezTo>
                <a:cubicBezTo>
                  <a:pt x="111" y="36"/>
                  <a:pt x="111" y="36"/>
                  <a:pt x="111" y="36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8" y="30"/>
                  <a:pt x="108" y="30"/>
                  <a:pt x="108" y="30"/>
                </a:cubicBezTo>
                <a:cubicBezTo>
                  <a:pt x="107" y="26"/>
                  <a:pt x="107" y="26"/>
                  <a:pt x="107" y="26"/>
                </a:cubicBezTo>
                <a:cubicBezTo>
                  <a:pt x="103" y="22"/>
                  <a:pt x="103" y="22"/>
                  <a:pt x="103" y="22"/>
                </a:cubicBezTo>
                <a:cubicBezTo>
                  <a:pt x="101" y="20"/>
                  <a:pt x="101" y="20"/>
                  <a:pt x="101" y="20"/>
                </a:cubicBezTo>
                <a:cubicBezTo>
                  <a:pt x="100" y="18"/>
                  <a:pt x="100" y="18"/>
                  <a:pt x="100" y="18"/>
                </a:cubicBezTo>
                <a:cubicBezTo>
                  <a:pt x="96" y="16"/>
                  <a:pt x="96" y="16"/>
                  <a:pt x="96" y="16"/>
                </a:cubicBezTo>
                <a:cubicBezTo>
                  <a:pt x="93" y="11"/>
                  <a:pt x="93" y="11"/>
                  <a:pt x="93" y="11"/>
                </a:cubicBezTo>
                <a:cubicBezTo>
                  <a:pt x="75" y="11"/>
                  <a:pt x="75" y="11"/>
                  <a:pt x="75" y="11"/>
                </a:cubicBezTo>
                <a:cubicBezTo>
                  <a:pt x="75" y="16"/>
                  <a:pt x="75" y="16"/>
                  <a:pt x="75" y="16"/>
                </a:cubicBezTo>
                <a:cubicBezTo>
                  <a:pt x="47" y="15"/>
                  <a:pt x="47" y="15"/>
                  <a:pt x="47" y="15"/>
                </a:cubicBezTo>
                <a:cubicBezTo>
                  <a:pt x="24" y="3"/>
                  <a:pt x="24" y="3"/>
                  <a:pt x="24" y="3"/>
                </a:cubicBezTo>
                <a:cubicBezTo>
                  <a:pt x="24" y="0"/>
                  <a:pt x="24" y="0"/>
                  <a:pt x="24" y="0"/>
                </a:cubicBezTo>
                <a:lnTo>
                  <a:pt x="0" y="1"/>
                </a:ln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9" name="Google Shape;499;p102"/>
          <p:cNvSpPr/>
          <p:nvPr/>
        </p:nvSpPr>
        <p:spPr>
          <a:xfrm>
            <a:off x="5817995" y="3896355"/>
            <a:ext cx="305155" cy="368733"/>
          </a:xfrm>
          <a:custGeom>
            <a:avLst/>
            <a:gdLst/>
            <a:ahLst/>
            <a:cxnLst/>
            <a:rect l="l" t="t" r="r" b="b"/>
            <a:pathLst>
              <a:path w="106" h="133" extrusionOk="0">
                <a:moveTo>
                  <a:pt x="5" y="115"/>
                </a:moveTo>
                <a:cubicBezTo>
                  <a:pt x="7" y="114"/>
                  <a:pt x="7" y="114"/>
                  <a:pt x="7" y="114"/>
                </a:cubicBezTo>
                <a:cubicBezTo>
                  <a:pt x="7" y="114"/>
                  <a:pt x="10" y="114"/>
                  <a:pt x="11" y="112"/>
                </a:cubicBezTo>
                <a:cubicBezTo>
                  <a:pt x="12" y="109"/>
                  <a:pt x="13" y="111"/>
                  <a:pt x="16" y="112"/>
                </a:cubicBezTo>
                <a:cubicBezTo>
                  <a:pt x="18" y="112"/>
                  <a:pt x="18" y="112"/>
                  <a:pt x="22" y="111"/>
                </a:cubicBezTo>
                <a:cubicBezTo>
                  <a:pt x="25" y="111"/>
                  <a:pt x="25" y="113"/>
                  <a:pt x="27" y="114"/>
                </a:cubicBezTo>
                <a:cubicBezTo>
                  <a:pt x="28" y="115"/>
                  <a:pt x="29" y="116"/>
                  <a:pt x="29" y="119"/>
                </a:cubicBezTo>
                <a:cubicBezTo>
                  <a:pt x="29" y="122"/>
                  <a:pt x="32" y="121"/>
                  <a:pt x="34" y="121"/>
                </a:cubicBezTo>
                <a:cubicBezTo>
                  <a:pt x="35" y="122"/>
                  <a:pt x="34" y="124"/>
                  <a:pt x="35" y="127"/>
                </a:cubicBezTo>
                <a:cubicBezTo>
                  <a:pt x="36" y="130"/>
                  <a:pt x="40" y="127"/>
                  <a:pt x="40" y="129"/>
                </a:cubicBezTo>
                <a:cubicBezTo>
                  <a:pt x="40" y="130"/>
                  <a:pt x="42" y="132"/>
                  <a:pt x="42" y="132"/>
                </a:cubicBezTo>
                <a:cubicBezTo>
                  <a:pt x="42" y="132"/>
                  <a:pt x="44" y="133"/>
                  <a:pt x="45" y="131"/>
                </a:cubicBezTo>
                <a:cubicBezTo>
                  <a:pt x="47" y="130"/>
                  <a:pt x="45" y="128"/>
                  <a:pt x="46" y="125"/>
                </a:cubicBezTo>
                <a:cubicBezTo>
                  <a:pt x="48" y="123"/>
                  <a:pt x="46" y="122"/>
                  <a:pt x="48" y="122"/>
                </a:cubicBezTo>
                <a:cubicBezTo>
                  <a:pt x="49" y="122"/>
                  <a:pt x="51" y="122"/>
                  <a:pt x="54" y="123"/>
                </a:cubicBezTo>
                <a:cubicBezTo>
                  <a:pt x="57" y="124"/>
                  <a:pt x="59" y="123"/>
                  <a:pt x="59" y="123"/>
                </a:cubicBezTo>
                <a:cubicBezTo>
                  <a:pt x="59" y="123"/>
                  <a:pt x="63" y="124"/>
                  <a:pt x="61" y="122"/>
                </a:cubicBezTo>
                <a:cubicBezTo>
                  <a:pt x="60" y="120"/>
                  <a:pt x="60" y="118"/>
                  <a:pt x="62" y="117"/>
                </a:cubicBezTo>
                <a:cubicBezTo>
                  <a:pt x="64" y="117"/>
                  <a:pt x="65" y="120"/>
                  <a:pt x="65" y="120"/>
                </a:cubicBezTo>
                <a:cubicBezTo>
                  <a:pt x="97" y="119"/>
                  <a:pt x="97" y="119"/>
                  <a:pt x="97" y="119"/>
                </a:cubicBezTo>
                <a:cubicBezTo>
                  <a:pt x="97" y="119"/>
                  <a:pt x="98" y="118"/>
                  <a:pt x="99" y="114"/>
                </a:cubicBezTo>
                <a:cubicBezTo>
                  <a:pt x="101" y="110"/>
                  <a:pt x="96" y="111"/>
                  <a:pt x="96" y="111"/>
                </a:cubicBezTo>
                <a:cubicBezTo>
                  <a:pt x="91" y="23"/>
                  <a:pt x="91" y="23"/>
                  <a:pt x="91" y="23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77" y="0"/>
                  <a:pt x="77" y="0"/>
                  <a:pt x="77" y="0"/>
                </a:cubicBezTo>
                <a:cubicBezTo>
                  <a:pt x="78" y="16"/>
                  <a:pt x="78" y="16"/>
                  <a:pt x="78" y="16"/>
                </a:cubicBezTo>
                <a:cubicBezTo>
                  <a:pt x="45" y="17"/>
                  <a:pt x="45" y="17"/>
                  <a:pt x="45" y="17"/>
                </a:cubicBezTo>
                <a:cubicBezTo>
                  <a:pt x="44" y="40"/>
                  <a:pt x="44" y="40"/>
                  <a:pt x="44" y="40"/>
                </a:cubicBezTo>
                <a:cubicBezTo>
                  <a:pt x="44" y="40"/>
                  <a:pt x="34" y="39"/>
                  <a:pt x="34" y="46"/>
                </a:cubicBezTo>
                <a:cubicBezTo>
                  <a:pt x="34" y="52"/>
                  <a:pt x="35" y="63"/>
                  <a:pt x="35" y="63"/>
                </a:cubicBezTo>
                <a:cubicBezTo>
                  <a:pt x="2" y="64"/>
                  <a:pt x="2" y="64"/>
                  <a:pt x="2" y="64"/>
                </a:cubicBezTo>
                <a:cubicBezTo>
                  <a:pt x="2" y="64"/>
                  <a:pt x="2" y="62"/>
                  <a:pt x="0" y="66"/>
                </a:cubicBezTo>
                <a:cubicBezTo>
                  <a:pt x="1" y="68"/>
                  <a:pt x="1" y="69"/>
                  <a:pt x="2" y="70"/>
                </a:cubicBezTo>
                <a:cubicBezTo>
                  <a:pt x="3" y="72"/>
                  <a:pt x="5" y="73"/>
                  <a:pt x="5" y="75"/>
                </a:cubicBezTo>
                <a:cubicBezTo>
                  <a:pt x="5" y="76"/>
                  <a:pt x="4" y="76"/>
                  <a:pt x="4" y="78"/>
                </a:cubicBezTo>
                <a:cubicBezTo>
                  <a:pt x="4" y="79"/>
                  <a:pt x="5" y="80"/>
                  <a:pt x="5" y="83"/>
                </a:cubicBezTo>
                <a:cubicBezTo>
                  <a:pt x="4" y="83"/>
                  <a:pt x="4" y="83"/>
                  <a:pt x="4" y="83"/>
                </a:cubicBezTo>
                <a:cubicBezTo>
                  <a:pt x="4" y="84"/>
                  <a:pt x="3" y="86"/>
                  <a:pt x="4" y="88"/>
                </a:cubicBezTo>
                <a:cubicBezTo>
                  <a:pt x="4" y="89"/>
                  <a:pt x="6" y="91"/>
                  <a:pt x="6" y="93"/>
                </a:cubicBezTo>
                <a:cubicBezTo>
                  <a:pt x="7" y="96"/>
                  <a:pt x="6" y="97"/>
                  <a:pt x="6" y="100"/>
                </a:cubicBezTo>
                <a:cubicBezTo>
                  <a:pt x="6" y="100"/>
                  <a:pt x="7" y="101"/>
                  <a:pt x="7" y="101"/>
                </a:cubicBezTo>
                <a:cubicBezTo>
                  <a:pt x="7" y="102"/>
                  <a:pt x="7" y="102"/>
                  <a:pt x="7" y="102"/>
                </a:cubicBezTo>
                <a:cubicBezTo>
                  <a:pt x="6" y="103"/>
                  <a:pt x="6" y="103"/>
                  <a:pt x="6" y="105"/>
                </a:cubicBezTo>
                <a:cubicBezTo>
                  <a:pt x="6" y="106"/>
                  <a:pt x="7" y="109"/>
                  <a:pt x="6" y="111"/>
                </a:cubicBezTo>
                <a:cubicBezTo>
                  <a:pt x="6" y="112"/>
                  <a:pt x="5" y="114"/>
                  <a:pt x="5" y="115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0" name="Google Shape;500;p102"/>
          <p:cNvSpPr/>
          <p:nvPr/>
        </p:nvSpPr>
        <p:spPr>
          <a:xfrm>
            <a:off x="5936830" y="3957104"/>
            <a:ext cx="407852" cy="467627"/>
          </a:xfrm>
          <a:custGeom>
            <a:avLst/>
            <a:gdLst/>
            <a:ahLst/>
            <a:cxnLst/>
            <a:rect l="l" t="t" r="r" b="b"/>
            <a:pathLst>
              <a:path w="142" h="169" extrusionOk="0">
                <a:moveTo>
                  <a:pt x="57" y="156"/>
                </a:moveTo>
                <a:cubicBezTo>
                  <a:pt x="57" y="156"/>
                  <a:pt x="56" y="150"/>
                  <a:pt x="58" y="149"/>
                </a:cubicBezTo>
                <a:cubicBezTo>
                  <a:pt x="61" y="148"/>
                  <a:pt x="60" y="146"/>
                  <a:pt x="59" y="144"/>
                </a:cubicBezTo>
                <a:cubicBezTo>
                  <a:pt x="58" y="143"/>
                  <a:pt x="60" y="140"/>
                  <a:pt x="60" y="140"/>
                </a:cubicBezTo>
                <a:cubicBezTo>
                  <a:pt x="60" y="140"/>
                  <a:pt x="61" y="137"/>
                  <a:pt x="63" y="137"/>
                </a:cubicBezTo>
                <a:cubicBezTo>
                  <a:pt x="64" y="136"/>
                  <a:pt x="65" y="137"/>
                  <a:pt x="65" y="137"/>
                </a:cubicBezTo>
                <a:cubicBezTo>
                  <a:pt x="65" y="137"/>
                  <a:pt x="66" y="132"/>
                  <a:pt x="67" y="130"/>
                </a:cubicBezTo>
                <a:cubicBezTo>
                  <a:pt x="68" y="128"/>
                  <a:pt x="68" y="127"/>
                  <a:pt x="70" y="126"/>
                </a:cubicBezTo>
                <a:cubicBezTo>
                  <a:pt x="72" y="125"/>
                  <a:pt x="75" y="123"/>
                  <a:pt x="77" y="123"/>
                </a:cubicBezTo>
                <a:cubicBezTo>
                  <a:pt x="78" y="124"/>
                  <a:pt x="81" y="121"/>
                  <a:pt x="81" y="119"/>
                </a:cubicBezTo>
                <a:cubicBezTo>
                  <a:pt x="81" y="118"/>
                  <a:pt x="81" y="116"/>
                  <a:pt x="83" y="114"/>
                </a:cubicBezTo>
                <a:cubicBezTo>
                  <a:pt x="86" y="112"/>
                  <a:pt x="88" y="113"/>
                  <a:pt x="88" y="111"/>
                </a:cubicBezTo>
                <a:cubicBezTo>
                  <a:pt x="88" y="109"/>
                  <a:pt x="89" y="105"/>
                  <a:pt x="91" y="105"/>
                </a:cubicBezTo>
                <a:cubicBezTo>
                  <a:pt x="94" y="105"/>
                  <a:pt x="96" y="104"/>
                  <a:pt x="96" y="102"/>
                </a:cubicBezTo>
                <a:cubicBezTo>
                  <a:pt x="96" y="100"/>
                  <a:pt x="98" y="99"/>
                  <a:pt x="99" y="101"/>
                </a:cubicBezTo>
                <a:cubicBezTo>
                  <a:pt x="100" y="102"/>
                  <a:pt x="101" y="100"/>
                  <a:pt x="102" y="101"/>
                </a:cubicBezTo>
                <a:cubicBezTo>
                  <a:pt x="104" y="102"/>
                  <a:pt x="105" y="104"/>
                  <a:pt x="105" y="104"/>
                </a:cubicBezTo>
                <a:cubicBezTo>
                  <a:pt x="106" y="105"/>
                  <a:pt x="106" y="105"/>
                  <a:pt x="106" y="105"/>
                </a:cubicBezTo>
                <a:cubicBezTo>
                  <a:pt x="107" y="103"/>
                  <a:pt x="107" y="103"/>
                  <a:pt x="107" y="103"/>
                </a:cubicBezTo>
                <a:cubicBezTo>
                  <a:pt x="107" y="103"/>
                  <a:pt x="111" y="103"/>
                  <a:pt x="113" y="102"/>
                </a:cubicBezTo>
                <a:cubicBezTo>
                  <a:pt x="114" y="101"/>
                  <a:pt x="119" y="101"/>
                  <a:pt x="122" y="100"/>
                </a:cubicBezTo>
                <a:cubicBezTo>
                  <a:pt x="125" y="100"/>
                  <a:pt x="133" y="96"/>
                  <a:pt x="133" y="96"/>
                </a:cubicBezTo>
                <a:cubicBezTo>
                  <a:pt x="138" y="96"/>
                  <a:pt x="138" y="96"/>
                  <a:pt x="138" y="96"/>
                </a:cubicBezTo>
                <a:cubicBezTo>
                  <a:pt x="138" y="96"/>
                  <a:pt x="139" y="96"/>
                  <a:pt x="139" y="94"/>
                </a:cubicBezTo>
                <a:cubicBezTo>
                  <a:pt x="139" y="92"/>
                  <a:pt x="139" y="89"/>
                  <a:pt x="139" y="89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41" y="62"/>
                  <a:pt x="141" y="62"/>
                  <a:pt x="141" y="62"/>
                </a:cubicBezTo>
                <a:cubicBezTo>
                  <a:pt x="141" y="62"/>
                  <a:pt x="132" y="65"/>
                  <a:pt x="132" y="64"/>
                </a:cubicBezTo>
                <a:cubicBezTo>
                  <a:pt x="133" y="63"/>
                  <a:pt x="133" y="61"/>
                  <a:pt x="132" y="59"/>
                </a:cubicBezTo>
                <a:cubicBezTo>
                  <a:pt x="131" y="57"/>
                  <a:pt x="131" y="58"/>
                  <a:pt x="132" y="54"/>
                </a:cubicBezTo>
                <a:cubicBezTo>
                  <a:pt x="133" y="50"/>
                  <a:pt x="131" y="51"/>
                  <a:pt x="129" y="49"/>
                </a:cubicBezTo>
                <a:cubicBezTo>
                  <a:pt x="127" y="48"/>
                  <a:pt x="125" y="48"/>
                  <a:pt x="123" y="46"/>
                </a:cubicBezTo>
                <a:cubicBezTo>
                  <a:pt x="120" y="45"/>
                  <a:pt x="120" y="42"/>
                  <a:pt x="120" y="42"/>
                </a:cubicBezTo>
                <a:cubicBezTo>
                  <a:pt x="65" y="0"/>
                  <a:pt x="65" y="0"/>
                  <a:pt x="65" y="0"/>
                </a:cubicBezTo>
                <a:cubicBezTo>
                  <a:pt x="50" y="1"/>
                  <a:pt x="50" y="1"/>
                  <a:pt x="50" y="1"/>
                </a:cubicBezTo>
                <a:cubicBezTo>
                  <a:pt x="55" y="89"/>
                  <a:pt x="55" y="89"/>
                  <a:pt x="55" y="89"/>
                </a:cubicBezTo>
                <a:cubicBezTo>
                  <a:pt x="55" y="89"/>
                  <a:pt x="60" y="88"/>
                  <a:pt x="58" y="92"/>
                </a:cubicBezTo>
                <a:cubicBezTo>
                  <a:pt x="57" y="96"/>
                  <a:pt x="56" y="97"/>
                  <a:pt x="56" y="97"/>
                </a:cubicBezTo>
                <a:cubicBezTo>
                  <a:pt x="24" y="98"/>
                  <a:pt x="24" y="98"/>
                  <a:pt x="24" y="98"/>
                </a:cubicBezTo>
                <a:cubicBezTo>
                  <a:pt x="24" y="98"/>
                  <a:pt x="23" y="95"/>
                  <a:pt x="21" y="95"/>
                </a:cubicBezTo>
                <a:cubicBezTo>
                  <a:pt x="19" y="96"/>
                  <a:pt x="19" y="98"/>
                  <a:pt x="20" y="100"/>
                </a:cubicBezTo>
                <a:cubicBezTo>
                  <a:pt x="22" y="102"/>
                  <a:pt x="18" y="101"/>
                  <a:pt x="18" y="101"/>
                </a:cubicBezTo>
                <a:cubicBezTo>
                  <a:pt x="18" y="101"/>
                  <a:pt x="16" y="102"/>
                  <a:pt x="13" y="101"/>
                </a:cubicBezTo>
                <a:cubicBezTo>
                  <a:pt x="10" y="100"/>
                  <a:pt x="8" y="100"/>
                  <a:pt x="7" y="100"/>
                </a:cubicBezTo>
                <a:cubicBezTo>
                  <a:pt x="5" y="100"/>
                  <a:pt x="7" y="101"/>
                  <a:pt x="5" y="103"/>
                </a:cubicBezTo>
                <a:cubicBezTo>
                  <a:pt x="4" y="106"/>
                  <a:pt x="6" y="108"/>
                  <a:pt x="4" y="109"/>
                </a:cubicBezTo>
                <a:cubicBezTo>
                  <a:pt x="3" y="111"/>
                  <a:pt x="1" y="110"/>
                  <a:pt x="1" y="110"/>
                </a:cubicBezTo>
                <a:cubicBezTo>
                  <a:pt x="1" y="110"/>
                  <a:pt x="0" y="115"/>
                  <a:pt x="1" y="115"/>
                </a:cubicBezTo>
                <a:cubicBezTo>
                  <a:pt x="3" y="116"/>
                  <a:pt x="0" y="123"/>
                  <a:pt x="0" y="123"/>
                </a:cubicBezTo>
                <a:cubicBezTo>
                  <a:pt x="0" y="123"/>
                  <a:pt x="0" y="125"/>
                  <a:pt x="1" y="126"/>
                </a:cubicBezTo>
                <a:cubicBezTo>
                  <a:pt x="3" y="128"/>
                  <a:pt x="4" y="128"/>
                  <a:pt x="4" y="130"/>
                </a:cubicBezTo>
                <a:cubicBezTo>
                  <a:pt x="4" y="131"/>
                  <a:pt x="5" y="136"/>
                  <a:pt x="5" y="136"/>
                </a:cubicBezTo>
                <a:cubicBezTo>
                  <a:pt x="5" y="140"/>
                  <a:pt x="5" y="140"/>
                  <a:pt x="5" y="140"/>
                </a:cubicBezTo>
                <a:cubicBezTo>
                  <a:pt x="8" y="140"/>
                  <a:pt x="8" y="140"/>
                  <a:pt x="8" y="140"/>
                </a:cubicBezTo>
                <a:cubicBezTo>
                  <a:pt x="8" y="140"/>
                  <a:pt x="9" y="138"/>
                  <a:pt x="11" y="138"/>
                </a:cubicBezTo>
                <a:cubicBezTo>
                  <a:pt x="13" y="139"/>
                  <a:pt x="13" y="141"/>
                  <a:pt x="14" y="140"/>
                </a:cubicBezTo>
                <a:cubicBezTo>
                  <a:pt x="16" y="140"/>
                  <a:pt x="17" y="137"/>
                  <a:pt x="17" y="137"/>
                </a:cubicBezTo>
                <a:cubicBezTo>
                  <a:pt x="17" y="137"/>
                  <a:pt x="18" y="140"/>
                  <a:pt x="21" y="139"/>
                </a:cubicBezTo>
                <a:cubicBezTo>
                  <a:pt x="24" y="138"/>
                  <a:pt x="25" y="139"/>
                  <a:pt x="25" y="139"/>
                </a:cubicBezTo>
                <a:cubicBezTo>
                  <a:pt x="25" y="139"/>
                  <a:pt x="26" y="142"/>
                  <a:pt x="26" y="144"/>
                </a:cubicBezTo>
                <a:cubicBezTo>
                  <a:pt x="26" y="147"/>
                  <a:pt x="23" y="149"/>
                  <a:pt x="25" y="150"/>
                </a:cubicBezTo>
                <a:cubicBezTo>
                  <a:pt x="26" y="150"/>
                  <a:pt x="27" y="153"/>
                  <a:pt x="27" y="154"/>
                </a:cubicBezTo>
                <a:cubicBezTo>
                  <a:pt x="27" y="156"/>
                  <a:pt x="30" y="155"/>
                  <a:pt x="30" y="155"/>
                </a:cubicBezTo>
                <a:cubicBezTo>
                  <a:pt x="24" y="159"/>
                  <a:pt x="24" y="159"/>
                  <a:pt x="24" y="159"/>
                </a:cubicBezTo>
                <a:cubicBezTo>
                  <a:pt x="24" y="159"/>
                  <a:pt x="24" y="161"/>
                  <a:pt x="26" y="161"/>
                </a:cubicBezTo>
                <a:cubicBezTo>
                  <a:pt x="28" y="161"/>
                  <a:pt x="28" y="158"/>
                  <a:pt x="29" y="161"/>
                </a:cubicBezTo>
                <a:cubicBezTo>
                  <a:pt x="30" y="163"/>
                  <a:pt x="32" y="160"/>
                  <a:pt x="34" y="163"/>
                </a:cubicBezTo>
                <a:cubicBezTo>
                  <a:pt x="35" y="165"/>
                  <a:pt x="36" y="167"/>
                  <a:pt x="37" y="167"/>
                </a:cubicBezTo>
                <a:cubicBezTo>
                  <a:pt x="39" y="167"/>
                  <a:pt x="40" y="169"/>
                  <a:pt x="40" y="169"/>
                </a:cubicBezTo>
                <a:cubicBezTo>
                  <a:pt x="40" y="169"/>
                  <a:pt x="41" y="167"/>
                  <a:pt x="44" y="165"/>
                </a:cubicBezTo>
                <a:cubicBezTo>
                  <a:pt x="46" y="164"/>
                  <a:pt x="46" y="167"/>
                  <a:pt x="46" y="167"/>
                </a:cubicBezTo>
                <a:cubicBezTo>
                  <a:pt x="47" y="162"/>
                  <a:pt x="47" y="162"/>
                  <a:pt x="47" y="162"/>
                </a:cubicBezTo>
                <a:cubicBezTo>
                  <a:pt x="49" y="160"/>
                  <a:pt x="49" y="160"/>
                  <a:pt x="49" y="160"/>
                </a:cubicBezTo>
                <a:cubicBezTo>
                  <a:pt x="49" y="160"/>
                  <a:pt x="51" y="164"/>
                  <a:pt x="53" y="163"/>
                </a:cubicBezTo>
                <a:cubicBezTo>
                  <a:pt x="56" y="162"/>
                  <a:pt x="55" y="159"/>
                  <a:pt x="55" y="159"/>
                </a:cubicBezTo>
                <a:lnTo>
                  <a:pt x="57" y="156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1" name="Google Shape;501;p102"/>
          <p:cNvSpPr/>
          <p:nvPr/>
        </p:nvSpPr>
        <p:spPr>
          <a:xfrm>
            <a:off x="8733106" y="4508085"/>
            <a:ext cx="459200" cy="183660"/>
          </a:xfrm>
          <a:custGeom>
            <a:avLst/>
            <a:gdLst/>
            <a:ahLst/>
            <a:cxnLst/>
            <a:rect l="l" t="t" r="r" b="b"/>
            <a:pathLst>
              <a:path w="160" h="66" extrusionOk="0">
                <a:moveTo>
                  <a:pt x="80" y="53"/>
                </a:moveTo>
                <a:cubicBezTo>
                  <a:pt x="80" y="58"/>
                  <a:pt x="80" y="58"/>
                  <a:pt x="80" y="58"/>
                </a:cubicBezTo>
                <a:cubicBezTo>
                  <a:pt x="81" y="62"/>
                  <a:pt x="81" y="62"/>
                  <a:pt x="81" y="62"/>
                </a:cubicBezTo>
                <a:cubicBezTo>
                  <a:pt x="84" y="63"/>
                  <a:pt x="84" y="63"/>
                  <a:pt x="84" y="63"/>
                </a:cubicBezTo>
                <a:cubicBezTo>
                  <a:pt x="87" y="65"/>
                  <a:pt x="87" y="65"/>
                  <a:pt x="87" y="65"/>
                </a:cubicBezTo>
                <a:cubicBezTo>
                  <a:pt x="91" y="66"/>
                  <a:pt x="91" y="66"/>
                  <a:pt x="91" y="66"/>
                </a:cubicBezTo>
                <a:cubicBezTo>
                  <a:pt x="96" y="65"/>
                  <a:pt x="96" y="65"/>
                  <a:pt x="96" y="65"/>
                </a:cubicBezTo>
                <a:cubicBezTo>
                  <a:pt x="100" y="64"/>
                  <a:pt x="100" y="64"/>
                  <a:pt x="100" y="64"/>
                </a:cubicBezTo>
                <a:cubicBezTo>
                  <a:pt x="102" y="62"/>
                  <a:pt x="102" y="62"/>
                  <a:pt x="102" y="62"/>
                </a:cubicBezTo>
                <a:cubicBezTo>
                  <a:pt x="107" y="61"/>
                  <a:pt x="107" y="61"/>
                  <a:pt x="107" y="61"/>
                </a:cubicBezTo>
                <a:cubicBezTo>
                  <a:pt x="109" y="62"/>
                  <a:pt x="109" y="62"/>
                  <a:pt x="109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118" y="60"/>
                  <a:pt x="118" y="60"/>
                  <a:pt x="118" y="60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21" y="53"/>
                  <a:pt x="121" y="53"/>
                  <a:pt x="121" y="53"/>
                </a:cubicBezTo>
                <a:cubicBezTo>
                  <a:pt x="122" y="50"/>
                  <a:pt x="122" y="50"/>
                  <a:pt x="122" y="50"/>
                </a:cubicBezTo>
                <a:cubicBezTo>
                  <a:pt x="124" y="49"/>
                  <a:pt x="124" y="49"/>
                  <a:pt x="124" y="49"/>
                </a:cubicBezTo>
                <a:cubicBezTo>
                  <a:pt x="126" y="46"/>
                  <a:pt x="126" y="46"/>
                  <a:pt x="126" y="46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30" y="41"/>
                  <a:pt x="130" y="41"/>
                  <a:pt x="130" y="41"/>
                </a:cubicBezTo>
                <a:cubicBezTo>
                  <a:pt x="131" y="35"/>
                  <a:pt x="131" y="35"/>
                  <a:pt x="131" y="35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9" y="33"/>
                  <a:pt x="139" y="33"/>
                  <a:pt x="139" y="33"/>
                </a:cubicBezTo>
                <a:cubicBezTo>
                  <a:pt x="144" y="33"/>
                  <a:pt x="144" y="33"/>
                  <a:pt x="144" y="33"/>
                </a:cubicBezTo>
                <a:cubicBezTo>
                  <a:pt x="145" y="32"/>
                  <a:pt x="145" y="31"/>
                  <a:pt x="146" y="30"/>
                </a:cubicBezTo>
                <a:cubicBezTo>
                  <a:pt x="148" y="31"/>
                  <a:pt x="149" y="31"/>
                  <a:pt x="151" y="31"/>
                </a:cubicBezTo>
                <a:cubicBezTo>
                  <a:pt x="151" y="31"/>
                  <a:pt x="152" y="29"/>
                  <a:pt x="152" y="29"/>
                </a:cubicBezTo>
                <a:cubicBezTo>
                  <a:pt x="152" y="29"/>
                  <a:pt x="153" y="29"/>
                  <a:pt x="154" y="29"/>
                </a:cubicBezTo>
                <a:cubicBezTo>
                  <a:pt x="154" y="28"/>
                  <a:pt x="153" y="27"/>
                  <a:pt x="154" y="26"/>
                </a:cubicBezTo>
                <a:cubicBezTo>
                  <a:pt x="153" y="26"/>
                  <a:pt x="152" y="26"/>
                  <a:pt x="152" y="25"/>
                </a:cubicBezTo>
                <a:cubicBezTo>
                  <a:pt x="151" y="24"/>
                  <a:pt x="153" y="23"/>
                  <a:pt x="152" y="23"/>
                </a:cubicBezTo>
                <a:cubicBezTo>
                  <a:pt x="155" y="22"/>
                  <a:pt x="159" y="23"/>
                  <a:pt x="160" y="20"/>
                </a:cubicBezTo>
                <a:cubicBezTo>
                  <a:pt x="160" y="19"/>
                  <a:pt x="160" y="19"/>
                  <a:pt x="160" y="19"/>
                </a:cubicBezTo>
                <a:cubicBezTo>
                  <a:pt x="158" y="17"/>
                  <a:pt x="157" y="16"/>
                  <a:pt x="156" y="13"/>
                </a:cubicBezTo>
                <a:cubicBezTo>
                  <a:pt x="155" y="14"/>
                  <a:pt x="153" y="14"/>
                  <a:pt x="152" y="14"/>
                </a:cubicBezTo>
                <a:cubicBezTo>
                  <a:pt x="152" y="14"/>
                  <a:pt x="153" y="12"/>
                  <a:pt x="152" y="11"/>
                </a:cubicBezTo>
                <a:cubicBezTo>
                  <a:pt x="152" y="11"/>
                  <a:pt x="151" y="11"/>
                  <a:pt x="150" y="11"/>
                </a:cubicBezTo>
                <a:cubicBezTo>
                  <a:pt x="149" y="10"/>
                  <a:pt x="150" y="7"/>
                  <a:pt x="151" y="7"/>
                </a:cubicBezTo>
                <a:cubicBezTo>
                  <a:pt x="150" y="6"/>
                  <a:pt x="149" y="4"/>
                  <a:pt x="149" y="4"/>
                </a:cubicBezTo>
                <a:cubicBezTo>
                  <a:pt x="148" y="4"/>
                  <a:pt x="147" y="4"/>
                  <a:pt x="147" y="4"/>
                </a:cubicBezTo>
                <a:cubicBezTo>
                  <a:pt x="146" y="4"/>
                  <a:pt x="147" y="2"/>
                  <a:pt x="147" y="1"/>
                </a:cubicBezTo>
                <a:cubicBezTo>
                  <a:pt x="143" y="3"/>
                  <a:pt x="146" y="2"/>
                  <a:pt x="145" y="3"/>
                </a:cubicBezTo>
                <a:cubicBezTo>
                  <a:pt x="145" y="3"/>
                  <a:pt x="143" y="3"/>
                  <a:pt x="143" y="3"/>
                </a:cubicBezTo>
                <a:cubicBezTo>
                  <a:pt x="142" y="2"/>
                  <a:pt x="143" y="2"/>
                  <a:pt x="141" y="1"/>
                </a:cubicBezTo>
                <a:cubicBezTo>
                  <a:pt x="141" y="0"/>
                  <a:pt x="141" y="0"/>
                  <a:pt x="141" y="0"/>
                </a:cubicBezTo>
                <a:cubicBezTo>
                  <a:pt x="138" y="8"/>
                  <a:pt x="135" y="12"/>
                  <a:pt x="129" y="16"/>
                </a:cubicBezTo>
                <a:cubicBezTo>
                  <a:pt x="130" y="18"/>
                  <a:pt x="129" y="17"/>
                  <a:pt x="131" y="17"/>
                </a:cubicBezTo>
                <a:cubicBezTo>
                  <a:pt x="131" y="17"/>
                  <a:pt x="131" y="20"/>
                  <a:pt x="131" y="20"/>
                </a:cubicBezTo>
                <a:cubicBezTo>
                  <a:pt x="132" y="19"/>
                  <a:pt x="131" y="23"/>
                  <a:pt x="128" y="24"/>
                </a:cubicBezTo>
                <a:cubicBezTo>
                  <a:pt x="130" y="30"/>
                  <a:pt x="130" y="30"/>
                  <a:pt x="130" y="30"/>
                </a:cubicBezTo>
                <a:cubicBezTo>
                  <a:pt x="128" y="30"/>
                  <a:pt x="128" y="30"/>
                  <a:pt x="128" y="30"/>
                </a:cubicBezTo>
                <a:cubicBezTo>
                  <a:pt x="126" y="29"/>
                  <a:pt x="126" y="29"/>
                  <a:pt x="126" y="29"/>
                </a:cubicBezTo>
                <a:cubicBezTo>
                  <a:pt x="125" y="31"/>
                  <a:pt x="125" y="31"/>
                  <a:pt x="125" y="31"/>
                </a:cubicBezTo>
                <a:cubicBezTo>
                  <a:pt x="124" y="32"/>
                  <a:pt x="124" y="32"/>
                  <a:pt x="124" y="32"/>
                </a:cubicBezTo>
                <a:cubicBezTo>
                  <a:pt x="121" y="33"/>
                  <a:pt x="121" y="33"/>
                  <a:pt x="121" y="33"/>
                </a:cubicBezTo>
                <a:cubicBezTo>
                  <a:pt x="117" y="29"/>
                  <a:pt x="117" y="29"/>
                  <a:pt x="117" y="29"/>
                </a:cubicBezTo>
                <a:cubicBezTo>
                  <a:pt x="117" y="29"/>
                  <a:pt x="117" y="30"/>
                  <a:pt x="117" y="31"/>
                </a:cubicBezTo>
                <a:cubicBezTo>
                  <a:pt x="110" y="43"/>
                  <a:pt x="110" y="43"/>
                  <a:pt x="110" y="43"/>
                </a:cubicBezTo>
                <a:cubicBezTo>
                  <a:pt x="109" y="43"/>
                  <a:pt x="106" y="42"/>
                  <a:pt x="105" y="43"/>
                </a:cubicBezTo>
                <a:cubicBezTo>
                  <a:pt x="102" y="43"/>
                  <a:pt x="95" y="46"/>
                  <a:pt x="94" y="47"/>
                </a:cubicBezTo>
                <a:cubicBezTo>
                  <a:pt x="93" y="49"/>
                  <a:pt x="95" y="51"/>
                  <a:pt x="95" y="51"/>
                </a:cubicBezTo>
                <a:cubicBezTo>
                  <a:pt x="94" y="51"/>
                  <a:pt x="94" y="51"/>
                  <a:pt x="94" y="51"/>
                </a:cubicBezTo>
                <a:cubicBezTo>
                  <a:pt x="94" y="53"/>
                  <a:pt x="94" y="54"/>
                  <a:pt x="93" y="56"/>
                </a:cubicBezTo>
                <a:cubicBezTo>
                  <a:pt x="93" y="56"/>
                  <a:pt x="91" y="56"/>
                  <a:pt x="91" y="56"/>
                </a:cubicBezTo>
                <a:cubicBezTo>
                  <a:pt x="91" y="56"/>
                  <a:pt x="91" y="59"/>
                  <a:pt x="91" y="59"/>
                </a:cubicBezTo>
                <a:cubicBezTo>
                  <a:pt x="87" y="60"/>
                  <a:pt x="88" y="56"/>
                  <a:pt x="87" y="55"/>
                </a:cubicBezTo>
                <a:cubicBezTo>
                  <a:pt x="84" y="54"/>
                  <a:pt x="84" y="57"/>
                  <a:pt x="82" y="56"/>
                </a:cubicBezTo>
                <a:cubicBezTo>
                  <a:pt x="81" y="56"/>
                  <a:pt x="81" y="55"/>
                  <a:pt x="80" y="54"/>
                </a:cubicBezTo>
                <a:lnTo>
                  <a:pt x="80" y="53"/>
                </a:lnTo>
                <a:close/>
                <a:moveTo>
                  <a:pt x="0" y="12"/>
                </a:moveTo>
                <a:cubicBezTo>
                  <a:pt x="0" y="14"/>
                  <a:pt x="2" y="17"/>
                  <a:pt x="2" y="19"/>
                </a:cubicBezTo>
                <a:cubicBezTo>
                  <a:pt x="2" y="19"/>
                  <a:pt x="1" y="22"/>
                  <a:pt x="2" y="23"/>
                </a:cubicBezTo>
                <a:cubicBezTo>
                  <a:pt x="2" y="25"/>
                  <a:pt x="5" y="30"/>
                  <a:pt x="5" y="33"/>
                </a:cubicBezTo>
                <a:cubicBezTo>
                  <a:pt x="5" y="34"/>
                  <a:pt x="4" y="35"/>
                  <a:pt x="5" y="37"/>
                </a:cubicBezTo>
                <a:cubicBezTo>
                  <a:pt x="5" y="37"/>
                  <a:pt x="8" y="39"/>
                  <a:pt x="9" y="41"/>
                </a:cubicBezTo>
                <a:cubicBezTo>
                  <a:pt x="10" y="43"/>
                  <a:pt x="9" y="45"/>
                  <a:pt x="10" y="47"/>
                </a:cubicBezTo>
                <a:cubicBezTo>
                  <a:pt x="10" y="49"/>
                  <a:pt x="15" y="51"/>
                  <a:pt x="17" y="52"/>
                </a:cubicBezTo>
                <a:cubicBezTo>
                  <a:pt x="18" y="52"/>
                  <a:pt x="18" y="54"/>
                  <a:pt x="18" y="55"/>
                </a:cubicBezTo>
                <a:cubicBezTo>
                  <a:pt x="21" y="57"/>
                  <a:pt x="24" y="58"/>
                  <a:pt x="27" y="60"/>
                </a:cubicBezTo>
                <a:cubicBezTo>
                  <a:pt x="27" y="59"/>
                  <a:pt x="27" y="59"/>
                  <a:pt x="27" y="59"/>
                </a:cubicBezTo>
                <a:cubicBezTo>
                  <a:pt x="28" y="58"/>
                  <a:pt x="28" y="57"/>
                  <a:pt x="29" y="57"/>
                </a:cubicBezTo>
                <a:cubicBezTo>
                  <a:pt x="30" y="56"/>
                  <a:pt x="32" y="57"/>
                  <a:pt x="34" y="57"/>
                </a:cubicBezTo>
                <a:cubicBezTo>
                  <a:pt x="33" y="55"/>
                  <a:pt x="34" y="54"/>
                  <a:pt x="34" y="53"/>
                </a:cubicBezTo>
                <a:cubicBezTo>
                  <a:pt x="33" y="52"/>
                  <a:pt x="31" y="50"/>
                  <a:pt x="30" y="49"/>
                </a:cubicBezTo>
                <a:cubicBezTo>
                  <a:pt x="30" y="48"/>
                  <a:pt x="31" y="47"/>
                  <a:pt x="30" y="46"/>
                </a:cubicBezTo>
                <a:cubicBezTo>
                  <a:pt x="29" y="45"/>
                  <a:pt x="27" y="45"/>
                  <a:pt x="27" y="43"/>
                </a:cubicBezTo>
                <a:cubicBezTo>
                  <a:pt x="26" y="40"/>
                  <a:pt x="27" y="36"/>
                  <a:pt x="28" y="35"/>
                </a:cubicBezTo>
                <a:cubicBezTo>
                  <a:pt x="28" y="29"/>
                  <a:pt x="28" y="26"/>
                  <a:pt x="26" y="22"/>
                </a:cubicBezTo>
                <a:cubicBezTo>
                  <a:pt x="26" y="21"/>
                  <a:pt x="24" y="21"/>
                  <a:pt x="24" y="21"/>
                </a:cubicBezTo>
                <a:cubicBezTo>
                  <a:pt x="22" y="17"/>
                  <a:pt x="23" y="15"/>
                  <a:pt x="20" y="13"/>
                </a:cubicBezTo>
                <a:cubicBezTo>
                  <a:pt x="19" y="11"/>
                  <a:pt x="17" y="11"/>
                  <a:pt x="16" y="9"/>
                </a:cubicBezTo>
                <a:cubicBezTo>
                  <a:pt x="14" y="11"/>
                  <a:pt x="14" y="11"/>
                  <a:pt x="14" y="11"/>
                </a:cubicBezTo>
                <a:cubicBezTo>
                  <a:pt x="13" y="15"/>
                  <a:pt x="13" y="15"/>
                  <a:pt x="13" y="15"/>
                </a:cubicBezTo>
                <a:cubicBezTo>
                  <a:pt x="11" y="15"/>
                  <a:pt x="11" y="15"/>
                  <a:pt x="11" y="15"/>
                </a:cubicBezTo>
                <a:cubicBezTo>
                  <a:pt x="10" y="17"/>
                  <a:pt x="10" y="17"/>
                  <a:pt x="10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3"/>
                  <a:pt x="8" y="13"/>
                  <a:pt x="8" y="13"/>
                </a:cubicBezTo>
                <a:cubicBezTo>
                  <a:pt x="3" y="10"/>
                  <a:pt x="3" y="10"/>
                  <a:pt x="3" y="10"/>
                </a:cubicBezTo>
                <a:cubicBezTo>
                  <a:pt x="0" y="12"/>
                  <a:pt x="0" y="12"/>
                  <a:pt x="0" y="12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2" name="Google Shape;502;p102"/>
          <p:cNvSpPr/>
          <p:nvPr/>
        </p:nvSpPr>
        <p:spPr>
          <a:xfrm>
            <a:off x="7041550" y="4994078"/>
            <a:ext cx="88026" cy="230281"/>
          </a:xfrm>
          <a:custGeom>
            <a:avLst/>
            <a:gdLst/>
            <a:ahLst/>
            <a:cxnLst/>
            <a:rect l="l" t="t" r="r" b="b"/>
            <a:pathLst>
              <a:path w="31" h="83" extrusionOk="0">
                <a:moveTo>
                  <a:pt x="16" y="2"/>
                </a:moveTo>
                <a:cubicBezTo>
                  <a:pt x="15" y="2"/>
                  <a:pt x="15" y="2"/>
                  <a:pt x="15" y="2"/>
                </a:cubicBezTo>
                <a:cubicBezTo>
                  <a:pt x="6" y="0"/>
                  <a:pt x="6" y="0"/>
                  <a:pt x="6" y="0"/>
                </a:cubicBezTo>
                <a:cubicBezTo>
                  <a:pt x="6" y="0"/>
                  <a:pt x="7" y="4"/>
                  <a:pt x="9" y="5"/>
                </a:cubicBezTo>
                <a:cubicBezTo>
                  <a:pt x="10" y="6"/>
                  <a:pt x="8" y="10"/>
                  <a:pt x="10" y="11"/>
                </a:cubicBezTo>
                <a:cubicBezTo>
                  <a:pt x="12" y="13"/>
                  <a:pt x="9" y="15"/>
                  <a:pt x="8" y="16"/>
                </a:cubicBezTo>
                <a:cubicBezTo>
                  <a:pt x="8" y="18"/>
                  <a:pt x="4" y="18"/>
                  <a:pt x="5" y="20"/>
                </a:cubicBezTo>
                <a:cubicBezTo>
                  <a:pt x="6" y="22"/>
                  <a:pt x="6" y="24"/>
                  <a:pt x="6" y="27"/>
                </a:cubicBezTo>
                <a:cubicBezTo>
                  <a:pt x="5" y="29"/>
                  <a:pt x="8" y="26"/>
                  <a:pt x="8" y="29"/>
                </a:cubicBezTo>
                <a:cubicBezTo>
                  <a:pt x="9" y="32"/>
                  <a:pt x="5" y="33"/>
                  <a:pt x="3" y="34"/>
                </a:cubicBezTo>
                <a:cubicBezTo>
                  <a:pt x="1" y="36"/>
                  <a:pt x="1" y="40"/>
                  <a:pt x="2" y="42"/>
                </a:cubicBezTo>
                <a:cubicBezTo>
                  <a:pt x="3" y="44"/>
                  <a:pt x="0" y="45"/>
                  <a:pt x="1" y="47"/>
                </a:cubicBezTo>
                <a:cubicBezTo>
                  <a:pt x="1" y="49"/>
                  <a:pt x="2" y="53"/>
                  <a:pt x="2" y="53"/>
                </a:cubicBezTo>
                <a:cubicBezTo>
                  <a:pt x="2" y="53"/>
                  <a:pt x="5" y="54"/>
                  <a:pt x="6" y="56"/>
                </a:cubicBezTo>
                <a:cubicBezTo>
                  <a:pt x="7" y="58"/>
                  <a:pt x="6" y="60"/>
                  <a:pt x="7" y="59"/>
                </a:cubicBezTo>
                <a:cubicBezTo>
                  <a:pt x="9" y="59"/>
                  <a:pt x="13" y="57"/>
                  <a:pt x="13" y="57"/>
                </a:cubicBezTo>
                <a:cubicBezTo>
                  <a:pt x="13" y="57"/>
                  <a:pt x="15" y="59"/>
                  <a:pt x="15" y="61"/>
                </a:cubicBezTo>
                <a:cubicBezTo>
                  <a:pt x="15" y="63"/>
                  <a:pt x="15" y="66"/>
                  <a:pt x="14" y="68"/>
                </a:cubicBezTo>
                <a:cubicBezTo>
                  <a:pt x="13" y="69"/>
                  <a:pt x="12" y="71"/>
                  <a:pt x="13" y="72"/>
                </a:cubicBezTo>
                <a:cubicBezTo>
                  <a:pt x="15" y="74"/>
                  <a:pt x="17" y="76"/>
                  <a:pt x="19" y="77"/>
                </a:cubicBezTo>
                <a:cubicBezTo>
                  <a:pt x="21" y="78"/>
                  <a:pt x="21" y="78"/>
                  <a:pt x="21" y="78"/>
                </a:cubicBezTo>
                <a:cubicBezTo>
                  <a:pt x="21" y="78"/>
                  <a:pt x="21" y="83"/>
                  <a:pt x="23" y="82"/>
                </a:cubicBezTo>
                <a:cubicBezTo>
                  <a:pt x="25" y="82"/>
                  <a:pt x="27" y="79"/>
                  <a:pt x="25" y="78"/>
                </a:cubicBezTo>
                <a:cubicBezTo>
                  <a:pt x="24" y="76"/>
                  <a:pt x="23" y="69"/>
                  <a:pt x="25" y="70"/>
                </a:cubicBezTo>
                <a:cubicBezTo>
                  <a:pt x="26" y="70"/>
                  <a:pt x="29" y="71"/>
                  <a:pt x="30" y="68"/>
                </a:cubicBezTo>
                <a:cubicBezTo>
                  <a:pt x="30" y="65"/>
                  <a:pt x="28" y="66"/>
                  <a:pt x="29" y="63"/>
                </a:cubicBezTo>
                <a:cubicBezTo>
                  <a:pt x="30" y="59"/>
                  <a:pt x="31" y="57"/>
                  <a:pt x="29" y="56"/>
                </a:cubicBezTo>
                <a:cubicBezTo>
                  <a:pt x="28" y="55"/>
                  <a:pt x="27" y="55"/>
                  <a:pt x="26" y="52"/>
                </a:cubicBezTo>
                <a:cubicBezTo>
                  <a:pt x="26" y="49"/>
                  <a:pt x="25" y="48"/>
                  <a:pt x="24" y="46"/>
                </a:cubicBezTo>
                <a:cubicBezTo>
                  <a:pt x="23" y="45"/>
                  <a:pt x="23" y="45"/>
                  <a:pt x="22" y="45"/>
                </a:cubicBezTo>
                <a:cubicBezTo>
                  <a:pt x="22" y="45"/>
                  <a:pt x="22" y="46"/>
                  <a:pt x="23" y="46"/>
                </a:cubicBezTo>
                <a:cubicBezTo>
                  <a:pt x="23" y="47"/>
                  <a:pt x="24" y="47"/>
                  <a:pt x="24" y="47"/>
                </a:cubicBezTo>
                <a:cubicBezTo>
                  <a:pt x="24" y="48"/>
                  <a:pt x="24" y="49"/>
                  <a:pt x="24" y="50"/>
                </a:cubicBezTo>
                <a:cubicBezTo>
                  <a:pt x="23" y="50"/>
                  <a:pt x="22" y="48"/>
                  <a:pt x="21" y="48"/>
                </a:cubicBezTo>
                <a:cubicBezTo>
                  <a:pt x="20" y="48"/>
                  <a:pt x="21" y="50"/>
                  <a:pt x="19" y="49"/>
                </a:cubicBezTo>
                <a:cubicBezTo>
                  <a:pt x="19" y="47"/>
                  <a:pt x="20" y="45"/>
                  <a:pt x="19" y="44"/>
                </a:cubicBezTo>
                <a:cubicBezTo>
                  <a:pt x="19" y="43"/>
                  <a:pt x="17" y="43"/>
                  <a:pt x="17" y="42"/>
                </a:cubicBezTo>
                <a:cubicBezTo>
                  <a:pt x="17" y="42"/>
                  <a:pt x="17" y="38"/>
                  <a:pt x="18" y="38"/>
                </a:cubicBezTo>
                <a:cubicBezTo>
                  <a:pt x="19" y="38"/>
                  <a:pt x="17" y="34"/>
                  <a:pt x="17" y="34"/>
                </a:cubicBezTo>
                <a:cubicBezTo>
                  <a:pt x="16" y="32"/>
                  <a:pt x="17" y="30"/>
                  <a:pt x="17" y="28"/>
                </a:cubicBezTo>
                <a:cubicBezTo>
                  <a:pt x="16" y="28"/>
                  <a:pt x="16" y="28"/>
                  <a:pt x="15" y="28"/>
                </a:cubicBezTo>
                <a:cubicBezTo>
                  <a:pt x="15" y="28"/>
                  <a:pt x="15" y="26"/>
                  <a:pt x="15" y="26"/>
                </a:cubicBezTo>
                <a:cubicBezTo>
                  <a:pt x="17" y="21"/>
                  <a:pt x="17" y="21"/>
                  <a:pt x="17" y="21"/>
                </a:cubicBezTo>
                <a:cubicBezTo>
                  <a:pt x="18" y="17"/>
                  <a:pt x="17" y="11"/>
                  <a:pt x="17" y="7"/>
                </a:cubicBezTo>
                <a:cubicBezTo>
                  <a:pt x="17" y="7"/>
                  <a:pt x="14" y="2"/>
                  <a:pt x="16" y="2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3" name="Google Shape;503;p102"/>
          <p:cNvSpPr/>
          <p:nvPr/>
        </p:nvSpPr>
        <p:spPr>
          <a:xfrm>
            <a:off x="7299757" y="5087321"/>
            <a:ext cx="195124" cy="402639"/>
          </a:xfrm>
          <a:custGeom>
            <a:avLst/>
            <a:gdLst/>
            <a:ahLst/>
            <a:cxnLst/>
            <a:rect l="l" t="t" r="r" b="b"/>
            <a:pathLst>
              <a:path w="68" h="145" extrusionOk="0">
                <a:moveTo>
                  <a:pt x="54" y="0"/>
                </a:moveTo>
                <a:cubicBezTo>
                  <a:pt x="54" y="1"/>
                  <a:pt x="52" y="3"/>
                  <a:pt x="52" y="4"/>
                </a:cubicBezTo>
                <a:cubicBezTo>
                  <a:pt x="50" y="8"/>
                  <a:pt x="51" y="13"/>
                  <a:pt x="51" y="16"/>
                </a:cubicBezTo>
                <a:cubicBezTo>
                  <a:pt x="50" y="16"/>
                  <a:pt x="49" y="16"/>
                  <a:pt x="48" y="16"/>
                </a:cubicBezTo>
                <a:cubicBezTo>
                  <a:pt x="47" y="18"/>
                  <a:pt x="47" y="18"/>
                  <a:pt x="47" y="18"/>
                </a:cubicBezTo>
                <a:cubicBezTo>
                  <a:pt x="45" y="18"/>
                  <a:pt x="46" y="18"/>
                  <a:pt x="44" y="17"/>
                </a:cubicBezTo>
                <a:cubicBezTo>
                  <a:pt x="45" y="19"/>
                  <a:pt x="44" y="20"/>
                  <a:pt x="45" y="23"/>
                </a:cubicBezTo>
                <a:cubicBezTo>
                  <a:pt x="44" y="23"/>
                  <a:pt x="43" y="23"/>
                  <a:pt x="43" y="24"/>
                </a:cubicBezTo>
                <a:cubicBezTo>
                  <a:pt x="42" y="25"/>
                  <a:pt x="44" y="26"/>
                  <a:pt x="44" y="26"/>
                </a:cubicBezTo>
                <a:cubicBezTo>
                  <a:pt x="44" y="26"/>
                  <a:pt x="42" y="26"/>
                  <a:pt x="42" y="26"/>
                </a:cubicBezTo>
                <a:cubicBezTo>
                  <a:pt x="41" y="28"/>
                  <a:pt x="41" y="29"/>
                  <a:pt x="41" y="30"/>
                </a:cubicBezTo>
                <a:cubicBezTo>
                  <a:pt x="40" y="29"/>
                  <a:pt x="40" y="28"/>
                  <a:pt x="39" y="28"/>
                </a:cubicBezTo>
                <a:cubicBezTo>
                  <a:pt x="39" y="28"/>
                  <a:pt x="37" y="29"/>
                  <a:pt x="37" y="29"/>
                </a:cubicBezTo>
                <a:cubicBezTo>
                  <a:pt x="36" y="31"/>
                  <a:pt x="37" y="34"/>
                  <a:pt x="37" y="36"/>
                </a:cubicBezTo>
                <a:cubicBezTo>
                  <a:pt x="35" y="35"/>
                  <a:pt x="36" y="35"/>
                  <a:pt x="36" y="34"/>
                </a:cubicBezTo>
                <a:cubicBezTo>
                  <a:pt x="34" y="34"/>
                  <a:pt x="31" y="36"/>
                  <a:pt x="30" y="36"/>
                </a:cubicBezTo>
                <a:cubicBezTo>
                  <a:pt x="30" y="38"/>
                  <a:pt x="30" y="38"/>
                  <a:pt x="30" y="38"/>
                </a:cubicBezTo>
                <a:cubicBezTo>
                  <a:pt x="29" y="39"/>
                  <a:pt x="25" y="37"/>
                  <a:pt x="24" y="37"/>
                </a:cubicBezTo>
                <a:cubicBezTo>
                  <a:pt x="24" y="37"/>
                  <a:pt x="24" y="39"/>
                  <a:pt x="24" y="40"/>
                </a:cubicBezTo>
                <a:cubicBezTo>
                  <a:pt x="23" y="40"/>
                  <a:pt x="22" y="39"/>
                  <a:pt x="21" y="39"/>
                </a:cubicBezTo>
                <a:cubicBezTo>
                  <a:pt x="20" y="40"/>
                  <a:pt x="20" y="40"/>
                  <a:pt x="20" y="40"/>
                </a:cubicBezTo>
                <a:cubicBezTo>
                  <a:pt x="19" y="41"/>
                  <a:pt x="18" y="41"/>
                  <a:pt x="16" y="42"/>
                </a:cubicBezTo>
                <a:cubicBezTo>
                  <a:pt x="16" y="42"/>
                  <a:pt x="16" y="43"/>
                  <a:pt x="16" y="44"/>
                </a:cubicBezTo>
                <a:cubicBezTo>
                  <a:pt x="15" y="45"/>
                  <a:pt x="12" y="46"/>
                  <a:pt x="12" y="46"/>
                </a:cubicBezTo>
                <a:cubicBezTo>
                  <a:pt x="11" y="46"/>
                  <a:pt x="11" y="46"/>
                  <a:pt x="11" y="46"/>
                </a:cubicBezTo>
                <a:cubicBezTo>
                  <a:pt x="11" y="47"/>
                  <a:pt x="11" y="48"/>
                  <a:pt x="11" y="49"/>
                </a:cubicBezTo>
                <a:cubicBezTo>
                  <a:pt x="11" y="50"/>
                  <a:pt x="8" y="52"/>
                  <a:pt x="8" y="53"/>
                </a:cubicBezTo>
                <a:cubicBezTo>
                  <a:pt x="6" y="59"/>
                  <a:pt x="10" y="62"/>
                  <a:pt x="10" y="65"/>
                </a:cubicBezTo>
                <a:cubicBezTo>
                  <a:pt x="11" y="68"/>
                  <a:pt x="10" y="70"/>
                  <a:pt x="11" y="73"/>
                </a:cubicBezTo>
                <a:cubicBezTo>
                  <a:pt x="11" y="73"/>
                  <a:pt x="12" y="73"/>
                  <a:pt x="12" y="74"/>
                </a:cubicBezTo>
                <a:cubicBezTo>
                  <a:pt x="13" y="77"/>
                  <a:pt x="14" y="78"/>
                  <a:pt x="13" y="81"/>
                </a:cubicBezTo>
                <a:cubicBezTo>
                  <a:pt x="13" y="81"/>
                  <a:pt x="11" y="82"/>
                  <a:pt x="11" y="82"/>
                </a:cubicBezTo>
                <a:cubicBezTo>
                  <a:pt x="10" y="83"/>
                  <a:pt x="11" y="84"/>
                  <a:pt x="10" y="86"/>
                </a:cubicBezTo>
                <a:cubicBezTo>
                  <a:pt x="10" y="87"/>
                  <a:pt x="7" y="87"/>
                  <a:pt x="6" y="88"/>
                </a:cubicBezTo>
                <a:cubicBezTo>
                  <a:pt x="6" y="89"/>
                  <a:pt x="6" y="92"/>
                  <a:pt x="6" y="92"/>
                </a:cubicBezTo>
                <a:cubicBezTo>
                  <a:pt x="6" y="94"/>
                  <a:pt x="6" y="94"/>
                  <a:pt x="6" y="94"/>
                </a:cubicBezTo>
                <a:cubicBezTo>
                  <a:pt x="2" y="97"/>
                  <a:pt x="2" y="97"/>
                  <a:pt x="2" y="97"/>
                </a:cubicBezTo>
                <a:cubicBezTo>
                  <a:pt x="1" y="99"/>
                  <a:pt x="3" y="99"/>
                  <a:pt x="2" y="101"/>
                </a:cubicBezTo>
                <a:cubicBezTo>
                  <a:pt x="2" y="102"/>
                  <a:pt x="1" y="104"/>
                  <a:pt x="0" y="104"/>
                </a:cubicBezTo>
                <a:cubicBezTo>
                  <a:pt x="0" y="108"/>
                  <a:pt x="1" y="116"/>
                  <a:pt x="3" y="119"/>
                </a:cubicBezTo>
                <a:cubicBezTo>
                  <a:pt x="3" y="119"/>
                  <a:pt x="6" y="120"/>
                  <a:pt x="6" y="121"/>
                </a:cubicBezTo>
                <a:cubicBezTo>
                  <a:pt x="6" y="122"/>
                  <a:pt x="5" y="122"/>
                  <a:pt x="5" y="123"/>
                </a:cubicBezTo>
                <a:cubicBezTo>
                  <a:pt x="6" y="125"/>
                  <a:pt x="6" y="125"/>
                  <a:pt x="6" y="125"/>
                </a:cubicBezTo>
                <a:cubicBezTo>
                  <a:pt x="8" y="129"/>
                  <a:pt x="8" y="135"/>
                  <a:pt x="11" y="138"/>
                </a:cubicBezTo>
                <a:cubicBezTo>
                  <a:pt x="13" y="140"/>
                  <a:pt x="16" y="140"/>
                  <a:pt x="18" y="141"/>
                </a:cubicBezTo>
                <a:cubicBezTo>
                  <a:pt x="18" y="142"/>
                  <a:pt x="20" y="144"/>
                  <a:pt x="20" y="144"/>
                </a:cubicBezTo>
                <a:cubicBezTo>
                  <a:pt x="23" y="145"/>
                  <a:pt x="25" y="142"/>
                  <a:pt x="26" y="141"/>
                </a:cubicBezTo>
                <a:cubicBezTo>
                  <a:pt x="29" y="140"/>
                  <a:pt x="33" y="139"/>
                  <a:pt x="35" y="137"/>
                </a:cubicBezTo>
                <a:cubicBezTo>
                  <a:pt x="35" y="136"/>
                  <a:pt x="35" y="135"/>
                  <a:pt x="35" y="135"/>
                </a:cubicBezTo>
                <a:cubicBezTo>
                  <a:pt x="35" y="134"/>
                  <a:pt x="36" y="134"/>
                  <a:pt x="36" y="134"/>
                </a:cubicBezTo>
                <a:cubicBezTo>
                  <a:pt x="37" y="131"/>
                  <a:pt x="38" y="128"/>
                  <a:pt x="39" y="126"/>
                </a:cubicBezTo>
                <a:cubicBezTo>
                  <a:pt x="40" y="123"/>
                  <a:pt x="39" y="122"/>
                  <a:pt x="40" y="119"/>
                </a:cubicBezTo>
                <a:cubicBezTo>
                  <a:pt x="40" y="118"/>
                  <a:pt x="42" y="115"/>
                  <a:pt x="43" y="113"/>
                </a:cubicBezTo>
                <a:cubicBezTo>
                  <a:pt x="44" y="110"/>
                  <a:pt x="43" y="109"/>
                  <a:pt x="44" y="105"/>
                </a:cubicBezTo>
                <a:cubicBezTo>
                  <a:pt x="46" y="104"/>
                  <a:pt x="46" y="104"/>
                  <a:pt x="46" y="104"/>
                </a:cubicBezTo>
                <a:cubicBezTo>
                  <a:pt x="46" y="103"/>
                  <a:pt x="46" y="101"/>
                  <a:pt x="46" y="101"/>
                </a:cubicBezTo>
                <a:cubicBezTo>
                  <a:pt x="46" y="101"/>
                  <a:pt x="46" y="99"/>
                  <a:pt x="46" y="99"/>
                </a:cubicBezTo>
                <a:cubicBezTo>
                  <a:pt x="46" y="98"/>
                  <a:pt x="48" y="97"/>
                  <a:pt x="48" y="96"/>
                </a:cubicBezTo>
                <a:cubicBezTo>
                  <a:pt x="49" y="95"/>
                  <a:pt x="48" y="93"/>
                  <a:pt x="48" y="92"/>
                </a:cubicBezTo>
                <a:cubicBezTo>
                  <a:pt x="48" y="90"/>
                  <a:pt x="50" y="87"/>
                  <a:pt x="50" y="86"/>
                </a:cubicBezTo>
                <a:cubicBezTo>
                  <a:pt x="50" y="83"/>
                  <a:pt x="49" y="82"/>
                  <a:pt x="50" y="80"/>
                </a:cubicBezTo>
                <a:cubicBezTo>
                  <a:pt x="50" y="79"/>
                  <a:pt x="52" y="77"/>
                  <a:pt x="52" y="76"/>
                </a:cubicBezTo>
                <a:cubicBezTo>
                  <a:pt x="53" y="75"/>
                  <a:pt x="52" y="74"/>
                  <a:pt x="52" y="73"/>
                </a:cubicBezTo>
                <a:cubicBezTo>
                  <a:pt x="53" y="72"/>
                  <a:pt x="55" y="70"/>
                  <a:pt x="55" y="70"/>
                </a:cubicBezTo>
                <a:cubicBezTo>
                  <a:pt x="56" y="69"/>
                  <a:pt x="55" y="68"/>
                  <a:pt x="56" y="66"/>
                </a:cubicBezTo>
                <a:cubicBezTo>
                  <a:pt x="56" y="66"/>
                  <a:pt x="57" y="64"/>
                  <a:pt x="58" y="64"/>
                </a:cubicBezTo>
                <a:cubicBezTo>
                  <a:pt x="59" y="60"/>
                  <a:pt x="56" y="57"/>
                  <a:pt x="58" y="54"/>
                </a:cubicBezTo>
                <a:cubicBezTo>
                  <a:pt x="59" y="53"/>
                  <a:pt x="61" y="52"/>
                  <a:pt x="61" y="52"/>
                </a:cubicBezTo>
                <a:cubicBezTo>
                  <a:pt x="61" y="50"/>
                  <a:pt x="61" y="50"/>
                  <a:pt x="61" y="50"/>
                </a:cubicBezTo>
                <a:cubicBezTo>
                  <a:pt x="60" y="51"/>
                  <a:pt x="59" y="49"/>
                  <a:pt x="62" y="48"/>
                </a:cubicBezTo>
                <a:cubicBezTo>
                  <a:pt x="61" y="46"/>
                  <a:pt x="62" y="45"/>
                  <a:pt x="62" y="44"/>
                </a:cubicBezTo>
                <a:cubicBezTo>
                  <a:pt x="61" y="43"/>
                  <a:pt x="60" y="43"/>
                  <a:pt x="60" y="42"/>
                </a:cubicBezTo>
                <a:cubicBezTo>
                  <a:pt x="59" y="40"/>
                  <a:pt x="59" y="37"/>
                  <a:pt x="58" y="34"/>
                </a:cubicBezTo>
                <a:cubicBezTo>
                  <a:pt x="60" y="35"/>
                  <a:pt x="59" y="34"/>
                  <a:pt x="60" y="34"/>
                </a:cubicBezTo>
                <a:cubicBezTo>
                  <a:pt x="61" y="36"/>
                  <a:pt x="62" y="36"/>
                  <a:pt x="63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5" y="35"/>
                  <a:pt x="68" y="31"/>
                  <a:pt x="66" y="26"/>
                </a:cubicBezTo>
                <a:cubicBezTo>
                  <a:pt x="66" y="25"/>
                  <a:pt x="64" y="23"/>
                  <a:pt x="64" y="22"/>
                </a:cubicBezTo>
                <a:cubicBezTo>
                  <a:pt x="63" y="21"/>
                  <a:pt x="64" y="20"/>
                  <a:pt x="64" y="19"/>
                </a:cubicBezTo>
                <a:cubicBezTo>
                  <a:pt x="64" y="20"/>
                  <a:pt x="64" y="18"/>
                  <a:pt x="64" y="17"/>
                </a:cubicBezTo>
                <a:cubicBezTo>
                  <a:pt x="64" y="15"/>
                  <a:pt x="63" y="8"/>
                  <a:pt x="62" y="6"/>
                </a:cubicBezTo>
                <a:cubicBezTo>
                  <a:pt x="60" y="4"/>
                  <a:pt x="60" y="7"/>
                  <a:pt x="58" y="6"/>
                </a:cubicBezTo>
                <a:cubicBezTo>
                  <a:pt x="58" y="5"/>
                  <a:pt x="58" y="4"/>
                  <a:pt x="57" y="3"/>
                </a:cubicBezTo>
                <a:cubicBezTo>
                  <a:pt x="56" y="3"/>
                  <a:pt x="55" y="3"/>
                  <a:pt x="55" y="2"/>
                </a:cubicBezTo>
                <a:cubicBezTo>
                  <a:pt x="56" y="2"/>
                  <a:pt x="55" y="0"/>
                  <a:pt x="55" y="0"/>
                </a:cubicBezTo>
                <a:lnTo>
                  <a:pt x="54" y="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4" name="Google Shape;504;p102"/>
          <p:cNvSpPr/>
          <p:nvPr/>
        </p:nvSpPr>
        <p:spPr>
          <a:xfrm>
            <a:off x="6755467" y="3401885"/>
            <a:ext cx="74822" cy="60749"/>
          </a:xfrm>
          <a:custGeom>
            <a:avLst/>
            <a:gdLst/>
            <a:ahLst/>
            <a:cxnLst/>
            <a:rect l="l" t="t" r="r" b="b"/>
            <a:pathLst>
              <a:path w="26" h="22" extrusionOk="0">
                <a:moveTo>
                  <a:pt x="3" y="7"/>
                </a:moveTo>
                <a:cubicBezTo>
                  <a:pt x="5" y="5"/>
                  <a:pt x="5" y="5"/>
                  <a:pt x="5" y="5"/>
                </a:cubicBezTo>
                <a:cubicBezTo>
                  <a:pt x="7" y="3"/>
                  <a:pt x="7" y="3"/>
                  <a:pt x="7" y="3"/>
                </a:cubicBezTo>
                <a:cubicBezTo>
                  <a:pt x="9" y="6"/>
                  <a:pt x="9" y="6"/>
                  <a:pt x="9" y="6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2"/>
                  <a:pt x="14" y="2"/>
                  <a:pt x="14" y="2"/>
                </a:cubicBezTo>
                <a:cubicBezTo>
                  <a:pt x="16" y="1"/>
                  <a:pt x="16" y="1"/>
                  <a:pt x="16" y="1"/>
                </a:cubicBezTo>
                <a:cubicBezTo>
                  <a:pt x="19" y="0"/>
                  <a:pt x="19" y="0"/>
                  <a:pt x="19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0"/>
                  <a:pt x="22" y="0"/>
                  <a:pt x="24" y="2"/>
                </a:cubicBezTo>
                <a:cubicBezTo>
                  <a:pt x="25" y="4"/>
                  <a:pt x="22" y="4"/>
                  <a:pt x="24" y="6"/>
                </a:cubicBezTo>
                <a:cubicBezTo>
                  <a:pt x="26" y="8"/>
                  <a:pt x="25" y="9"/>
                  <a:pt x="25" y="9"/>
                </a:cubicBezTo>
                <a:cubicBezTo>
                  <a:pt x="25" y="12"/>
                  <a:pt x="25" y="12"/>
                  <a:pt x="25" y="12"/>
                </a:cubicBezTo>
                <a:cubicBezTo>
                  <a:pt x="25" y="12"/>
                  <a:pt x="23" y="13"/>
                  <a:pt x="24" y="14"/>
                </a:cubicBezTo>
                <a:cubicBezTo>
                  <a:pt x="25" y="16"/>
                  <a:pt x="22" y="16"/>
                  <a:pt x="22" y="16"/>
                </a:cubicBezTo>
                <a:cubicBezTo>
                  <a:pt x="22" y="16"/>
                  <a:pt x="18" y="16"/>
                  <a:pt x="17" y="18"/>
                </a:cubicBezTo>
                <a:cubicBezTo>
                  <a:pt x="17" y="19"/>
                  <a:pt x="16" y="18"/>
                  <a:pt x="14" y="19"/>
                </a:cubicBezTo>
                <a:cubicBezTo>
                  <a:pt x="13" y="21"/>
                  <a:pt x="13" y="22"/>
                  <a:pt x="11" y="22"/>
                </a:cubicBezTo>
                <a:cubicBezTo>
                  <a:pt x="9" y="22"/>
                  <a:pt x="4" y="21"/>
                  <a:pt x="4" y="21"/>
                </a:cubicBezTo>
                <a:cubicBezTo>
                  <a:pt x="4" y="21"/>
                  <a:pt x="3" y="19"/>
                  <a:pt x="2" y="17"/>
                </a:cubicBezTo>
                <a:cubicBezTo>
                  <a:pt x="0" y="15"/>
                  <a:pt x="0" y="15"/>
                  <a:pt x="1" y="13"/>
                </a:cubicBezTo>
                <a:cubicBezTo>
                  <a:pt x="2" y="11"/>
                  <a:pt x="2" y="8"/>
                  <a:pt x="2" y="8"/>
                </a:cubicBezTo>
                <a:lnTo>
                  <a:pt x="3" y="7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5" name="Google Shape;505;p102"/>
          <p:cNvSpPr/>
          <p:nvPr/>
        </p:nvSpPr>
        <p:spPr>
          <a:xfrm>
            <a:off x="6381358" y="3127808"/>
            <a:ext cx="23473" cy="31081"/>
          </a:xfrm>
          <a:custGeom>
            <a:avLst/>
            <a:gdLst/>
            <a:ahLst/>
            <a:cxnLst/>
            <a:rect l="l" t="t" r="r" b="b"/>
            <a:pathLst>
              <a:path w="8" h="11" extrusionOk="0">
                <a:moveTo>
                  <a:pt x="2" y="7"/>
                </a:moveTo>
                <a:cubicBezTo>
                  <a:pt x="2" y="7"/>
                  <a:pt x="0" y="6"/>
                  <a:pt x="2" y="4"/>
                </a:cubicBezTo>
                <a:cubicBezTo>
                  <a:pt x="2" y="3"/>
                  <a:pt x="0" y="1"/>
                  <a:pt x="4" y="1"/>
                </a:cubicBezTo>
                <a:cubicBezTo>
                  <a:pt x="4" y="1"/>
                  <a:pt x="4" y="0"/>
                  <a:pt x="5" y="3"/>
                </a:cubicBezTo>
                <a:cubicBezTo>
                  <a:pt x="7" y="6"/>
                  <a:pt x="8" y="3"/>
                  <a:pt x="6" y="6"/>
                </a:cubicBezTo>
                <a:cubicBezTo>
                  <a:pt x="4" y="10"/>
                  <a:pt x="6" y="11"/>
                  <a:pt x="6" y="11"/>
                </a:cubicBezTo>
                <a:cubicBezTo>
                  <a:pt x="6" y="11"/>
                  <a:pt x="4" y="10"/>
                  <a:pt x="3" y="10"/>
                </a:cubicBezTo>
                <a:cubicBezTo>
                  <a:pt x="1" y="10"/>
                  <a:pt x="2" y="7"/>
                  <a:pt x="2" y="7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6" name="Google Shape;506;p102"/>
          <p:cNvSpPr/>
          <p:nvPr/>
        </p:nvSpPr>
        <p:spPr>
          <a:xfrm>
            <a:off x="6760551" y="2894700"/>
            <a:ext cx="152578" cy="105958"/>
          </a:xfrm>
          <a:custGeom>
            <a:avLst/>
            <a:gdLst/>
            <a:ahLst/>
            <a:cxnLst/>
            <a:rect l="l" t="t" r="r" b="b"/>
            <a:pathLst>
              <a:path w="53" h="38" extrusionOk="0">
                <a:moveTo>
                  <a:pt x="3" y="2"/>
                </a:moveTo>
                <a:cubicBezTo>
                  <a:pt x="3" y="6"/>
                  <a:pt x="3" y="10"/>
                  <a:pt x="4" y="15"/>
                </a:cubicBezTo>
                <a:cubicBezTo>
                  <a:pt x="3" y="16"/>
                  <a:pt x="3" y="16"/>
                  <a:pt x="2" y="17"/>
                </a:cubicBezTo>
                <a:cubicBezTo>
                  <a:pt x="2" y="17"/>
                  <a:pt x="7" y="22"/>
                  <a:pt x="9" y="24"/>
                </a:cubicBezTo>
                <a:cubicBezTo>
                  <a:pt x="11" y="26"/>
                  <a:pt x="19" y="26"/>
                  <a:pt x="19" y="26"/>
                </a:cubicBezTo>
                <a:cubicBezTo>
                  <a:pt x="21" y="34"/>
                  <a:pt x="21" y="34"/>
                  <a:pt x="21" y="34"/>
                </a:cubicBezTo>
                <a:cubicBezTo>
                  <a:pt x="21" y="34"/>
                  <a:pt x="30" y="34"/>
                  <a:pt x="32" y="35"/>
                </a:cubicBezTo>
                <a:cubicBezTo>
                  <a:pt x="35" y="36"/>
                  <a:pt x="34" y="38"/>
                  <a:pt x="34" y="38"/>
                </a:cubicBezTo>
                <a:cubicBezTo>
                  <a:pt x="38" y="36"/>
                  <a:pt x="38" y="36"/>
                  <a:pt x="38" y="36"/>
                </a:cubicBezTo>
                <a:cubicBezTo>
                  <a:pt x="43" y="36"/>
                  <a:pt x="43" y="36"/>
                  <a:pt x="43" y="36"/>
                </a:cubicBezTo>
                <a:cubicBezTo>
                  <a:pt x="44" y="36"/>
                  <a:pt x="44" y="33"/>
                  <a:pt x="44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1"/>
                  <a:pt x="48" y="28"/>
                </a:cubicBezTo>
                <a:cubicBezTo>
                  <a:pt x="47" y="25"/>
                  <a:pt x="49" y="22"/>
                  <a:pt x="51" y="20"/>
                </a:cubicBezTo>
                <a:cubicBezTo>
                  <a:pt x="53" y="18"/>
                  <a:pt x="52" y="15"/>
                  <a:pt x="52" y="15"/>
                </a:cubicBezTo>
                <a:cubicBezTo>
                  <a:pt x="52" y="15"/>
                  <a:pt x="51" y="14"/>
                  <a:pt x="48" y="13"/>
                </a:cubicBezTo>
                <a:cubicBezTo>
                  <a:pt x="46" y="12"/>
                  <a:pt x="46" y="12"/>
                  <a:pt x="44" y="11"/>
                </a:cubicBezTo>
                <a:cubicBezTo>
                  <a:pt x="43" y="9"/>
                  <a:pt x="41" y="10"/>
                  <a:pt x="39" y="9"/>
                </a:cubicBezTo>
                <a:cubicBezTo>
                  <a:pt x="37" y="8"/>
                  <a:pt x="37" y="5"/>
                  <a:pt x="37" y="5"/>
                </a:cubicBezTo>
                <a:cubicBezTo>
                  <a:pt x="37" y="5"/>
                  <a:pt x="34" y="6"/>
                  <a:pt x="32" y="6"/>
                </a:cubicBezTo>
                <a:cubicBezTo>
                  <a:pt x="31" y="6"/>
                  <a:pt x="29" y="4"/>
                  <a:pt x="27" y="4"/>
                </a:cubicBezTo>
                <a:cubicBezTo>
                  <a:pt x="25" y="4"/>
                  <a:pt x="24" y="3"/>
                  <a:pt x="20" y="2"/>
                </a:cubicBezTo>
                <a:cubicBezTo>
                  <a:pt x="15" y="1"/>
                  <a:pt x="13" y="0"/>
                  <a:pt x="11" y="0"/>
                </a:cubicBezTo>
                <a:cubicBezTo>
                  <a:pt x="9" y="0"/>
                  <a:pt x="3" y="2"/>
                  <a:pt x="3" y="2"/>
                </a:cubicBezTo>
                <a:close/>
                <a:moveTo>
                  <a:pt x="0" y="12"/>
                </a:moveTo>
                <a:cubicBezTo>
                  <a:pt x="0" y="13"/>
                  <a:pt x="0" y="13"/>
                  <a:pt x="0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2"/>
                  <a:pt x="2" y="12"/>
                  <a:pt x="0" y="12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7" name="Google Shape;507;p102"/>
          <p:cNvSpPr/>
          <p:nvPr/>
        </p:nvSpPr>
        <p:spPr>
          <a:xfrm>
            <a:off x="6491390" y="3228114"/>
            <a:ext cx="11737" cy="12715"/>
          </a:xfrm>
          <a:custGeom>
            <a:avLst/>
            <a:gdLst/>
            <a:ahLst/>
            <a:cxnLst/>
            <a:rect l="l" t="t" r="r" b="b"/>
            <a:pathLst>
              <a:path w="4" h="5" extrusionOk="0">
                <a:moveTo>
                  <a:pt x="3" y="5"/>
                </a:moveTo>
                <a:cubicBezTo>
                  <a:pt x="0" y="4"/>
                  <a:pt x="1" y="1"/>
                  <a:pt x="1" y="1"/>
                </a:cubicBezTo>
                <a:cubicBezTo>
                  <a:pt x="4" y="0"/>
                  <a:pt x="4" y="2"/>
                  <a:pt x="3" y="5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8" name="Google Shape;508;p102"/>
          <p:cNvSpPr/>
          <p:nvPr/>
        </p:nvSpPr>
        <p:spPr>
          <a:xfrm>
            <a:off x="6491390" y="3228114"/>
            <a:ext cx="11737" cy="12715"/>
          </a:xfrm>
          <a:custGeom>
            <a:avLst/>
            <a:gdLst/>
            <a:ahLst/>
            <a:cxnLst/>
            <a:rect l="l" t="t" r="r" b="b"/>
            <a:pathLst>
              <a:path w="4" h="5" extrusionOk="0">
                <a:moveTo>
                  <a:pt x="3" y="5"/>
                </a:moveTo>
                <a:cubicBezTo>
                  <a:pt x="0" y="4"/>
                  <a:pt x="1" y="1"/>
                  <a:pt x="1" y="1"/>
                </a:cubicBezTo>
                <a:cubicBezTo>
                  <a:pt x="4" y="0"/>
                  <a:pt x="4" y="2"/>
                  <a:pt x="3" y="5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09" name="Google Shape;509;p102"/>
          <p:cNvSpPr/>
          <p:nvPr/>
        </p:nvSpPr>
        <p:spPr>
          <a:xfrm>
            <a:off x="6448844" y="3698566"/>
            <a:ext cx="419588" cy="423831"/>
          </a:xfrm>
          <a:custGeom>
            <a:avLst/>
            <a:gdLst/>
            <a:ahLst/>
            <a:cxnLst/>
            <a:rect l="l" t="t" r="r" b="b"/>
            <a:pathLst>
              <a:path w="146" h="153" extrusionOk="0">
                <a:moveTo>
                  <a:pt x="25" y="0"/>
                </a:moveTo>
                <a:cubicBezTo>
                  <a:pt x="23" y="4"/>
                  <a:pt x="23" y="4"/>
                  <a:pt x="23" y="4"/>
                </a:cubicBezTo>
                <a:cubicBezTo>
                  <a:pt x="23" y="4"/>
                  <a:pt x="25" y="8"/>
                  <a:pt x="22" y="9"/>
                </a:cubicBezTo>
                <a:cubicBezTo>
                  <a:pt x="19" y="10"/>
                  <a:pt x="18" y="13"/>
                  <a:pt x="16" y="13"/>
                </a:cubicBezTo>
                <a:cubicBezTo>
                  <a:pt x="14" y="13"/>
                  <a:pt x="12" y="15"/>
                  <a:pt x="12" y="15"/>
                </a:cubicBezTo>
                <a:cubicBezTo>
                  <a:pt x="12" y="15"/>
                  <a:pt x="12" y="20"/>
                  <a:pt x="13" y="23"/>
                </a:cubicBezTo>
                <a:cubicBezTo>
                  <a:pt x="13" y="25"/>
                  <a:pt x="11" y="25"/>
                  <a:pt x="11" y="27"/>
                </a:cubicBezTo>
                <a:cubicBezTo>
                  <a:pt x="11" y="29"/>
                  <a:pt x="7" y="31"/>
                  <a:pt x="7" y="31"/>
                </a:cubicBezTo>
                <a:cubicBezTo>
                  <a:pt x="7" y="31"/>
                  <a:pt x="5" y="31"/>
                  <a:pt x="4" y="32"/>
                </a:cubicBezTo>
                <a:cubicBezTo>
                  <a:pt x="3" y="33"/>
                  <a:pt x="6" y="36"/>
                  <a:pt x="6" y="36"/>
                </a:cubicBezTo>
                <a:cubicBezTo>
                  <a:pt x="5" y="53"/>
                  <a:pt x="5" y="53"/>
                  <a:pt x="5" y="53"/>
                </a:cubicBezTo>
                <a:cubicBezTo>
                  <a:pt x="8" y="57"/>
                  <a:pt x="8" y="57"/>
                  <a:pt x="8" y="57"/>
                </a:cubicBezTo>
                <a:cubicBezTo>
                  <a:pt x="8" y="57"/>
                  <a:pt x="4" y="60"/>
                  <a:pt x="5" y="60"/>
                </a:cubicBezTo>
                <a:cubicBezTo>
                  <a:pt x="7" y="60"/>
                  <a:pt x="6" y="63"/>
                  <a:pt x="6" y="63"/>
                </a:cubicBezTo>
                <a:cubicBezTo>
                  <a:pt x="6" y="63"/>
                  <a:pt x="6" y="71"/>
                  <a:pt x="5" y="75"/>
                </a:cubicBezTo>
                <a:cubicBezTo>
                  <a:pt x="5" y="78"/>
                  <a:pt x="0" y="79"/>
                  <a:pt x="0" y="79"/>
                </a:cubicBezTo>
                <a:cubicBezTo>
                  <a:pt x="0" y="79"/>
                  <a:pt x="1" y="81"/>
                  <a:pt x="3" y="83"/>
                </a:cubicBezTo>
                <a:cubicBezTo>
                  <a:pt x="4" y="85"/>
                  <a:pt x="4" y="88"/>
                  <a:pt x="6" y="89"/>
                </a:cubicBezTo>
                <a:cubicBezTo>
                  <a:pt x="8" y="91"/>
                  <a:pt x="8" y="92"/>
                  <a:pt x="8" y="95"/>
                </a:cubicBezTo>
                <a:cubicBezTo>
                  <a:pt x="8" y="97"/>
                  <a:pt x="10" y="100"/>
                  <a:pt x="12" y="100"/>
                </a:cubicBezTo>
                <a:cubicBezTo>
                  <a:pt x="14" y="100"/>
                  <a:pt x="16" y="101"/>
                  <a:pt x="18" y="102"/>
                </a:cubicBezTo>
                <a:cubicBezTo>
                  <a:pt x="20" y="102"/>
                  <a:pt x="20" y="105"/>
                  <a:pt x="22" y="105"/>
                </a:cubicBezTo>
                <a:cubicBezTo>
                  <a:pt x="24" y="105"/>
                  <a:pt x="27" y="109"/>
                  <a:pt x="27" y="109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8" y="119"/>
                  <a:pt x="48" y="119"/>
                  <a:pt x="48" y="119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63" y="108"/>
                  <a:pt x="63" y="108"/>
                  <a:pt x="63" y="108"/>
                </a:cubicBezTo>
                <a:cubicBezTo>
                  <a:pt x="138" y="153"/>
                  <a:pt x="138" y="153"/>
                  <a:pt x="138" y="153"/>
                </a:cubicBezTo>
                <a:cubicBezTo>
                  <a:pt x="138" y="145"/>
                  <a:pt x="138" y="145"/>
                  <a:pt x="138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24"/>
                  <a:pt x="146" y="124"/>
                  <a:pt x="146" y="124"/>
                </a:cubicBezTo>
                <a:cubicBezTo>
                  <a:pt x="145" y="46"/>
                  <a:pt x="145" y="46"/>
                  <a:pt x="145" y="46"/>
                </a:cubicBezTo>
                <a:cubicBezTo>
                  <a:pt x="145" y="46"/>
                  <a:pt x="145" y="45"/>
                  <a:pt x="144" y="44"/>
                </a:cubicBezTo>
                <a:cubicBezTo>
                  <a:pt x="142" y="42"/>
                  <a:pt x="143" y="42"/>
                  <a:pt x="142" y="38"/>
                </a:cubicBezTo>
                <a:cubicBezTo>
                  <a:pt x="142" y="35"/>
                  <a:pt x="142" y="34"/>
                  <a:pt x="144" y="32"/>
                </a:cubicBezTo>
                <a:cubicBezTo>
                  <a:pt x="146" y="30"/>
                  <a:pt x="143" y="26"/>
                  <a:pt x="142" y="24"/>
                </a:cubicBezTo>
                <a:cubicBezTo>
                  <a:pt x="141" y="22"/>
                  <a:pt x="142" y="17"/>
                  <a:pt x="142" y="17"/>
                </a:cubicBezTo>
                <a:cubicBezTo>
                  <a:pt x="141" y="17"/>
                  <a:pt x="139" y="16"/>
                  <a:pt x="138" y="16"/>
                </a:cubicBezTo>
                <a:cubicBezTo>
                  <a:pt x="138" y="16"/>
                  <a:pt x="138" y="14"/>
                  <a:pt x="138" y="14"/>
                </a:cubicBezTo>
                <a:cubicBezTo>
                  <a:pt x="135" y="13"/>
                  <a:pt x="132" y="14"/>
                  <a:pt x="129" y="14"/>
                </a:cubicBezTo>
                <a:cubicBezTo>
                  <a:pt x="129" y="14"/>
                  <a:pt x="128" y="12"/>
                  <a:pt x="129" y="12"/>
                </a:cubicBezTo>
                <a:cubicBezTo>
                  <a:pt x="128" y="11"/>
                  <a:pt x="127" y="11"/>
                  <a:pt x="127" y="11"/>
                </a:cubicBezTo>
                <a:cubicBezTo>
                  <a:pt x="127" y="10"/>
                  <a:pt x="127" y="9"/>
                  <a:pt x="126" y="9"/>
                </a:cubicBezTo>
                <a:cubicBezTo>
                  <a:pt x="125" y="8"/>
                  <a:pt x="124" y="9"/>
                  <a:pt x="122" y="9"/>
                </a:cubicBezTo>
                <a:cubicBezTo>
                  <a:pt x="120" y="8"/>
                  <a:pt x="117" y="6"/>
                  <a:pt x="116" y="6"/>
                </a:cubicBezTo>
                <a:cubicBezTo>
                  <a:pt x="115" y="5"/>
                  <a:pt x="114" y="5"/>
                  <a:pt x="114" y="5"/>
                </a:cubicBezTo>
                <a:cubicBezTo>
                  <a:pt x="113" y="6"/>
                  <a:pt x="113" y="6"/>
                  <a:pt x="113" y="6"/>
                </a:cubicBezTo>
                <a:cubicBezTo>
                  <a:pt x="111" y="7"/>
                  <a:pt x="111" y="6"/>
                  <a:pt x="110" y="7"/>
                </a:cubicBezTo>
                <a:cubicBezTo>
                  <a:pt x="109" y="7"/>
                  <a:pt x="108" y="9"/>
                  <a:pt x="107" y="10"/>
                </a:cubicBezTo>
                <a:cubicBezTo>
                  <a:pt x="106" y="10"/>
                  <a:pt x="105" y="9"/>
                  <a:pt x="104" y="10"/>
                </a:cubicBezTo>
                <a:cubicBezTo>
                  <a:pt x="103" y="10"/>
                  <a:pt x="102" y="13"/>
                  <a:pt x="102" y="14"/>
                </a:cubicBezTo>
                <a:cubicBezTo>
                  <a:pt x="101" y="15"/>
                  <a:pt x="100" y="15"/>
                  <a:pt x="99" y="16"/>
                </a:cubicBezTo>
                <a:cubicBezTo>
                  <a:pt x="103" y="23"/>
                  <a:pt x="105" y="25"/>
                  <a:pt x="98" y="31"/>
                </a:cubicBezTo>
                <a:cubicBezTo>
                  <a:pt x="98" y="31"/>
                  <a:pt x="97" y="33"/>
                  <a:pt x="96" y="33"/>
                </a:cubicBezTo>
                <a:cubicBezTo>
                  <a:pt x="92" y="35"/>
                  <a:pt x="81" y="29"/>
                  <a:pt x="78" y="28"/>
                </a:cubicBezTo>
                <a:cubicBezTo>
                  <a:pt x="77" y="28"/>
                  <a:pt x="76" y="28"/>
                  <a:pt x="75" y="28"/>
                </a:cubicBezTo>
                <a:cubicBezTo>
                  <a:pt x="75" y="28"/>
                  <a:pt x="74" y="26"/>
                  <a:pt x="73" y="26"/>
                </a:cubicBezTo>
                <a:cubicBezTo>
                  <a:pt x="70" y="25"/>
                  <a:pt x="70" y="27"/>
                  <a:pt x="66" y="25"/>
                </a:cubicBezTo>
                <a:cubicBezTo>
                  <a:pt x="64" y="23"/>
                  <a:pt x="62" y="19"/>
                  <a:pt x="58" y="17"/>
                </a:cubicBezTo>
                <a:cubicBezTo>
                  <a:pt x="58" y="17"/>
                  <a:pt x="58" y="17"/>
                  <a:pt x="58" y="17"/>
                </a:cubicBezTo>
                <a:cubicBezTo>
                  <a:pt x="57" y="16"/>
                  <a:pt x="58" y="14"/>
                  <a:pt x="57" y="14"/>
                </a:cubicBezTo>
                <a:cubicBezTo>
                  <a:pt x="56" y="13"/>
                  <a:pt x="55" y="13"/>
                  <a:pt x="54" y="13"/>
                </a:cubicBezTo>
                <a:cubicBezTo>
                  <a:pt x="53" y="13"/>
                  <a:pt x="52" y="11"/>
                  <a:pt x="52" y="11"/>
                </a:cubicBezTo>
                <a:cubicBezTo>
                  <a:pt x="51" y="11"/>
                  <a:pt x="50" y="11"/>
                  <a:pt x="49" y="11"/>
                </a:cubicBezTo>
                <a:cubicBezTo>
                  <a:pt x="49" y="10"/>
                  <a:pt x="49" y="10"/>
                  <a:pt x="49" y="10"/>
                </a:cubicBezTo>
                <a:cubicBezTo>
                  <a:pt x="47" y="8"/>
                  <a:pt x="45" y="8"/>
                  <a:pt x="43" y="8"/>
                </a:cubicBezTo>
                <a:cubicBezTo>
                  <a:pt x="43" y="7"/>
                  <a:pt x="43" y="7"/>
                  <a:pt x="43" y="7"/>
                </a:cubicBezTo>
                <a:cubicBezTo>
                  <a:pt x="38" y="6"/>
                  <a:pt x="37" y="8"/>
                  <a:pt x="33" y="7"/>
                </a:cubicBezTo>
                <a:cubicBezTo>
                  <a:pt x="32" y="7"/>
                  <a:pt x="32" y="5"/>
                  <a:pt x="31" y="4"/>
                </a:cubicBezTo>
                <a:cubicBezTo>
                  <a:pt x="30" y="3"/>
                  <a:pt x="28" y="4"/>
                  <a:pt x="27" y="3"/>
                </a:cubicBezTo>
                <a:cubicBezTo>
                  <a:pt x="25" y="2"/>
                  <a:pt x="26" y="1"/>
                  <a:pt x="26" y="0"/>
                </a:cubicBezTo>
                <a:lnTo>
                  <a:pt x="25" y="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0" name="Google Shape;510;p102"/>
          <p:cNvSpPr/>
          <p:nvPr/>
        </p:nvSpPr>
        <p:spPr>
          <a:xfrm>
            <a:off x="5952967" y="4450162"/>
            <a:ext cx="107098" cy="135626"/>
          </a:xfrm>
          <a:custGeom>
            <a:avLst/>
            <a:gdLst/>
            <a:ahLst/>
            <a:cxnLst/>
            <a:rect l="l" t="t" r="r" b="b"/>
            <a:pathLst>
              <a:path w="37" h="49" extrusionOk="0">
                <a:moveTo>
                  <a:pt x="0" y="22"/>
                </a:moveTo>
                <a:cubicBezTo>
                  <a:pt x="2" y="23"/>
                  <a:pt x="3" y="28"/>
                  <a:pt x="5" y="30"/>
                </a:cubicBezTo>
                <a:cubicBezTo>
                  <a:pt x="6" y="30"/>
                  <a:pt x="7" y="29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9" y="31"/>
                  <a:pt x="14" y="36"/>
                  <a:pt x="14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6" y="37"/>
                  <a:pt x="16" y="39"/>
                  <a:pt x="16" y="40"/>
                </a:cubicBezTo>
                <a:cubicBezTo>
                  <a:pt x="24" y="46"/>
                  <a:pt x="24" y="46"/>
                  <a:pt x="24" y="46"/>
                </a:cubicBezTo>
                <a:cubicBezTo>
                  <a:pt x="25" y="46"/>
                  <a:pt x="26" y="45"/>
                  <a:pt x="27" y="46"/>
                </a:cubicBezTo>
                <a:cubicBezTo>
                  <a:pt x="28" y="46"/>
                  <a:pt x="29" y="49"/>
                  <a:pt x="30" y="49"/>
                </a:cubicBezTo>
                <a:cubicBezTo>
                  <a:pt x="31" y="49"/>
                  <a:pt x="32" y="49"/>
                  <a:pt x="33" y="49"/>
                </a:cubicBezTo>
                <a:cubicBezTo>
                  <a:pt x="33" y="49"/>
                  <a:pt x="33" y="48"/>
                  <a:pt x="33" y="46"/>
                </a:cubicBezTo>
                <a:cubicBezTo>
                  <a:pt x="33" y="44"/>
                  <a:pt x="31" y="43"/>
                  <a:pt x="33" y="42"/>
                </a:cubicBezTo>
                <a:cubicBezTo>
                  <a:pt x="35" y="40"/>
                  <a:pt x="35" y="39"/>
                  <a:pt x="35" y="37"/>
                </a:cubicBezTo>
                <a:cubicBezTo>
                  <a:pt x="36" y="35"/>
                  <a:pt x="37" y="34"/>
                  <a:pt x="35" y="34"/>
                </a:cubicBezTo>
                <a:cubicBezTo>
                  <a:pt x="33" y="34"/>
                  <a:pt x="33" y="31"/>
                  <a:pt x="32" y="29"/>
                </a:cubicBezTo>
                <a:cubicBezTo>
                  <a:pt x="31" y="27"/>
                  <a:pt x="30" y="24"/>
                  <a:pt x="29" y="24"/>
                </a:cubicBezTo>
                <a:cubicBezTo>
                  <a:pt x="27" y="24"/>
                  <a:pt x="23" y="22"/>
                  <a:pt x="23" y="22"/>
                </a:cubicBezTo>
                <a:cubicBezTo>
                  <a:pt x="23" y="22"/>
                  <a:pt x="25" y="17"/>
                  <a:pt x="27" y="16"/>
                </a:cubicBezTo>
                <a:cubicBezTo>
                  <a:pt x="29" y="14"/>
                  <a:pt x="26" y="9"/>
                  <a:pt x="26" y="9"/>
                </a:cubicBezTo>
                <a:cubicBezTo>
                  <a:pt x="26" y="9"/>
                  <a:pt x="25" y="6"/>
                  <a:pt x="23" y="9"/>
                </a:cubicBezTo>
                <a:cubicBezTo>
                  <a:pt x="21" y="12"/>
                  <a:pt x="20" y="14"/>
                  <a:pt x="20" y="14"/>
                </a:cubicBezTo>
                <a:cubicBezTo>
                  <a:pt x="18" y="12"/>
                  <a:pt x="18" y="12"/>
                  <a:pt x="18" y="12"/>
                </a:cubicBezTo>
                <a:cubicBezTo>
                  <a:pt x="18" y="12"/>
                  <a:pt x="21" y="8"/>
                  <a:pt x="20" y="5"/>
                </a:cubicBezTo>
                <a:cubicBezTo>
                  <a:pt x="19" y="3"/>
                  <a:pt x="17" y="0"/>
                  <a:pt x="17" y="0"/>
                </a:cubicBezTo>
                <a:cubicBezTo>
                  <a:pt x="17" y="0"/>
                  <a:pt x="17" y="2"/>
                  <a:pt x="16" y="3"/>
                </a:cubicBezTo>
                <a:cubicBezTo>
                  <a:pt x="14" y="3"/>
                  <a:pt x="12" y="3"/>
                  <a:pt x="12" y="3"/>
                </a:cubicBezTo>
                <a:cubicBezTo>
                  <a:pt x="12" y="3"/>
                  <a:pt x="12" y="6"/>
                  <a:pt x="10" y="6"/>
                </a:cubicBezTo>
                <a:cubicBezTo>
                  <a:pt x="8" y="6"/>
                  <a:pt x="6" y="9"/>
                  <a:pt x="6" y="9"/>
                </a:cubicBezTo>
                <a:cubicBezTo>
                  <a:pt x="6" y="9"/>
                  <a:pt x="4" y="12"/>
                  <a:pt x="2" y="15"/>
                </a:cubicBezTo>
                <a:cubicBezTo>
                  <a:pt x="0" y="18"/>
                  <a:pt x="0" y="21"/>
                  <a:pt x="0" y="21"/>
                </a:cubicBezTo>
                <a:lnTo>
                  <a:pt x="0" y="22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1" name="Google Shape;511;p102"/>
          <p:cNvSpPr/>
          <p:nvPr/>
        </p:nvSpPr>
        <p:spPr>
          <a:xfrm>
            <a:off x="6905110" y="5590267"/>
            <a:ext cx="49882" cy="43796"/>
          </a:xfrm>
          <a:custGeom>
            <a:avLst/>
            <a:gdLst/>
            <a:ahLst/>
            <a:cxnLst/>
            <a:rect l="l" t="t" r="r" b="b"/>
            <a:pathLst>
              <a:path w="17" h="16" extrusionOk="0">
                <a:moveTo>
                  <a:pt x="8" y="14"/>
                </a:moveTo>
                <a:cubicBezTo>
                  <a:pt x="9" y="14"/>
                  <a:pt x="9" y="13"/>
                  <a:pt x="10" y="13"/>
                </a:cubicBezTo>
                <a:cubicBezTo>
                  <a:pt x="11" y="12"/>
                  <a:pt x="12" y="11"/>
                  <a:pt x="13" y="11"/>
                </a:cubicBezTo>
                <a:cubicBezTo>
                  <a:pt x="14" y="10"/>
                  <a:pt x="15" y="11"/>
                  <a:pt x="16" y="10"/>
                </a:cubicBezTo>
                <a:cubicBezTo>
                  <a:pt x="17" y="8"/>
                  <a:pt x="16" y="7"/>
                  <a:pt x="16" y="6"/>
                </a:cubicBezTo>
                <a:cubicBezTo>
                  <a:pt x="15" y="4"/>
                  <a:pt x="14" y="4"/>
                  <a:pt x="13" y="2"/>
                </a:cubicBezTo>
                <a:cubicBezTo>
                  <a:pt x="12" y="2"/>
                  <a:pt x="11" y="0"/>
                  <a:pt x="11" y="0"/>
                </a:cubicBezTo>
                <a:cubicBezTo>
                  <a:pt x="11" y="0"/>
                  <a:pt x="7" y="2"/>
                  <a:pt x="6" y="4"/>
                </a:cubicBezTo>
                <a:cubicBezTo>
                  <a:pt x="4" y="6"/>
                  <a:pt x="3" y="6"/>
                  <a:pt x="2" y="6"/>
                </a:cubicBezTo>
                <a:cubicBezTo>
                  <a:pt x="1" y="6"/>
                  <a:pt x="0" y="9"/>
                  <a:pt x="1" y="9"/>
                </a:cubicBezTo>
                <a:cubicBezTo>
                  <a:pt x="2" y="9"/>
                  <a:pt x="1" y="10"/>
                  <a:pt x="2" y="12"/>
                </a:cubicBezTo>
                <a:cubicBezTo>
                  <a:pt x="3" y="14"/>
                  <a:pt x="2" y="16"/>
                  <a:pt x="5" y="16"/>
                </a:cubicBezTo>
                <a:cubicBezTo>
                  <a:pt x="8" y="16"/>
                  <a:pt x="7" y="15"/>
                  <a:pt x="8" y="14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2" name="Google Shape;512;p102"/>
          <p:cNvSpPr/>
          <p:nvPr/>
        </p:nvSpPr>
        <p:spPr>
          <a:xfrm>
            <a:off x="7116372" y="3654772"/>
            <a:ext cx="48414" cy="74876"/>
          </a:xfrm>
          <a:custGeom>
            <a:avLst/>
            <a:gdLst/>
            <a:ahLst/>
            <a:cxnLst/>
            <a:rect l="l" t="t" r="r" b="b"/>
            <a:pathLst>
              <a:path w="17" h="27" extrusionOk="0">
                <a:moveTo>
                  <a:pt x="9" y="4"/>
                </a:moveTo>
                <a:cubicBezTo>
                  <a:pt x="7" y="5"/>
                  <a:pt x="8" y="6"/>
                  <a:pt x="7" y="8"/>
                </a:cubicBezTo>
                <a:cubicBezTo>
                  <a:pt x="7" y="9"/>
                  <a:pt x="5" y="9"/>
                  <a:pt x="5" y="10"/>
                </a:cubicBezTo>
                <a:cubicBezTo>
                  <a:pt x="3" y="13"/>
                  <a:pt x="5" y="16"/>
                  <a:pt x="4" y="19"/>
                </a:cubicBezTo>
                <a:cubicBezTo>
                  <a:pt x="4" y="20"/>
                  <a:pt x="1" y="21"/>
                  <a:pt x="1" y="23"/>
                </a:cubicBezTo>
                <a:cubicBezTo>
                  <a:pt x="0" y="24"/>
                  <a:pt x="1" y="25"/>
                  <a:pt x="1" y="26"/>
                </a:cubicBezTo>
                <a:cubicBezTo>
                  <a:pt x="1" y="26"/>
                  <a:pt x="4" y="27"/>
                  <a:pt x="5" y="25"/>
                </a:cubicBezTo>
                <a:cubicBezTo>
                  <a:pt x="5" y="23"/>
                  <a:pt x="6" y="25"/>
                  <a:pt x="7" y="24"/>
                </a:cubicBezTo>
                <a:cubicBezTo>
                  <a:pt x="7" y="24"/>
                  <a:pt x="8" y="22"/>
                  <a:pt x="9" y="21"/>
                </a:cubicBezTo>
                <a:cubicBezTo>
                  <a:pt x="10" y="19"/>
                  <a:pt x="11" y="20"/>
                  <a:pt x="12" y="19"/>
                </a:cubicBezTo>
                <a:cubicBezTo>
                  <a:pt x="13" y="17"/>
                  <a:pt x="12" y="13"/>
                  <a:pt x="13" y="13"/>
                </a:cubicBezTo>
                <a:cubicBezTo>
                  <a:pt x="15" y="10"/>
                  <a:pt x="17" y="7"/>
                  <a:pt x="17" y="4"/>
                </a:cubicBezTo>
                <a:cubicBezTo>
                  <a:pt x="17" y="2"/>
                  <a:pt x="15" y="2"/>
                  <a:pt x="13" y="1"/>
                </a:cubicBezTo>
                <a:cubicBezTo>
                  <a:pt x="12" y="0"/>
                  <a:pt x="9" y="3"/>
                  <a:pt x="9" y="3"/>
                </a:cubicBezTo>
                <a:lnTo>
                  <a:pt x="9" y="4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3" name="Google Shape;513;p102"/>
          <p:cNvSpPr/>
          <p:nvPr/>
        </p:nvSpPr>
        <p:spPr>
          <a:xfrm>
            <a:off x="6766811" y="2828300"/>
            <a:ext cx="193657" cy="108784"/>
          </a:xfrm>
          <a:custGeom>
            <a:avLst/>
            <a:gdLst/>
            <a:ahLst/>
            <a:cxnLst/>
            <a:rect l="l" t="t" r="r" b="b"/>
            <a:pathLst>
              <a:path w="67" h="39" extrusionOk="0">
                <a:moveTo>
                  <a:pt x="0" y="26"/>
                </a:moveTo>
                <a:cubicBezTo>
                  <a:pt x="0" y="26"/>
                  <a:pt x="6" y="24"/>
                  <a:pt x="8" y="24"/>
                </a:cubicBezTo>
                <a:cubicBezTo>
                  <a:pt x="10" y="24"/>
                  <a:pt x="12" y="25"/>
                  <a:pt x="17" y="26"/>
                </a:cubicBezTo>
                <a:cubicBezTo>
                  <a:pt x="21" y="27"/>
                  <a:pt x="22" y="28"/>
                  <a:pt x="24" y="28"/>
                </a:cubicBezTo>
                <a:cubicBezTo>
                  <a:pt x="26" y="28"/>
                  <a:pt x="28" y="30"/>
                  <a:pt x="29" y="30"/>
                </a:cubicBezTo>
                <a:cubicBezTo>
                  <a:pt x="31" y="30"/>
                  <a:pt x="34" y="29"/>
                  <a:pt x="34" y="29"/>
                </a:cubicBezTo>
                <a:cubicBezTo>
                  <a:pt x="34" y="29"/>
                  <a:pt x="34" y="32"/>
                  <a:pt x="36" y="33"/>
                </a:cubicBezTo>
                <a:cubicBezTo>
                  <a:pt x="38" y="34"/>
                  <a:pt x="40" y="33"/>
                  <a:pt x="41" y="35"/>
                </a:cubicBezTo>
                <a:cubicBezTo>
                  <a:pt x="43" y="36"/>
                  <a:pt x="43" y="36"/>
                  <a:pt x="45" y="37"/>
                </a:cubicBezTo>
                <a:cubicBezTo>
                  <a:pt x="48" y="38"/>
                  <a:pt x="49" y="39"/>
                  <a:pt x="49" y="39"/>
                </a:cubicBezTo>
                <a:cubicBezTo>
                  <a:pt x="49" y="39"/>
                  <a:pt x="52" y="33"/>
                  <a:pt x="55" y="35"/>
                </a:cubicBezTo>
                <a:cubicBezTo>
                  <a:pt x="59" y="37"/>
                  <a:pt x="59" y="36"/>
                  <a:pt x="59" y="32"/>
                </a:cubicBezTo>
                <a:cubicBezTo>
                  <a:pt x="59" y="28"/>
                  <a:pt x="61" y="27"/>
                  <a:pt x="61" y="27"/>
                </a:cubicBezTo>
                <a:cubicBezTo>
                  <a:pt x="61" y="27"/>
                  <a:pt x="65" y="29"/>
                  <a:pt x="67" y="27"/>
                </a:cubicBezTo>
                <a:cubicBezTo>
                  <a:pt x="66" y="23"/>
                  <a:pt x="66" y="23"/>
                  <a:pt x="66" y="23"/>
                </a:cubicBezTo>
                <a:cubicBezTo>
                  <a:pt x="66" y="23"/>
                  <a:pt x="64" y="21"/>
                  <a:pt x="63" y="19"/>
                </a:cubicBezTo>
                <a:cubicBezTo>
                  <a:pt x="62" y="17"/>
                  <a:pt x="60" y="19"/>
                  <a:pt x="60" y="17"/>
                </a:cubicBezTo>
                <a:cubicBezTo>
                  <a:pt x="60" y="15"/>
                  <a:pt x="59" y="10"/>
                  <a:pt x="59" y="10"/>
                </a:cubicBezTo>
                <a:cubicBezTo>
                  <a:pt x="59" y="10"/>
                  <a:pt x="55" y="12"/>
                  <a:pt x="54" y="10"/>
                </a:cubicBezTo>
                <a:cubicBezTo>
                  <a:pt x="54" y="8"/>
                  <a:pt x="53" y="7"/>
                  <a:pt x="53" y="7"/>
                </a:cubicBezTo>
                <a:cubicBezTo>
                  <a:pt x="49" y="8"/>
                  <a:pt x="49" y="8"/>
                  <a:pt x="49" y="8"/>
                </a:cubicBezTo>
                <a:cubicBezTo>
                  <a:pt x="46" y="4"/>
                  <a:pt x="46" y="4"/>
                  <a:pt x="46" y="4"/>
                </a:cubicBezTo>
                <a:cubicBezTo>
                  <a:pt x="44" y="4"/>
                  <a:pt x="44" y="4"/>
                  <a:pt x="44" y="4"/>
                </a:cubicBezTo>
                <a:cubicBezTo>
                  <a:pt x="44" y="4"/>
                  <a:pt x="44" y="2"/>
                  <a:pt x="41" y="1"/>
                </a:cubicBezTo>
                <a:cubicBezTo>
                  <a:pt x="38" y="0"/>
                  <a:pt x="35" y="0"/>
                  <a:pt x="35" y="0"/>
                </a:cubicBezTo>
                <a:cubicBezTo>
                  <a:pt x="35" y="0"/>
                  <a:pt x="34" y="1"/>
                  <a:pt x="33" y="1"/>
                </a:cubicBezTo>
                <a:cubicBezTo>
                  <a:pt x="31" y="1"/>
                  <a:pt x="27" y="1"/>
                  <a:pt x="27" y="1"/>
                </a:cubicBezTo>
                <a:cubicBezTo>
                  <a:pt x="27" y="5"/>
                  <a:pt x="27" y="8"/>
                  <a:pt x="28" y="13"/>
                </a:cubicBezTo>
                <a:cubicBezTo>
                  <a:pt x="25" y="14"/>
                  <a:pt x="21" y="16"/>
                  <a:pt x="18" y="14"/>
                </a:cubicBezTo>
                <a:cubicBezTo>
                  <a:pt x="18" y="14"/>
                  <a:pt x="18" y="14"/>
                  <a:pt x="18" y="14"/>
                </a:cubicBezTo>
                <a:cubicBezTo>
                  <a:pt x="17" y="13"/>
                  <a:pt x="14" y="9"/>
                  <a:pt x="13" y="8"/>
                </a:cubicBezTo>
                <a:cubicBezTo>
                  <a:pt x="13" y="8"/>
                  <a:pt x="13" y="6"/>
                  <a:pt x="14" y="7"/>
                </a:cubicBezTo>
                <a:cubicBezTo>
                  <a:pt x="14" y="7"/>
                  <a:pt x="14" y="5"/>
                  <a:pt x="14" y="4"/>
                </a:cubicBezTo>
                <a:cubicBezTo>
                  <a:pt x="12" y="4"/>
                  <a:pt x="12" y="4"/>
                  <a:pt x="12" y="4"/>
                </a:cubicBezTo>
                <a:cubicBezTo>
                  <a:pt x="11" y="6"/>
                  <a:pt x="11" y="6"/>
                  <a:pt x="11" y="6"/>
                </a:cubicBezTo>
                <a:cubicBezTo>
                  <a:pt x="6" y="8"/>
                  <a:pt x="8" y="7"/>
                  <a:pt x="6" y="11"/>
                </a:cubicBezTo>
                <a:cubicBezTo>
                  <a:pt x="2" y="17"/>
                  <a:pt x="1" y="21"/>
                  <a:pt x="0" y="26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4" name="Google Shape;514;p102"/>
          <p:cNvSpPr/>
          <p:nvPr/>
        </p:nvSpPr>
        <p:spPr>
          <a:xfrm>
            <a:off x="8736041" y="4040458"/>
            <a:ext cx="171650" cy="254299"/>
          </a:xfrm>
          <a:custGeom>
            <a:avLst/>
            <a:gdLst/>
            <a:ahLst/>
            <a:cxnLst/>
            <a:rect l="l" t="t" r="r" b="b"/>
            <a:pathLst>
              <a:path w="60" h="92" extrusionOk="0">
                <a:moveTo>
                  <a:pt x="5" y="19"/>
                </a:moveTo>
                <a:cubicBezTo>
                  <a:pt x="2" y="24"/>
                  <a:pt x="2" y="24"/>
                  <a:pt x="2" y="24"/>
                </a:cubicBezTo>
                <a:cubicBezTo>
                  <a:pt x="1" y="27"/>
                  <a:pt x="1" y="27"/>
                  <a:pt x="1" y="27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31"/>
                  <a:pt x="0" y="31"/>
                  <a:pt x="0" y="31"/>
                </a:cubicBezTo>
                <a:cubicBezTo>
                  <a:pt x="2" y="32"/>
                  <a:pt x="2" y="32"/>
                  <a:pt x="2" y="32"/>
                </a:cubicBezTo>
                <a:cubicBezTo>
                  <a:pt x="6" y="31"/>
                  <a:pt x="6" y="31"/>
                  <a:pt x="6" y="31"/>
                </a:cubicBezTo>
                <a:cubicBezTo>
                  <a:pt x="6" y="34"/>
                  <a:pt x="6" y="34"/>
                  <a:pt x="6" y="34"/>
                </a:cubicBezTo>
                <a:cubicBezTo>
                  <a:pt x="4" y="38"/>
                  <a:pt x="4" y="38"/>
                  <a:pt x="4" y="38"/>
                </a:cubicBezTo>
                <a:cubicBezTo>
                  <a:pt x="5" y="41"/>
                  <a:pt x="5" y="41"/>
                  <a:pt x="5" y="41"/>
                </a:cubicBezTo>
                <a:cubicBezTo>
                  <a:pt x="5" y="43"/>
                  <a:pt x="5" y="43"/>
                  <a:pt x="5" y="43"/>
                </a:cubicBezTo>
                <a:cubicBezTo>
                  <a:pt x="7" y="45"/>
                  <a:pt x="7" y="45"/>
                  <a:pt x="7" y="45"/>
                </a:cubicBezTo>
                <a:cubicBezTo>
                  <a:pt x="8" y="48"/>
                  <a:pt x="8" y="48"/>
                  <a:pt x="8" y="48"/>
                </a:cubicBezTo>
                <a:cubicBezTo>
                  <a:pt x="7" y="50"/>
                  <a:pt x="7" y="50"/>
                  <a:pt x="7" y="50"/>
                </a:cubicBezTo>
                <a:cubicBezTo>
                  <a:pt x="9" y="52"/>
                  <a:pt x="9" y="52"/>
                  <a:pt x="9" y="52"/>
                </a:cubicBezTo>
                <a:cubicBezTo>
                  <a:pt x="11" y="50"/>
                  <a:pt x="11" y="50"/>
                  <a:pt x="11" y="50"/>
                </a:cubicBezTo>
                <a:cubicBezTo>
                  <a:pt x="13" y="48"/>
                  <a:pt x="13" y="48"/>
                  <a:pt x="13" y="48"/>
                </a:cubicBezTo>
                <a:cubicBezTo>
                  <a:pt x="19" y="44"/>
                  <a:pt x="19" y="44"/>
                  <a:pt x="19" y="44"/>
                </a:cubicBezTo>
                <a:cubicBezTo>
                  <a:pt x="21" y="45"/>
                  <a:pt x="21" y="45"/>
                  <a:pt x="21" y="45"/>
                </a:cubicBezTo>
                <a:cubicBezTo>
                  <a:pt x="21" y="46"/>
                  <a:pt x="21" y="46"/>
                  <a:pt x="21" y="46"/>
                </a:cubicBezTo>
                <a:cubicBezTo>
                  <a:pt x="23" y="48"/>
                  <a:pt x="23" y="48"/>
                  <a:pt x="23" y="48"/>
                </a:cubicBezTo>
                <a:cubicBezTo>
                  <a:pt x="26" y="50"/>
                  <a:pt x="26" y="50"/>
                  <a:pt x="26" y="50"/>
                </a:cubicBezTo>
                <a:cubicBezTo>
                  <a:pt x="29" y="50"/>
                  <a:pt x="29" y="50"/>
                  <a:pt x="29" y="50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60"/>
                  <a:pt x="34" y="60"/>
                  <a:pt x="34" y="60"/>
                </a:cubicBezTo>
                <a:cubicBezTo>
                  <a:pt x="34" y="65"/>
                  <a:pt x="34" y="65"/>
                  <a:pt x="34" y="65"/>
                </a:cubicBezTo>
                <a:cubicBezTo>
                  <a:pt x="36" y="68"/>
                  <a:pt x="36" y="68"/>
                  <a:pt x="36" y="68"/>
                </a:cubicBezTo>
                <a:cubicBezTo>
                  <a:pt x="39" y="70"/>
                  <a:pt x="39" y="70"/>
                  <a:pt x="39" y="70"/>
                </a:cubicBezTo>
                <a:cubicBezTo>
                  <a:pt x="40" y="72"/>
                  <a:pt x="40" y="72"/>
                  <a:pt x="40" y="72"/>
                </a:cubicBezTo>
                <a:cubicBezTo>
                  <a:pt x="40" y="76"/>
                  <a:pt x="40" y="76"/>
                  <a:pt x="40" y="76"/>
                </a:cubicBezTo>
                <a:cubicBezTo>
                  <a:pt x="41" y="78"/>
                  <a:pt x="41" y="78"/>
                  <a:pt x="41" y="78"/>
                </a:cubicBezTo>
                <a:cubicBezTo>
                  <a:pt x="40" y="81"/>
                  <a:pt x="40" y="81"/>
                  <a:pt x="40" y="81"/>
                </a:cubicBezTo>
                <a:cubicBezTo>
                  <a:pt x="39" y="84"/>
                  <a:pt x="39" y="84"/>
                  <a:pt x="39" y="84"/>
                </a:cubicBezTo>
                <a:cubicBezTo>
                  <a:pt x="36" y="87"/>
                  <a:pt x="36" y="87"/>
                  <a:pt x="36" y="87"/>
                </a:cubicBezTo>
                <a:cubicBezTo>
                  <a:pt x="41" y="88"/>
                  <a:pt x="41" y="88"/>
                  <a:pt x="41" y="88"/>
                </a:cubicBezTo>
                <a:cubicBezTo>
                  <a:pt x="42" y="90"/>
                  <a:pt x="42" y="90"/>
                  <a:pt x="42" y="90"/>
                </a:cubicBezTo>
                <a:cubicBezTo>
                  <a:pt x="45" y="92"/>
                  <a:pt x="45" y="92"/>
                  <a:pt x="45" y="92"/>
                </a:cubicBezTo>
                <a:cubicBezTo>
                  <a:pt x="48" y="91"/>
                  <a:pt x="48" y="91"/>
                  <a:pt x="48" y="91"/>
                </a:cubicBezTo>
                <a:cubicBezTo>
                  <a:pt x="48" y="87"/>
                  <a:pt x="48" y="87"/>
                  <a:pt x="48" y="87"/>
                </a:cubicBezTo>
                <a:cubicBezTo>
                  <a:pt x="50" y="83"/>
                  <a:pt x="50" y="83"/>
                  <a:pt x="50" y="83"/>
                </a:cubicBezTo>
                <a:cubicBezTo>
                  <a:pt x="53" y="84"/>
                  <a:pt x="53" y="84"/>
                  <a:pt x="53" y="84"/>
                </a:cubicBezTo>
                <a:cubicBezTo>
                  <a:pt x="55" y="87"/>
                  <a:pt x="55" y="87"/>
                  <a:pt x="55" y="87"/>
                </a:cubicBezTo>
                <a:cubicBezTo>
                  <a:pt x="59" y="86"/>
                  <a:pt x="59" y="86"/>
                  <a:pt x="59" y="86"/>
                </a:cubicBezTo>
                <a:cubicBezTo>
                  <a:pt x="60" y="83"/>
                  <a:pt x="60" y="83"/>
                  <a:pt x="60" y="83"/>
                </a:cubicBezTo>
                <a:cubicBezTo>
                  <a:pt x="59" y="77"/>
                  <a:pt x="59" y="77"/>
                  <a:pt x="59" y="77"/>
                </a:cubicBezTo>
                <a:cubicBezTo>
                  <a:pt x="58" y="73"/>
                  <a:pt x="58" y="73"/>
                  <a:pt x="58" y="73"/>
                </a:cubicBezTo>
                <a:cubicBezTo>
                  <a:pt x="55" y="71"/>
                  <a:pt x="55" y="71"/>
                  <a:pt x="55" y="71"/>
                </a:cubicBezTo>
                <a:cubicBezTo>
                  <a:pt x="53" y="66"/>
                  <a:pt x="53" y="66"/>
                  <a:pt x="53" y="66"/>
                </a:cubicBezTo>
                <a:cubicBezTo>
                  <a:pt x="52" y="63"/>
                  <a:pt x="52" y="63"/>
                  <a:pt x="52" y="63"/>
                </a:cubicBezTo>
                <a:cubicBezTo>
                  <a:pt x="48" y="60"/>
                  <a:pt x="48" y="60"/>
                  <a:pt x="48" y="60"/>
                </a:cubicBezTo>
                <a:cubicBezTo>
                  <a:pt x="45" y="56"/>
                  <a:pt x="45" y="56"/>
                  <a:pt x="45" y="56"/>
                </a:cubicBezTo>
                <a:cubicBezTo>
                  <a:pt x="44" y="53"/>
                  <a:pt x="44" y="53"/>
                  <a:pt x="44" y="53"/>
                </a:cubicBezTo>
                <a:cubicBezTo>
                  <a:pt x="42" y="51"/>
                  <a:pt x="42" y="51"/>
                  <a:pt x="42" y="51"/>
                </a:cubicBezTo>
                <a:cubicBezTo>
                  <a:pt x="38" y="46"/>
                  <a:pt x="38" y="46"/>
                  <a:pt x="38" y="46"/>
                </a:cubicBezTo>
                <a:cubicBezTo>
                  <a:pt x="36" y="39"/>
                  <a:pt x="36" y="39"/>
                  <a:pt x="36" y="39"/>
                </a:cubicBezTo>
                <a:cubicBezTo>
                  <a:pt x="31" y="36"/>
                  <a:pt x="31" y="36"/>
                  <a:pt x="31" y="36"/>
                </a:cubicBezTo>
                <a:cubicBezTo>
                  <a:pt x="32" y="32"/>
                  <a:pt x="32" y="32"/>
                  <a:pt x="32" y="32"/>
                </a:cubicBezTo>
                <a:cubicBezTo>
                  <a:pt x="34" y="30"/>
                  <a:pt x="34" y="30"/>
                  <a:pt x="34" y="30"/>
                </a:cubicBezTo>
                <a:cubicBezTo>
                  <a:pt x="37" y="28"/>
                  <a:pt x="37" y="28"/>
                  <a:pt x="37" y="28"/>
                </a:cubicBezTo>
                <a:cubicBezTo>
                  <a:pt x="40" y="26"/>
                  <a:pt x="40" y="26"/>
                  <a:pt x="40" y="26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19"/>
                  <a:pt x="36" y="19"/>
                  <a:pt x="36" y="19"/>
                </a:cubicBezTo>
                <a:cubicBezTo>
                  <a:pt x="33" y="17"/>
                  <a:pt x="33" y="17"/>
                  <a:pt x="33" y="17"/>
                </a:cubicBezTo>
                <a:cubicBezTo>
                  <a:pt x="30" y="19"/>
                  <a:pt x="30" y="19"/>
                  <a:pt x="30" y="19"/>
                </a:cubicBezTo>
                <a:cubicBezTo>
                  <a:pt x="26" y="18"/>
                  <a:pt x="26" y="18"/>
                  <a:pt x="26" y="18"/>
                </a:cubicBezTo>
                <a:cubicBezTo>
                  <a:pt x="25" y="16"/>
                  <a:pt x="25" y="16"/>
                  <a:pt x="25" y="16"/>
                </a:cubicBezTo>
                <a:cubicBezTo>
                  <a:pt x="22" y="14"/>
                  <a:pt x="22" y="14"/>
                  <a:pt x="22" y="14"/>
                </a:cubicBezTo>
                <a:cubicBezTo>
                  <a:pt x="19" y="11"/>
                  <a:pt x="19" y="11"/>
                  <a:pt x="19" y="11"/>
                </a:cubicBezTo>
                <a:cubicBezTo>
                  <a:pt x="20" y="8"/>
                  <a:pt x="20" y="8"/>
                  <a:pt x="20" y="8"/>
                </a:cubicBezTo>
                <a:cubicBezTo>
                  <a:pt x="16" y="1"/>
                  <a:pt x="16" y="1"/>
                  <a:pt x="16" y="1"/>
                </a:cubicBezTo>
                <a:cubicBezTo>
                  <a:pt x="12" y="0"/>
                  <a:pt x="12" y="0"/>
                  <a:pt x="12" y="0"/>
                </a:cubicBezTo>
                <a:cubicBezTo>
                  <a:pt x="10" y="4"/>
                  <a:pt x="10" y="4"/>
                  <a:pt x="10" y="4"/>
                </a:cubicBezTo>
                <a:cubicBezTo>
                  <a:pt x="13" y="9"/>
                  <a:pt x="13" y="9"/>
                  <a:pt x="13" y="9"/>
                </a:cubicBezTo>
                <a:cubicBezTo>
                  <a:pt x="12" y="15"/>
                  <a:pt x="12" y="15"/>
                  <a:pt x="12" y="15"/>
                </a:cubicBezTo>
                <a:cubicBezTo>
                  <a:pt x="11" y="19"/>
                  <a:pt x="11" y="19"/>
                  <a:pt x="11" y="19"/>
                </a:cubicBezTo>
                <a:cubicBezTo>
                  <a:pt x="11" y="19"/>
                  <a:pt x="7" y="19"/>
                  <a:pt x="5" y="19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5" name="Google Shape;515;p102"/>
          <p:cNvSpPr/>
          <p:nvPr/>
        </p:nvSpPr>
        <p:spPr>
          <a:xfrm>
            <a:off x="7961416" y="3372217"/>
            <a:ext cx="272879" cy="129975"/>
          </a:xfrm>
          <a:custGeom>
            <a:avLst/>
            <a:gdLst/>
            <a:ahLst/>
            <a:cxnLst/>
            <a:rect l="l" t="t" r="r" b="b"/>
            <a:pathLst>
              <a:path w="95" h="47" extrusionOk="0">
                <a:moveTo>
                  <a:pt x="32" y="45"/>
                </a:moveTo>
                <a:cubicBezTo>
                  <a:pt x="33" y="45"/>
                  <a:pt x="34" y="43"/>
                  <a:pt x="35" y="43"/>
                </a:cubicBezTo>
                <a:cubicBezTo>
                  <a:pt x="36" y="42"/>
                  <a:pt x="37" y="42"/>
                  <a:pt x="38" y="41"/>
                </a:cubicBezTo>
                <a:cubicBezTo>
                  <a:pt x="39" y="40"/>
                  <a:pt x="40" y="39"/>
                  <a:pt x="41" y="37"/>
                </a:cubicBezTo>
                <a:cubicBezTo>
                  <a:pt x="43" y="36"/>
                  <a:pt x="44" y="34"/>
                  <a:pt x="46" y="35"/>
                </a:cubicBezTo>
                <a:cubicBezTo>
                  <a:pt x="48" y="35"/>
                  <a:pt x="47" y="39"/>
                  <a:pt x="49" y="39"/>
                </a:cubicBezTo>
                <a:cubicBezTo>
                  <a:pt x="51" y="39"/>
                  <a:pt x="52" y="37"/>
                  <a:pt x="54" y="37"/>
                </a:cubicBezTo>
                <a:cubicBezTo>
                  <a:pt x="56" y="36"/>
                  <a:pt x="59" y="37"/>
                  <a:pt x="61" y="35"/>
                </a:cubicBezTo>
                <a:cubicBezTo>
                  <a:pt x="63" y="32"/>
                  <a:pt x="61" y="30"/>
                  <a:pt x="63" y="27"/>
                </a:cubicBezTo>
                <a:cubicBezTo>
                  <a:pt x="66" y="22"/>
                  <a:pt x="77" y="25"/>
                  <a:pt x="77" y="22"/>
                </a:cubicBezTo>
                <a:cubicBezTo>
                  <a:pt x="77" y="21"/>
                  <a:pt x="77" y="19"/>
                  <a:pt x="78" y="18"/>
                </a:cubicBezTo>
                <a:cubicBezTo>
                  <a:pt x="80" y="17"/>
                  <a:pt x="81" y="17"/>
                  <a:pt x="83" y="16"/>
                </a:cubicBezTo>
                <a:cubicBezTo>
                  <a:pt x="85" y="15"/>
                  <a:pt x="85" y="14"/>
                  <a:pt x="87" y="12"/>
                </a:cubicBezTo>
                <a:cubicBezTo>
                  <a:pt x="90" y="11"/>
                  <a:pt x="92" y="10"/>
                  <a:pt x="95" y="9"/>
                </a:cubicBezTo>
                <a:cubicBezTo>
                  <a:pt x="90" y="7"/>
                  <a:pt x="90" y="7"/>
                  <a:pt x="90" y="7"/>
                </a:cubicBezTo>
                <a:cubicBezTo>
                  <a:pt x="90" y="7"/>
                  <a:pt x="85" y="6"/>
                  <a:pt x="85" y="5"/>
                </a:cubicBezTo>
                <a:cubicBezTo>
                  <a:pt x="84" y="3"/>
                  <a:pt x="81" y="1"/>
                  <a:pt x="79" y="1"/>
                </a:cubicBezTo>
                <a:cubicBezTo>
                  <a:pt x="77" y="1"/>
                  <a:pt x="75" y="0"/>
                  <a:pt x="72" y="1"/>
                </a:cubicBezTo>
                <a:cubicBezTo>
                  <a:pt x="68" y="1"/>
                  <a:pt x="63" y="1"/>
                  <a:pt x="61" y="1"/>
                </a:cubicBezTo>
                <a:cubicBezTo>
                  <a:pt x="59" y="1"/>
                  <a:pt x="55" y="6"/>
                  <a:pt x="52" y="6"/>
                </a:cubicBezTo>
                <a:cubicBezTo>
                  <a:pt x="49" y="6"/>
                  <a:pt x="51" y="5"/>
                  <a:pt x="48" y="4"/>
                </a:cubicBezTo>
                <a:cubicBezTo>
                  <a:pt x="45" y="3"/>
                  <a:pt x="45" y="1"/>
                  <a:pt x="44" y="1"/>
                </a:cubicBezTo>
                <a:cubicBezTo>
                  <a:pt x="40" y="4"/>
                  <a:pt x="41" y="3"/>
                  <a:pt x="39" y="3"/>
                </a:cubicBezTo>
                <a:cubicBezTo>
                  <a:pt x="38" y="3"/>
                  <a:pt x="36" y="7"/>
                  <a:pt x="36" y="7"/>
                </a:cubicBezTo>
                <a:cubicBezTo>
                  <a:pt x="36" y="7"/>
                  <a:pt x="33" y="8"/>
                  <a:pt x="33" y="10"/>
                </a:cubicBezTo>
                <a:cubicBezTo>
                  <a:pt x="33" y="11"/>
                  <a:pt x="27" y="5"/>
                  <a:pt x="24" y="5"/>
                </a:cubicBezTo>
                <a:cubicBezTo>
                  <a:pt x="18" y="5"/>
                  <a:pt x="18" y="5"/>
                  <a:pt x="18" y="5"/>
                </a:cubicBezTo>
                <a:cubicBezTo>
                  <a:pt x="15" y="5"/>
                  <a:pt x="10" y="11"/>
                  <a:pt x="10" y="11"/>
                </a:cubicBezTo>
                <a:cubicBezTo>
                  <a:pt x="12" y="9"/>
                  <a:pt x="14" y="9"/>
                  <a:pt x="14" y="9"/>
                </a:cubicBezTo>
                <a:cubicBezTo>
                  <a:pt x="14" y="9"/>
                  <a:pt x="17" y="11"/>
                  <a:pt x="15" y="13"/>
                </a:cubicBezTo>
                <a:cubicBezTo>
                  <a:pt x="12" y="15"/>
                  <a:pt x="13" y="15"/>
                  <a:pt x="11" y="16"/>
                </a:cubicBezTo>
                <a:cubicBezTo>
                  <a:pt x="10" y="17"/>
                  <a:pt x="5" y="18"/>
                  <a:pt x="9" y="18"/>
                </a:cubicBezTo>
                <a:cubicBezTo>
                  <a:pt x="12" y="19"/>
                  <a:pt x="11" y="23"/>
                  <a:pt x="13" y="21"/>
                </a:cubicBezTo>
                <a:cubicBezTo>
                  <a:pt x="16" y="20"/>
                  <a:pt x="17" y="19"/>
                  <a:pt x="17" y="21"/>
                </a:cubicBezTo>
                <a:cubicBezTo>
                  <a:pt x="17" y="24"/>
                  <a:pt x="16" y="24"/>
                  <a:pt x="19" y="24"/>
                </a:cubicBezTo>
                <a:cubicBezTo>
                  <a:pt x="22" y="24"/>
                  <a:pt x="21" y="24"/>
                  <a:pt x="25" y="26"/>
                </a:cubicBezTo>
                <a:cubicBezTo>
                  <a:pt x="27" y="27"/>
                  <a:pt x="28" y="27"/>
                  <a:pt x="29" y="27"/>
                </a:cubicBezTo>
                <a:cubicBezTo>
                  <a:pt x="29" y="27"/>
                  <a:pt x="28" y="27"/>
                  <a:pt x="28" y="28"/>
                </a:cubicBezTo>
                <a:cubicBezTo>
                  <a:pt x="26" y="30"/>
                  <a:pt x="23" y="36"/>
                  <a:pt x="20" y="36"/>
                </a:cubicBezTo>
                <a:cubicBezTo>
                  <a:pt x="17" y="36"/>
                  <a:pt x="16" y="36"/>
                  <a:pt x="16" y="36"/>
                </a:cubicBezTo>
                <a:cubicBezTo>
                  <a:pt x="16" y="36"/>
                  <a:pt x="12" y="41"/>
                  <a:pt x="11" y="39"/>
                </a:cubicBezTo>
                <a:cubicBezTo>
                  <a:pt x="11" y="37"/>
                  <a:pt x="9" y="38"/>
                  <a:pt x="9" y="38"/>
                </a:cubicBezTo>
                <a:cubicBezTo>
                  <a:pt x="8" y="39"/>
                  <a:pt x="8" y="39"/>
                  <a:pt x="8" y="39"/>
                </a:cubicBezTo>
                <a:cubicBezTo>
                  <a:pt x="5" y="38"/>
                  <a:pt x="5" y="38"/>
                  <a:pt x="5" y="38"/>
                </a:cubicBezTo>
                <a:cubicBezTo>
                  <a:pt x="0" y="39"/>
                  <a:pt x="0" y="39"/>
                  <a:pt x="0" y="39"/>
                </a:cubicBezTo>
                <a:cubicBezTo>
                  <a:pt x="2" y="43"/>
                  <a:pt x="2" y="43"/>
                  <a:pt x="2" y="43"/>
                </a:cubicBezTo>
                <a:cubicBezTo>
                  <a:pt x="8" y="43"/>
                  <a:pt x="8" y="43"/>
                  <a:pt x="8" y="43"/>
                </a:cubicBezTo>
                <a:cubicBezTo>
                  <a:pt x="8" y="43"/>
                  <a:pt x="9" y="46"/>
                  <a:pt x="11" y="45"/>
                </a:cubicBezTo>
                <a:cubicBezTo>
                  <a:pt x="13" y="45"/>
                  <a:pt x="15" y="43"/>
                  <a:pt x="16" y="45"/>
                </a:cubicBezTo>
                <a:cubicBezTo>
                  <a:pt x="18" y="47"/>
                  <a:pt x="20" y="46"/>
                  <a:pt x="20" y="46"/>
                </a:cubicBezTo>
                <a:cubicBezTo>
                  <a:pt x="20" y="46"/>
                  <a:pt x="23" y="47"/>
                  <a:pt x="25" y="46"/>
                </a:cubicBezTo>
                <a:cubicBezTo>
                  <a:pt x="27" y="45"/>
                  <a:pt x="30" y="45"/>
                  <a:pt x="32" y="45"/>
                </a:cubicBezTo>
                <a:close/>
                <a:moveTo>
                  <a:pt x="79" y="3"/>
                </a:moveTo>
                <a:cubicBezTo>
                  <a:pt x="79" y="4"/>
                  <a:pt x="78" y="5"/>
                  <a:pt x="78" y="5"/>
                </a:cubicBezTo>
                <a:cubicBezTo>
                  <a:pt x="78" y="6"/>
                  <a:pt x="76" y="5"/>
                  <a:pt x="76" y="5"/>
                </a:cubicBezTo>
                <a:cubicBezTo>
                  <a:pt x="75" y="6"/>
                  <a:pt x="75" y="7"/>
                  <a:pt x="75" y="7"/>
                </a:cubicBezTo>
                <a:cubicBezTo>
                  <a:pt x="74" y="8"/>
                  <a:pt x="71" y="9"/>
                  <a:pt x="70" y="9"/>
                </a:cubicBezTo>
                <a:cubicBezTo>
                  <a:pt x="65" y="9"/>
                  <a:pt x="61" y="6"/>
                  <a:pt x="65" y="4"/>
                </a:cubicBezTo>
                <a:cubicBezTo>
                  <a:pt x="66" y="4"/>
                  <a:pt x="67" y="4"/>
                  <a:pt x="68" y="3"/>
                </a:cubicBezTo>
                <a:cubicBezTo>
                  <a:pt x="70" y="3"/>
                  <a:pt x="74" y="2"/>
                  <a:pt x="75" y="2"/>
                </a:cubicBezTo>
                <a:cubicBezTo>
                  <a:pt x="78" y="2"/>
                  <a:pt x="79" y="2"/>
                  <a:pt x="79" y="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6" name="Google Shape;516;p102"/>
          <p:cNvSpPr/>
          <p:nvPr/>
        </p:nvSpPr>
        <p:spPr>
          <a:xfrm>
            <a:off x="7380448" y="3784746"/>
            <a:ext cx="66019" cy="55098"/>
          </a:xfrm>
          <a:custGeom>
            <a:avLst/>
            <a:gdLst/>
            <a:ahLst/>
            <a:cxnLst/>
            <a:rect l="l" t="t" r="r" b="b"/>
            <a:pathLst>
              <a:path w="23" h="20" extrusionOk="0">
                <a:moveTo>
                  <a:pt x="19" y="2"/>
                </a:moveTo>
                <a:cubicBezTo>
                  <a:pt x="19" y="2"/>
                  <a:pt x="17" y="2"/>
                  <a:pt x="14" y="1"/>
                </a:cubicBezTo>
                <a:cubicBezTo>
                  <a:pt x="12" y="0"/>
                  <a:pt x="10" y="5"/>
                  <a:pt x="8" y="8"/>
                </a:cubicBezTo>
                <a:cubicBezTo>
                  <a:pt x="6" y="10"/>
                  <a:pt x="0" y="14"/>
                  <a:pt x="0" y="14"/>
                </a:cubicBezTo>
                <a:cubicBezTo>
                  <a:pt x="12" y="16"/>
                  <a:pt x="12" y="16"/>
                  <a:pt x="12" y="16"/>
                </a:cubicBezTo>
                <a:cubicBezTo>
                  <a:pt x="13" y="20"/>
                  <a:pt x="13" y="20"/>
                  <a:pt x="13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18"/>
                  <a:pt x="19" y="16"/>
                  <a:pt x="18" y="14"/>
                </a:cubicBezTo>
                <a:cubicBezTo>
                  <a:pt x="17" y="14"/>
                  <a:pt x="17" y="14"/>
                  <a:pt x="17" y="14"/>
                </a:cubicBezTo>
                <a:cubicBezTo>
                  <a:pt x="16" y="12"/>
                  <a:pt x="18" y="8"/>
                  <a:pt x="18" y="6"/>
                </a:cubicBezTo>
                <a:cubicBezTo>
                  <a:pt x="19" y="7"/>
                  <a:pt x="21" y="8"/>
                  <a:pt x="22" y="8"/>
                </a:cubicBezTo>
                <a:cubicBezTo>
                  <a:pt x="22" y="8"/>
                  <a:pt x="21" y="8"/>
                  <a:pt x="22" y="8"/>
                </a:cubicBezTo>
                <a:cubicBezTo>
                  <a:pt x="23" y="9"/>
                  <a:pt x="23" y="7"/>
                  <a:pt x="23" y="7"/>
                </a:cubicBezTo>
                <a:cubicBezTo>
                  <a:pt x="23" y="7"/>
                  <a:pt x="21" y="7"/>
                  <a:pt x="21" y="6"/>
                </a:cubicBezTo>
                <a:cubicBezTo>
                  <a:pt x="20" y="6"/>
                  <a:pt x="19" y="3"/>
                  <a:pt x="19" y="2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7" name="Google Shape;517;p102"/>
          <p:cNvSpPr/>
          <p:nvPr/>
        </p:nvSpPr>
        <p:spPr>
          <a:xfrm>
            <a:off x="7380448" y="3784746"/>
            <a:ext cx="66019" cy="55098"/>
          </a:xfrm>
          <a:custGeom>
            <a:avLst/>
            <a:gdLst/>
            <a:ahLst/>
            <a:cxnLst/>
            <a:rect l="l" t="t" r="r" b="b"/>
            <a:pathLst>
              <a:path w="23" h="20" extrusionOk="0">
                <a:moveTo>
                  <a:pt x="19" y="2"/>
                </a:moveTo>
                <a:cubicBezTo>
                  <a:pt x="19" y="2"/>
                  <a:pt x="17" y="2"/>
                  <a:pt x="14" y="1"/>
                </a:cubicBezTo>
                <a:cubicBezTo>
                  <a:pt x="12" y="0"/>
                  <a:pt x="10" y="5"/>
                  <a:pt x="8" y="8"/>
                </a:cubicBezTo>
                <a:cubicBezTo>
                  <a:pt x="6" y="10"/>
                  <a:pt x="0" y="14"/>
                  <a:pt x="0" y="14"/>
                </a:cubicBezTo>
                <a:cubicBezTo>
                  <a:pt x="12" y="16"/>
                  <a:pt x="12" y="16"/>
                  <a:pt x="12" y="16"/>
                </a:cubicBezTo>
                <a:cubicBezTo>
                  <a:pt x="13" y="20"/>
                  <a:pt x="13" y="20"/>
                  <a:pt x="13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18"/>
                  <a:pt x="19" y="16"/>
                  <a:pt x="18" y="14"/>
                </a:cubicBezTo>
                <a:cubicBezTo>
                  <a:pt x="17" y="14"/>
                  <a:pt x="17" y="14"/>
                  <a:pt x="17" y="14"/>
                </a:cubicBezTo>
                <a:cubicBezTo>
                  <a:pt x="16" y="12"/>
                  <a:pt x="18" y="8"/>
                  <a:pt x="18" y="6"/>
                </a:cubicBezTo>
                <a:cubicBezTo>
                  <a:pt x="19" y="7"/>
                  <a:pt x="21" y="8"/>
                  <a:pt x="22" y="8"/>
                </a:cubicBezTo>
                <a:cubicBezTo>
                  <a:pt x="22" y="8"/>
                  <a:pt x="21" y="8"/>
                  <a:pt x="22" y="8"/>
                </a:cubicBezTo>
                <a:cubicBezTo>
                  <a:pt x="23" y="9"/>
                  <a:pt x="23" y="7"/>
                  <a:pt x="23" y="7"/>
                </a:cubicBezTo>
                <a:cubicBezTo>
                  <a:pt x="23" y="7"/>
                  <a:pt x="21" y="7"/>
                  <a:pt x="21" y="6"/>
                </a:cubicBezTo>
                <a:cubicBezTo>
                  <a:pt x="20" y="6"/>
                  <a:pt x="19" y="3"/>
                  <a:pt x="19" y="2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8" name="Google Shape;518;p102"/>
          <p:cNvSpPr/>
          <p:nvPr/>
        </p:nvSpPr>
        <p:spPr>
          <a:xfrm>
            <a:off x="7078779" y="4574040"/>
            <a:ext cx="218597" cy="278316"/>
          </a:xfrm>
          <a:custGeom>
            <a:avLst/>
            <a:gdLst/>
            <a:ahLst/>
            <a:cxnLst/>
            <a:rect l="l" t="t" r="r" b="b"/>
            <a:pathLst>
              <a:path w="76" h="100" extrusionOk="0">
                <a:moveTo>
                  <a:pt x="4" y="55"/>
                </a:moveTo>
                <a:cubicBezTo>
                  <a:pt x="5" y="56"/>
                  <a:pt x="4" y="59"/>
                  <a:pt x="5" y="59"/>
                </a:cubicBezTo>
                <a:cubicBezTo>
                  <a:pt x="7" y="59"/>
                  <a:pt x="7" y="59"/>
                  <a:pt x="7" y="59"/>
                </a:cubicBezTo>
                <a:cubicBezTo>
                  <a:pt x="7" y="59"/>
                  <a:pt x="8" y="57"/>
                  <a:pt x="8" y="57"/>
                </a:cubicBezTo>
                <a:cubicBezTo>
                  <a:pt x="10" y="56"/>
                  <a:pt x="10" y="58"/>
                  <a:pt x="11" y="57"/>
                </a:cubicBezTo>
                <a:cubicBezTo>
                  <a:pt x="10" y="58"/>
                  <a:pt x="9" y="58"/>
                  <a:pt x="9" y="59"/>
                </a:cubicBezTo>
                <a:cubicBezTo>
                  <a:pt x="8" y="60"/>
                  <a:pt x="9" y="62"/>
                  <a:pt x="8" y="63"/>
                </a:cubicBezTo>
                <a:cubicBezTo>
                  <a:pt x="8" y="64"/>
                  <a:pt x="6" y="64"/>
                  <a:pt x="6" y="65"/>
                </a:cubicBezTo>
                <a:cubicBezTo>
                  <a:pt x="5" y="68"/>
                  <a:pt x="6" y="69"/>
                  <a:pt x="5" y="71"/>
                </a:cubicBezTo>
                <a:cubicBezTo>
                  <a:pt x="32" y="83"/>
                  <a:pt x="32" y="83"/>
                  <a:pt x="32" y="83"/>
                </a:cubicBezTo>
                <a:cubicBezTo>
                  <a:pt x="32" y="83"/>
                  <a:pt x="34" y="85"/>
                  <a:pt x="34" y="87"/>
                </a:cubicBezTo>
                <a:cubicBezTo>
                  <a:pt x="33" y="90"/>
                  <a:pt x="33" y="92"/>
                  <a:pt x="36" y="92"/>
                </a:cubicBezTo>
                <a:cubicBezTo>
                  <a:pt x="38" y="92"/>
                  <a:pt x="38" y="94"/>
                  <a:pt x="38" y="94"/>
                </a:cubicBezTo>
                <a:cubicBezTo>
                  <a:pt x="49" y="100"/>
                  <a:pt x="49" y="100"/>
                  <a:pt x="49" y="100"/>
                </a:cubicBezTo>
                <a:cubicBezTo>
                  <a:pt x="49" y="100"/>
                  <a:pt x="50" y="98"/>
                  <a:pt x="51" y="98"/>
                </a:cubicBezTo>
                <a:cubicBezTo>
                  <a:pt x="51" y="95"/>
                  <a:pt x="49" y="93"/>
                  <a:pt x="51" y="89"/>
                </a:cubicBezTo>
                <a:cubicBezTo>
                  <a:pt x="52" y="89"/>
                  <a:pt x="52" y="89"/>
                  <a:pt x="52" y="89"/>
                </a:cubicBezTo>
                <a:cubicBezTo>
                  <a:pt x="53" y="87"/>
                  <a:pt x="54" y="83"/>
                  <a:pt x="56" y="82"/>
                </a:cubicBezTo>
                <a:cubicBezTo>
                  <a:pt x="57" y="81"/>
                  <a:pt x="59" y="82"/>
                  <a:pt x="60" y="81"/>
                </a:cubicBezTo>
                <a:cubicBezTo>
                  <a:pt x="61" y="80"/>
                  <a:pt x="63" y="75"/>
                  <a:pt x="64" y="74"/>
                </a:cubicBezTo>
                <a:cubicBezTo>
                  <a:pt x="64" y="74"/>
                  <a:pt x="67" y="75"/>
                  <a:pt x="68" y="73"/>
                </a:cubicBezTo>
                <a:cubicBezTo>
                  <a:pt x="69" y="72"/>
                  <a:pt x="68" y="68"/>
                  <a:pt x="69" y="66"/>
                </a:cubicBezTo>
                <a:cubicBezTo>
                  <a:pt x="70" y="65"/>
                  <a:pt x="72" y="64"/>
                  <a:pt x="72" y="63"/>
                </a:cubicBezTo>
                <a:cubicBezTo>
                  <a:pt x="73" y="62"/>
                  <a:pt x="71" y="62"/>
                  <a:pt x="72" y="61"/>
                </a:cubicBezTo>
                <a:cubicBezTo>
                  <a:pt x="72" y="61"/>
                  <a:pt x="73" y="60"/>
                  <a:pt x="73" y="60"/>
                </a:cubicBezTo>
                <a:cubicBezTo>
                  <a:pt x="67" y="53"/>
                  <a:pt x="67" y="53"/>
                  <a:pt x="67" y="53"/>
                </a:cubicBezTo>
                <a:cubicBezTo>
                  <a:pt x="66" y="17"/>
                  <a:pt x="66" y="17"/>
                  <a:pt x="66" y="17"/>
                </a:cubicBezTo>
                <a:cubicBezTo>
                  <a:pt x="71" y="14"/>
                  <a:pt x="71" y="14"/>
                  <a:pt x="71" y="14"/>
                </a:cubicBezTo>
                <a:cubicBezTo>
                  <a:pt x="76" y="3"/>
                  <a:pt x="76" y="3"/>
                  <a:pt x="76" y="3"/>
                </a:cubicBezTo>
                <a:cubicBezTo>
                  <a:pt x="76" y="3"/>
                  <a:pt x="68" y="5"/>
                  <a:pt x="66" y="4"/>
                </a:cubicBezTo>
                <a:cubicBezTo>
                  <a:pt x="64" y="3"/>
                  <a:pt x="64" y="0"/>
                  <a:pt x="64" y="0"/>
                </a:cubicBezTo>
                <a:cubicBezTo>
                  <a:pt x="64" y="0"/>
                  <a:pt x="61" y="4"/>
                  <a:pt x="58" y="3"/>
                </a:cubicBezTo>
                <a:cubicBezTo>
                  <a:pt x="56" y="1"/>
                  <a:pt x="55" y="6"/>
                  <a:pt x="55" y="6"/>
                </a:cubicBezTo>
                <a:cubicBezTo>
                  <a:pt x="55" y="6"/>
                  <a:pt x="52" y="6"/>
                  <a:pt x="50" y="6"/>
                </a:cubicBezTo>
                <a:cubicBezTo>
                  <a:pt x="48" y="6"/>
                  <a:pt x="46" y="7"/>
                  <a:pt x="45" y="5"/>
                </a:cubicBezTo>
                <a:cubicBezTo>
                  <a:pt x="44" y="4"/>
                  <a:pt x="38" y="4"/>
                  <a:pt x="38" y="4"/>
                </a:cubicBezTo>
                <a:cubicBezTo>
                  <a:pt x="38" y="4"/>
                  <a:pt x="34" y="6"/>
                  <a:pt x="32" y="4"/>
                </a:cubicBezTo>
                <a:cubicBezTo>
                  <a:pt x="30" y="3"/>
                  <a:pt x="27" y="5"/>
                  <a:pt x="26" y="5"/>
                </a:cubicBezTo>
                <a:cubicBezTo>
                  <a:pt x="25" y="5"/>
                  <a:pt x="19" y="4"/>
                  <a:pt x="19" y="4"/>
                </a:cubicBezTo>
                <a:cubicBezTo>
                  <a:pt x="15" y="1"/>
                  <a:pt x="15" y="1"/>
                  <a:pt x="15" y="1"/>
                </a:cubicBezTo>
                <a:cubicBezTo>
                  <a:pt x="11" y="1"/>
                  <a:pt x="11" y="1"/>
                  <a:pt x="11" y="1"/>
                </a:cubicBezTo>
                <a:cubicBezTo>
                  <a:pt x="11" y="1"/>
                  <a:pt x="9" y="1"/>
                  <a:pt x="7" y="1"/>
                </a:cubicBezTo>
                <a:cubicBezTo>
                  <a:pt x="5" y="3"/>
                  <a:pt x="5" y="3"/>
                  <a:pt x="5" y="3"/>
                </a:cubicBezTo>
                <a:cubicBezTo>
                  <a:pt x="1" y="4"/>
                  <a:pt x="1" y="4"/>
                  <a:pt x="1" y="4"/>
                </a:cubicBezTo>
                <a:cubicBezTo>
                  <a:pt x="1" y="7"/>
                  <a:pt x="1" y="7"/>
                  <a:pt x="1" y="7"/>
                </a:cubicBezTo>
                <a:cubicBezTo>
                  <a:pt x="1" y="7"/>
                  <a:pt x="2" y="8"/>
                  <a:pt x="3" y="9"/>
                </a:cubicBezTo>
                <a:cubicBezTo>
                  <a:pt x="6" y="11"/>
                  <a:pt x="3" y="9"/>
                  <a:pt x="5" y="11"/>
                </a:cubicBezTo>
                <a:cubicBezTo>
                  <a:pt x="7" y="13"/>
                  <a:pt x="5" y="13"/>
                  <a:pt x="4" y="17"/>
                </a:cubicBezTo>
                <a:cubicBezTo>
                  <a:pt x="4" y="20"/>
                  <a:pt x="3" y="21"/>
                  <a:pt x="6" y="23"/>
                </a:cubicBezTo>
                <a:cubicBezTo>
                  <a:pt x="8" y="25"/>
                  <a:pt x="8" y="26"/>
                  <a:pt x="8" y="28"/>
                </a:cubicBezTo>
                <a:cubicBezTo>
                  <a:pt x="7" y="30"/>
                  <a:pt x="7" y="32"/>
                  <a:pt x="6" y="33"/>
                </a:cubicBezTo>
                <a:cubicBezTo>
                  <a:pt x="6" y="35"/>
                  <a:pt x="4" y="33"/>
                  <a:pt x="3" y="37"/>
                </a:cubicBezTo>
                <a:cubicBezTo>
                  <a:pt x="3" y="41"/>
                  <a:pt x="4" y="42"/>
                  <a:pt x="2" y="44"/>
                </a:cubicBezTo>
                <a:cubicBezTo>
                  <a:pt x="0" y="46"/>
                  <a:pt x="4" y="51"/>
                  <a:pt x="3" y="52"/>
                </a:cubicBezTo>
                <a:cubicBezTo>
                  <a:pt x="2" y="53"/>
                  <a:pt x="3" y="55"/>
                  <a:pt x="3" y="55"/>
                </a:cubicBezTo>
                <a:cubicBezTo>
                  <a:pt x="4" y="55"/>
                  <a:pt x="4" y="55"/>
                  <a:pt x="4" y="55"/>
                </a:cubicBezTo>
                <a:close/>
                <a:moveTo>
                  <a:pt x="21" y="5"/>
                </a:moveTo>
                <a:cubicBezTo>
                  <a:pt x="21" y="5"/>
                  <a:pt x="23" y="6"/>
                  <a:pt x="23" y="6"/>
                </a:cubicBezTo>
                <a:cubicBezTo>
                  <a:pt x="24" y="10"/>
                  <a:pt x="23" y="13"/>
                  <a:pt x="23" y="16"/>
                </a:cubicBezTo>
                <a:cubicBezTo>
                  <a:pt x="24" y="18"/>
                  <a:pt x="26" y="20"/>
                  <a:pt x="27" y="22"/>
                </a:cubicBezTo>
                <a:cubicBezTo>
                  <a:pt x="27" y="22"/>
                  <a:pt x="27" y="25"/>
                  <a:pt x="27" y="26"/>
                </a:cubicBezTo>
                <a:cubicBezTo>
                  <a:pt x="26" y="26"/>
                  <a:pt x="26" y="26"/>
                  <a:pt x="26" y="26"/>
                </a:cubicBezTo>
                <a:cubicBezTo>
                  <a:pt x="26" y="25"/>
                  <a:pt x="25" y="22"/>
                  <a:pt x="24" y="21"/>
                </a:cubicBezTo>
                <a:cubicBezTo>
                  <a:pt x="23" y="20"/>
                  <a:pt x="20" y="19"/>
                  <a:pt x="20" y="18"/>
                </a:cubicBezTo>
                <a:cubicBezTo>
                  <a:pt x="20" y="17"/>
                  <a:pt x="20" y="16"/>
                  <a:pt x="20" y="16"/>
                </a:cubicBezTo>
                <a:cubicBezTo>
                  <a:pt x="19" y="16"/>
                  <a:pt x="19" y="16"/>
                  <a:pt x="19" y="16"/>
                </a:cubicBezTo>
                <a:cubicBezTo>
                  <a:pt x="18" y="13"/>
                  <a:pt x="20" y="7"/>
                  <a:pt x="21" y="5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9" name="Google Shape;519;p102"/>
          <p:cNvSpPr/>
          <p:nvPr/>
        </p:nvSpPr>
        <p:spPr>
          <a:xfrm>
            <a:off x="7409789" y="2946972"/>
            <a:ext cx="1018161" cy="500121"/>
          </a:xfrm>
          <a:custGeom>
            <a:avLst/>
            <a:gdLst/>
            <a:ahLst/>
            <a:cxnLst/>
            <a:rect l="l" t="t" r="r" b="b"/>
            <a:pathLst>
              <a:path w="354" h="180" extrusionOk="0">
                <a:moveTo>
                  <a:pt x="354" y="80"/>
                </a:moveTo>
                <a:cubicBezTo>
                  <a:pt x="341" y="82"/>
                  <a:pt x="341" y="82"/>
                  <a:pt x="341" y="82"/>
                </a:cubicBezTo>
                <a:cubicBezTo>
                  <a:pt x="337" y="85"/>
                  <a:pt x="337" y="85"/>
                  <a:pt x="337" y="85"/>
                </a:cubicBezTo>
                <a:cubicBezTo>
                  <a:pt x="335" y="89"/>
                  <a:pt x="335" y="89"/>
                  <a:pt x="335" y="89"/>
                </a:cubicBezTo>
                <a:cubicBezTo>
                  <a:pt x="329" y="91"/>
                  <a:pt x="329" y="91"/>
                  <a:pt x="329" y="91"/>
                </a:cubicBezTo>
                <a:cubicBezTo>
                  <a:pt x="328" y="94"/>
                  <a:pt x="328" y="94"/>
                  <a:pt x="328" y="94"/>
                </a:cubicBezTo>
                <a:cubicBezTo>
                  <a:pt x="327" y="98"/>
                  <a:pt x="327" y="98"/>
                  <a:pt x="327" y="98"/>
                </a:cubicBezTo>
                <a:cubicBezTo>
                  <a:pt x="320" y="101"/>
                  <a:pt x="320" y="101"/>
                  <a:pt x="320" y="101"/>
                </a:cubicBezTo>
                <a:cubicBezTo>
                  <a:pt x="315" y="101"/>
                  <a:pt x="315" y="101"/>
                  <a:pt x="315" y="101"/>
                </a:cubicBezTo>
                <a:cubicBezTo>
                  <a:pt x="312" y="104"/>
                  <a:pt x="312" y="104"/>
                  <a:pt x="312" y="104"/>
                </a:cubicBezTo>
                <a:cubicBezTo>
                  <a:pt x="309" y="109"/>
                  <a:pt x="309" y="109"/>
                  <a:pt x="309" y="109"/>
                </a:cubicBezTo>
                <a:cubicBezTo>
                  <a:pt x="306" y="112"/>
                  <a:pt x="306" y="112"/>
                  <a:pt x="306" y="112"/>
                </a:cubicBezTo>
                <a:cubicBezTo>
                  <a:pt x="304" y="118"/>
                  <a:pt x="304" y="118"/>
                  <a:pt x="304" y="118"/>
                </a:cubicBezTo>
                <a:cubicBezTo>
                  <a:pt x="305" y="124"/>
                  <a:pt x="305" y="124"/>
                  <a:pt x="305" y="124"/>
                </a:cubicBezTo>
                <a:cubicBezTo>
                  <a:pt x="308" y="127"/>
                  <a:pt x="308" y="127"/>
                  <a:pt x="308" y="127"/>
                </a:cubicBezTo>
                <a:cubicBezTo>
                  <a:pt x="306" y="130"/>
                  <a:pt x="306" y="130"/>
                  <a:pt x="306" y="130"/>
                </a:cubicBezTo>
                <a:cubicBezTo>
                  <a:pt x="298" y="130"/>
                  <a:pt x="298" y="130"/>
                  <a:pt x="298" y="130"/>
                </a:cubicBezTo>
                <a:cubicBezTo>
                  <a:pt x="291" y="133"/>
                  <a:pt x="291" y="133"/>
                  <a:pt x="291" y="133"/>
                </a:cubicBezTo>
                <a:cubicBezTo>
                  <a:pt x="284" y="134"/>
                  <a:pt x="284" y="134"/>
                  <a:pt x="284" y="134"/>
                </a:cubicBezTo>
                <a:cubicBezTo>
                  <a:pt x="282" y="136"/>
                  <a:pt x="282" y="136"/>
                  <a:pt x="282" y="136"/>
                </a:cubicBezTo>
                <a:cubicBezTo>
                  <a:pt x="283" y="140"/>
                  <a:pt x="283" y="140"/>
                  <a:pt x="283" y="140"/>
                </a:cubicBezTo>
                <a:cubicBezTo>
                  <a:pt x="288" y="144"/>
                  <a:pt x="288" y="144"/>
                  <a:pt x="288" y="144"/>
                </a:cubicBezTo>
                <a:cubicBezTo>
                  <a:pt x="290" y="147"/>
                  <a:pt x="290" y="147"/>
                  <a:pt x="290" y="147"/>
                </a:cubicBezTo>
                <a:cubicBezTo>
                  <a:pt x="286" y="155"/>
                  <a:pt x="286" y="155"/>
                  <a:pt x="286" y="155"/>
                </a:cubicBezTo>
                <a:cubicBezTo>
                  <a:pt x="286" y="162"/>
                  <a:pt x="286" y="162"/>
                  <a:pt x="286" y="162"/>
                </a:cubicBezTo>
                <a:cubicBezTo>
                  <a:pt x="282" y="160"/>
                  <a:pt x="282" y="160"/>
                  <a:pt x="282" y="160"/>
                </a:cubicBezTo>
                <a:cubicBezTo>
                  <a:pt x="282" y="160"/>
                  <a:pt x="277" y="159"/>
                  <a:pt x="277" y="158"/>
                </a:cubicBezTo>
                <a:cubicBezTo>
                  <a:pt x="276" y="156"/>
                  <a:pt x="273" y="154"/>
                  <a:pt x="271" y="154"/>
                </a:cubicBezTo>
                <a:cubicBezTo>
                  <a:pt x="269" y="154"/>
                  <a:pt x="267" y="153"/>
                  <a:pt x="264" y="154"/>
                </a:cubicBezTo>
                <a:cubicBezTo>
                  <a:pt x="260" y="154"/>
                  <a:pt x="255" y="154"/>
                  <a:pt x="253" y="154"/>
                </a:cubicBezTo>
                <a:cubicBezTo>
                  <a:pt x="251" y="154"/>
                  <a:pt x="247" y="159"/>
                  <a:pt x="244" y="159"/>
                </a:cubicBezTo>
                <a:cubicBezTo>
                  <a:pt x="241" y="159"/>
                  <a:pt x="243" y="158"/>
                  <a:pt x="240" y="157"/>
                </a:cubicBezTo>
                <a:cubicBezTo>
                  <a:pt x="237" y="156"/>
                  <a:pt x="237" y="154"/>
                  <a:pt x="236" y="154"/>
                </a:cubicBezTo>
                <a:cubicBezTo>
                  <a:pt x="232" y="157"/>
                  <a:pt x="233" y="156"/>
                  <a:pt x="231" y="156"/>
                </a:cubicBezTo>
                <a:cubicBezTo>
                  <a:pt x="230" y="156"/>
                  <a:pt x="228" y="160"/>
                  <a:pt x="228" y="160"/>
                </a:cubicBezTo>
                <a:cubicBezTo>
                  <a:pt x="228" y="160"/>
                  <a:pt x="225" y="161"/>
                  <a:pt x="225" y="163"/>
                </a:cubicBezTo>
                <a:cubicBezTo>
                  <a:pt x="225" y="164"/>
                  <a:pt x="219" y="158"/>
                  <a:pt x="216" y="158"/>
                </a:cubicBezTo>
                <a:cubicBezTo>
                  <a:pt x="210" y="158"/>
                  <a:pt x="210" y="158"/>
                  <a:pt x="210" y="158"/>
                </a:cubicBezTo>
                <a:cubicBezTo>
                  <a:pt x="207" y="158"/>
                  <a:pt x="202" y="164"/>
                  <a:pt x="202" y="164"/>
                </a:cubicBezTo>
                <a:cubicBezTo>
                  <a:pt x="200" y="165"/>
                  <a:pt x="200" y="165"/>
                  <a:pt x="197" y="165"/>
                </a:cubicBezTo>
                <a:cubicBezTo>
                  <a:pt x="195" y="166"/>
                  <a:pt x="193" y="165"/>
                  <a:pt x="192" y="167"/>
                </a:cubicBezTo>
                <a:cubicBezTo>
                  <a:pt x="192" y="169"/>
                  <a:pt x="189" y="169"/>
                  <a:pt x="187" y="169"/>
                </a:cubicBezTo>
                <a:cubicBezTo>
                  <a:pt x="186" y="170"/>
                  <a:pt x="185" y="175"/>
                  <a:pt x="185" y="175"/>
                </a:cubicBezTo>
                <a:cubicBezTo>
                  <a:pt x="185" y="175"/>
                  <a:pt x="182" y="176"/>
                  <a:pt x="179" y="176"/>
                </a:cubicBezTo>
                <a:cubicBezTo>
                  <a:pt x="179" y="179"/>
                  <a:pt x="179" y="179"/>
                  <a:pt x="179" y="179"/>
                </a:cubicBezTo>
                <a:cubicBezTo>
                  <a:pt x="179" y="179"/>
                  <a:pt x="177" y="180"/>
                  <a:pt x="176" y="180"/>
                </a:cubicBezTo>
                <a:cubicBezTo>
                  <a:pt x="175" y="180"/>
                  <a:pt x="177" y="178"/>
                  <a:pt x="176" y="176"/>
                </a:cubicBezTo>
                <a:cubicBezTo>
                  <a:pt x="175" y="174"/>
                  <a:pt x="170" y="173"/>
                  <a:pt x="169" y="174"/>
                </a:cubicBezTo>
                <a:cubicBezTo>
                  <a:pt x="168" y="175"/>
                  <a:pt x="163" y="173"/>
                  <a:pt x="161" y="172"/>
                </a:cubicBezTo>
                <a:cubicBezTo>
                  <a:pt x="159" y="171"/>
                  <a:pt x="161" y="170"/>
                  <a:pt x="161" y="169"/>
                </a:cubicBezTo>
                <a:cubicBezTo>
                  <a:pt x="161" y="167"/>
                  <a:pt x="159" y="169"/>
                  <a:pt x="159" y="167"/>
                </a:cubicBezTo>
                <a:cubicBezTo>
                  <a:pt x="159" y="164"/>
                  <a:pt x="158" y="164"/>
                  <a:pt x="156" y="165"/>
                </a:cubicBezTo>
                <a:cubicBezTo>
                  <a:pt x="154" y="165"/>
                  <a:pt x="153" y="164"/>
                  <a:pt x="152" y="163"/>
                </a:cubicBezTo>
                <a:cubicBezTo>
                  <a:pt x="151" y="162"/>
                  <a:pt x="149" y="158"/>
                  <a:pt x="149" y="158"/>
                </a:cubicBezTo>
                <a:cubicBezTo>
                  <a:pt x="147" y="160"/>
                  <a:pt x="147" y="160"/>
                  <a:pt x="147" y="160"/>
                </a:cubicBezTo>
                <a:cubicBezTo>
                  <a:pt x="147" y="160"/>
                  <a:pt x="140" y="159"/>
                  <a:pt x="137" y="158"/>
                </a:cubicBezTo>
                <a:cubicBezTo>
                  <a:pt x="134" y="157"/>
                  <a:pt x="128" y="158"/>
                  <a:pt x="128" y="158"/>
                </a:cubicBezTo>
                <a:cubicBezTo>
                  <a:pt x="128" y="158"/>
                  <a:pt x="127" y="150"/>
                  <a:pt x="127" y="148"/>
                </a:cubicBezTo>
                <a:cubicBezTo>
                  <a:pt x="127" y="146"/>
                  <a:pt x="125" y="143"/>
                  <a:pt x="125" y="143"/>
                </a:cubicBezTo>
                <a:cubicBezTo>
                  <a:pt x="124" y="142"/>
                  <a:pt x="124" y="142"/>
                  <a:pt x="124" y="142"/>
                </a:cubicBezTo>
                <a:cubicBezTo>
                  <a:pt x="125" y="141"/>
                  <a:pt x="126" y="141"/>
                  <a:pt x="127" y="140"/>
                </a:cubicBezTo>
                <a:cubicBezTo>
                  <a:pt x="127" y="136"/>
                  <a:pt x="126" y="138"/>
                  <a:pt x="129" y="136"/>
                </a:cubicBezTo>
                <a:cubicBezTo>
                  <a:pt x="129" y="134"/>
                  <a:pt x="129" y="134"/>
                  <a:pt x="129" y="134"/>
                </a:cubicBezTo>
                <a:cubicBezTo>
                  <a:pt x="127" y="133"/>
                  <a:pt x="122" y="131"/>
                  <a:pt x="121" y="129"/>
                </a:cubicBezTo>
                <a:cubicBezTo>
                  <a:pt x="121" y="127"/>
                  <a:pt x="122" y="124"/>
                  <a:pt x="122" y="123"/>
                </a:cubicBezTo>
                <a:cubicBezTo>
                  <a:pt x="122" y="123"/>
                  <a:pt x="121" y="120"/>
                  <a:pt x="121" y="119"/>
                </a:cubicBezTo>
                <a:cubicBezTo>
                  <a:pt x="121" y="118"/>
                  <a:pt x="126" y="112"/>
                  <a:pt x="127" y="110"/>
                </a:cubicBezTo>
                <a:cubicBezTo>
                  <a:pt x="125" y="110"/>
                  <a:pt x="125" y="111"/>
                  <a:pt x="124" y="111"/>
                </a:cubicBezTo>
                <a:cubicBezTo>
                  <a:pt x="124" y="111"/>
                  <a:pt x="122" y="110"/>
                  <a:pt x="122" y="110"/>
                </a:cubicBezTo>
                <a:cubicBezTo>
                  <a:pt x="121" y="110"/>
                  <a:pt x="122" y="111"/>
                  <a:pt x="122" y="112"/>
                </a:cubicBezTo>
                <a:cubicBezTo>
                  <a:pt x="119" y="112"/>
                  <a:pt x="118" y="111"/>
                  <a:pt x="115" y="111"/>
                </a:cubicBezTo>
                <a:cubicBezTo>
                  <a:pt x="115" y="111"/>
                  <a:pt x="114" y="114"/>
                  <a:pt x="116" y="114"/>
                </a:cubicBezTo>
                <a:cubicBezTo>
                  <a:pt x="116" y="114"/>
                  <a:pt x="115" y="116"/>
                  <a:pt x="115" y="116"/>
                </a:cubicBezTo>
                <a:cubicBezTo>
                  <a:pt x="113" y="116"/>
                  <a:pt x="113" y="116"/>
                  <a:pt x="111" y="116"/>
                </a:cubicBezTo>
                <a:cubicBezTo>
                  <a:pt x="111" y="118"/>
                  <a:pt x="111" y="118"/>
                  <a:pt x="111" y="118"/>
                </a:cubicBezTo>
                <a:cubicBezTo>
                  <a:pt x="110" y="118"/>
                  <a:pt x="109" y="118"/>
                  <a:pt x="108" y="118"/>
                </a:cubicBezTo>
                <a:cubicBezTo>
                  <a:pt x="107" y="120"/>
                  <a:pt x="107" y="120"/>
                  <a:pt x="107" y="122"/>
                </a:cubicBezTo>
                <a:cubicBezTo>
                  <a:pt x="106" y="123"/>
                  <a:pt x="107" y="124"/>
                  <a:pt x="106" y="124"/>
                </a:cubicBezTo>
                <a:cubicBezTo>
                  <a:pt x="103" y="126"/>
                  <a:pt x="105" y="121"/>
                  <a:pt x="105" y="120"/>
                </a:cubicBezTo>
                <a:cubicBezTo>
                  <a:pt x="105" y="120"/>
                  <a:pt x="102" y="121"/>
                  <a:pt x="103" y="121"/>
                </a:cubicBezTo>
                <a:cubicBezTo>
                  <a:pt x="102" y="121"/>
                  <a:pt x="101" y="121"/>
                  <a:pt x="101" y="122"/>
                </a:cubicBezTo>
                <a:cubicBezTo>
                  <a:pt x="100" y="122"/>
                  <a:pt x="101" y="124"/>
                  <a:pt x="100" y="125"/>
                </a:cubicBezTo>
                <a:cubicBezTo>
                  <a:pt x="100" y="126"/>
                  <a:pt x="100" y="126"/>
                  <a:pt x="100" y="126"/>
                </a:cubicBezTo>
                <a:cubicBezTo>
                  <a:pt x="98" y="125"/>
                  <a:pt x="97" y="125"/>
                  <a:pt x="95" y="125"/>
                </a:cubicBezTo>
                <a:cubicBezTo>
                  <a:pt x="93" y="125"/>
                  <a:pt x="90" y="126"/>
                  <a:pt x="88" y="126"/>
                </a:cubicBezTo>
                <a:cubicBezTo>
                  <a:pt x="86" y="126"/>
                  <a:pt x="79" y="130"/>
                  <a:pt x="79" y="130"/>
                </a:cubicBezTo>
                <a:cubicBezTo>
                  <a:pt x="78" y="171"/>
                  <a:pt x="78" y="171"/>
                  <a:pt x="78" y="171"/>
                </a:cubicBezTo>
                <a:cubicBezTo>
                  <a:pt x="78" y="171"/>
                  <a:pt x="72" y="172"/>
                  <a:pt x="70" y="171"/>
                </a:cubicBezTo>
                <a:cubicBezTo>
                  <a:pt x="69" y="170"/>
                  <a:pt x="67" y="161"/>
                  <a:pt x="58" y="162"/>
                </a:cubicBezTo>
                <a:cubicBezTo>
                  <a:pt x="55" y="162"/>
                  <a:pt x="49" y="161"/>
                  <a:pt x="49" y="167"/>
                </a:cubicBezTo>
                <a:cubicBezTo>
                  <a:pt x="49" y="170"/>
                  <a:pt x="47" y="170"/>
                  <a:pt x="47" y="170"/>
                </a:cubicBezTo>
                <a:cubicBezTo>
                  <a:pt x="46" y="170"/>
                  <a:pt x="46" y="170"/>
                  <a:pt x="46" y="170"/>
                </a:cubicBezTo>
                <a:cubicBezTo>
                  <a:pt x="47" y="165"/>
                  <a:pt x="48" y="162"/>
                  <a:pt x="50" y="158"/>
                </a:cubicBezTo>
                <a:cubicBezTo>
                  <a:pt x="49" y="158"/>
                  <a:pt x="44" y="157"/>
                  <a:pt x="43" y="157"/>
                </a:cubicBezTo>
                <a:cubicBezTo>
                  <a:pt x="40" y="155"/>
                  <a:pt x="44" y="153"/>
                  <a:pt x="38" y="154"/>
                </a:cubicBezTo>
                <a:cubicBezTo>
                  <a:pt x="37" y="152"/>
                  <a:pt x="38" y="152"/>
                  <a:pt x="38" y="151"/>
                </a:cubicBezTo>
                <a:cubicBezTo>
                  <a:pt x="37" y="150"/>
                  <a:pt x="37" y="150"/>
                  <a:pt x="37" y="150"/>
                </a:cubicBezTo>
                <a:cubicBezTo>
                  <a:pt x="35" y="146"/>
                  <a:pt x="33" y="143"/>
                  <a:pt x="28" y="142"/>
                </a:cubicBezTo>
                <a:cubicBezTo>
                  <a:pt x="28" y="142"/>
                  <a:pt x="29" y="139"/>
                  <a:pt x="30" y="139"/>
                </a:cubicBezTo>
                <a:cubicBezTo>
                  <a:pt x="33" y="140"/>
                  <a:pt x="36" y="140"/>
                  <a:pt x="40" y="140"/>
                </a:cubicBezTo>
                <a:cubicBezTo>
                  <a:pt x="40" y="138"/>
                  <a:pt x="40" y="138"/>
                  <a:pt x="40" y="138"/>
                </a:cubicBezTo>
                <a:cubicBezTo>
                  <a:pt x="39" y="137"/>
                  <a:pt x="37" y="138"/>
                  <a:pt x="36" y="138"/>
                </a:cubicBezTo>
                <a:cubicBezTo>
                  <a:pt x="36" y="137"/>
                  <a:pt x="34" y="134"/>
                  <a:pt x="34" y="134"/>
                </a:cubicBezTo>
                <a:cubicBezTo>
                  <a:pt x="34" y="132"/>
                  <a:pt x="35" y="133"/>
                  <a:pt x="35" y="132"/>
                </a:cubicBezTo>
                <a:cubicBezTo>
                  <a:pt x="35" y="132"/>
                  <a:pt x="37" y="133"/>
                  <a:pt x="37" y="133"/>
                </a:cubicBezTo>
                <a:cubicBezTo>
                  <a:pt x="39" y="133"/>
                  <a:pt x="40" y="132"/>
                  <a:pt x="41" y="132"/>
                </a:cubicBezTo>
                <a:cubicBezTo>
                  <a:pt x="42" y="131"/>
                  <a:pt x="42" y="132"/>
                  <a:pt x="44" y="132"/>
                </a:cubicBezTo>
                <a:cubicBezTo>
                  <a:pt x="43" y="130"/>
                  <a:pt x="44" y="128"/>
                  <a:pt x="44" y="127"/>
                </a:cubicBezTo>
                <a:cubicBezTo>
                  <a:pt x="45" y="127"/>
                  <a:pt x="46" y="127"/>
                  <a:pt x="47" y="127"/>
                </a:cubicBezTo>
                <a:cubicBezTo>
                  <a:pt x="48" y="127"/>
                  <a:pt x="49" y="129"/>
                  <a:pt x="50" y="130"/>
                </a:cubicBezTo>
                <a:cubicBezTo>
                  <a:pt x="51" y="130"/>
                  <a:pt x="55" y="131"/>
                  <a:pt x="57" y="131"/>
                </a:cubicBezTo>
                <a:cubicBezTo>
                  <a:pt x="56" y="132"/>
                  <a:pt x="55" y="133"/>
                  <a:pt x="55" y="134"/>
                </a:cubicBezTo>
                <a:cubicBezTo>
                  <a:pt x="56" y="134"/>
                  <a:pt x="58" y="132"/>
                  <a:pt x="59" y="132"/>
                </a:cubicBezTo>
                <a:cubicBezTo>
                  <a:pt x="60" y="132"/>
                  <a:pt x="60" y="133"/>
                  <a:pt x="61" y="133"/>
                </a:cubicBezTo>
                <a:cubicBezTo>
                  <a:pt x="62" y="133"/>
                  <a:pt x="62" y="132"/>
                  <a:pt x="63" y="132"/>
                </a:cubicBezTo>
                <a:cubicBezTo>
                  <a:pt x="64" y="129"/>
                  <a:pt x="63" y="128"/>
                  <a:pt x="64" y="125"/>
                </a:cubicBezTo>
                <a:cubicBezTo>
                  <a:pt x="64" y="125"/>
                  <a:pt x="62" y="125"/>
                  <a:pt x="62" y="124"/>
                </a:cubicBezTo>
                <a:cubicBezTo>
                  <a:pt x="62" y="124"/>
                  <a:pt x="62" y="123"/>
                  <a:pt x="61" y="122"/>
                </a:cubicBezTo>
                <a:cubicBezTo>
                  <a:pt x="61" y="122"/>
                  <a:pt x="60" y="122"/>
                  <a:pt x="59" y="122"/>
                </a:cubicBezTo>
                <a:cubicBezTo>
                  <a:pt x="59" y="120"/>
                  <a:pt x="59" y="116"/>
                  <a:pt x="58" y="114"/>
                </a:cubicBezTo>
                <a:cubicBezTo>
                  <a:pt x="57" y="113"/>
                  <a:pt x="56" y="114"/>
                  <a:pt x="54" y="114"/>
                </a:cubicBezTo>
                <a:cubicBezTo>
                  <a:pt x="54" y="113"/>
                  <a:pt x="53" y="111"/>
                  <a:pt x="53" y="110"/>
                </a:cubicBezTo>
                <a:cubicBezTo>
                  <a:pt x="52" y="110"/>
                  <a:pt x="52" y="110"/>
                  <a:pt x="51" y="110"/>
                </a:cubicBezTo>
                <a:cubicBezTo>
                  <a:pt x="51" y="110"/>
                  <a:pt x="48" y="106"/>
                  <a:pt x="48" y="106"/>
                </a:cubicBezTo>
                <a:cubicBezTo>
                  <a:pt x="47" y="106"/>
                  <a:pt x="47" y="107"/>
                  <a:pt x="46" y="107"/>
                </a:cubicBezTo>
                <a:cubicBezTo>
                  <a:pt x="45" y="106"/>
                  <a:pt x="45" y="106"/>
                  <a:pt x="45" y="106"/>
                </a:cubicBezTo>
                <a:cubicBezTo>
                  <a:pt x="43" y="106"/>
                  <a:pt x="42" y="105"/>
                  <a:pt x="39" y="106"/>
                </a:cubicBezTo>
                <a:cubicBezTo>
                  <a:pt x="39" y="105"/>
                  <a:pt x="39" y="104"/>
                  <a:pt x="39" y="103"/>
                </a:cubicBezTo>
                <a:cubicBezTo>
                  <a:pt x="38" y="103"/>
                  <a:pt x="37" y="101"/>
                  <a:pt x="36" y="101"/>
                </a:cubicBezTo>
                <a:cubicBezTo>
                  <a:pt x="35" y="101"/>
                  <a:pt x="34" y="101"/>
                  <a:pt x="34" y="101"/>
                </a:cubicBezTo>
                <a:cubicBezTo>
                  <a:pt x="34" y="101"/>
                  <a:pt x="32" y="102"/>
                  <a:pt x="32" y="102"/>
                </a:cubicBezTo>
                <a:cubicBezTo>
                  <a:pt x="32" y="102"/>
                  <a:pt x="33" y="104"/>
                  <a:pt x="32" y="104"/>
                </a:cubicBezTo>
                <a:cubicBezTo>
                  <a:pt x="31" y="106"/>
                  <a:pt x="29" y="106"/>
                  <a:pt x="28" y="107"/>
                </a:cubicBezTo>
                <a:cubicBezTo>
                  <a:pt x="27" y="107"/>
                  <a:pt x="27" y="109"/>
                  <a:pt x="26" y="109"/>
                </a:cubicBezTo>
                <a:cubicBezTo>
                  <a:pt x="25" y="109"/>
                  <a:pt x="23" y="108"/>
                  <a:pt x="21" y="109"/>
                </a:cubicBezTo>
                <a:cubicBezTo>
                  <a:pt x="20" y="109"/>
                  <a:pt x="20" y="111"/>
                  <a:pt x="19" y="112"/>
                </a:cubicBezTo>
                <a:cubicBezTo>
                  <a:pt x="17" y="113"/>
                  <a:pt x="16" y="111"/>
                  <a:pt x="15" y="112"/>
                </a:cubicBezTo>
                <a:cubicBezTo>
                  <a:pt x="15" y="112"/>
                  <a:pt x="13" y="108"/>
                  <a:pt x="14" y="107"/>
                </a:cubicBezTo>
                <a:cubicBezTo>
                  <a:pt x="15" y="106"/>
                  <a:pt x="14" y="103"/>
                  <a:pt x="14" y="103"/>
                </a:cubicBezTo>
                <a:cubicBezTo>
                  <a:pt x="10" y="95"/>
                  <a:pt x="10" y="95"/>
                  <a:pt x="10" y="95"/>
                </a:cubicBezTo>
                <a:cubicBezTo>
                  <a:pt x="10" y="95"/>
                  <a:pt x="6" y="97"/>
                  <a:pt x="6" y="95"/>
                </a:cubicBezTo>
                <a:cubicBezTo>
                  <a:pt x="5" y="93"/>
                  <a:pt x="7" y="89"/>
                  <a:pt x="4" y="88"/>
                </a:cubicBezTo>
                <a:cubicBezTo>
                  <a:pt x="2" y="87"/>
                  <a:pt x="0" y="85"/>
                  <a:pt x="1" y="84"/>
                </a:cubicBezTo>
                <a:cubicBezTo>
                  <a:pt x="3" y="82"/>
                  <a:pt x="5" y="78"/>
                  <a:pt x="5" y="78"/>
                </a:cubicBezTo>
                <a:cubicBezTo>
                  <a:pt x="5" y="78"/>
                  <a:pt x="7" y="77"/>
                  <a:pt x="7" y="75"/>
                </a:cubicBezTo>
                <a:cubicBezTo>
                  <a:pt x="6" y="73"/>
                  <a:pt x="4" y="72"/>
                  <a:pt x="4" y="72"/>
                </a:cubicBezTo>
                <a:cubicBezTo>
                  <a:pt x="4" y="72"/>
                  <a:pt x="8" y="68"/>
                  <a:pt x="7" y="64"/>
                </a:cubicBezTo>
                <a:cubicBezTo>
                  <a:pt x="6" y="63"/>
                  <a:pt x="10" y="64"/>
                  <a:pt x="11" y="62"/>
                </a:cubicBezTo>
                <a:cubicBezTo>
                  <a:pt x="11" y="60"/>
                  <a:pt x="14" y="57"/>
                  <a:pt x="15" y="59"/>
                </a:cubicBezTo>
                <a:cubicBezTo>
                  <a:pt x="16" y="61"/>
                  <a:pt x="18" y="65"/>
                  <a:pt x="18" y="65"/>
                </a:cubicBezTo>
                <a:cubicBezTo>
                  <a:pt x="24" y="62"/>
                  <a:pt x="24" y="62"/>
                  <a:pt x="24" y="62"/>
                </a:cubicBezTo>
                <a:cubicBezTo>
                  <a:pt x="24" y="62"/>
                  <a:pt x="19" y="59"/>
                  <a:pt x="20" y="57"/>
                </a:cubicBezTo>
                <a:cubicBezTo>
                  <a:pt x="20" y="55"/>
                  <a:pt x="20" y="51"/>
                  <a:pt x="22" y="51"/>
                </a:cubicBezTo>
                <a:cubicBezTo>
                  <a:pt x="24" y="51"/>
                  <a:pt x="24" y="47"/>
                  <a:pt x="26" y="48"/>
                </a:cubicBezTo>
                <a:cubicBezTo>
                  <a:pt x="28" y="49"/>
                  <a:pt x="32" y="48"/>
                  <a:pt x="32" y="48"/>
                </a:cubicBezTo>
                <a:cubicBezTo>
                  <a:pt x="32" y="48"/>
                  <a:pt x="38" y="43"/>
                  <a:pt x="39" y="41"/>
                </a:cubicBezTo>
                <a:cubicBezTo>
                  <a:pt x="40" y="39"/>
                  <a:pt x="38" y="38"/>
                  <a:pt x="38" y="38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9"/>
                  <a:pt x="45" y="39"/>
                  <a:pt x="45" y="39"/>
                </a:cubicBezTo>
                <a:cubicBezTo>
                  <a:pt x="50" y="39"/>
                  <a:pt x="50" y="39"/>
                  <a:pt x="50" y="39"/>
                </a:cubicBezTo>
                <a:cubicBezTo>
                  <a:pt x="50" y="39"/>
                  <a:pt x="48" y="37"/>
                  <a:pt x="50" y="37"/>
                </a:cubicBezTo>
                <a:cubicBezTo>
                  <a:pt x="51" y="37"/>
                  <a:pt x="53" y="37"/>
                  <a:pt x="54" y="39"/>
                </a:cubicBezTo>
                <a:cubicBezTo>
                  <a:pt x="55" y="41"/>
                  <a:pt x="55" y="43"/>
                  <a:pt x="55" y="43"/>
                </a:cubicBezTo>
                <a:cubicBezTo>
                  <a:pt x="55" y="43"/>
                  <a:pt x="58" y="43"/>
                  <a:pt x="60" y="44"/>
                </a:cubicBezTo>
                <a:cubicBezTo>
                  <a:pt x="62" y="45"/>
                  <a:pt x="63" y="46"/>
                  <a:pt x="65" y="48"/>
                </a:cubicBezTo>
                <a:cubicBezTo>
                  <a:pt x="66" y="50"/>
                  <a:pt x="66" y="52"/>
                  <a:pt x="68" y="52"/>
                </a:cubicBezTo>
                <a:cubicBezTo>
                  <a:pt x="70" y="52"/>
                  <a:pt x="72" y="51"/>
                  <a:pt x="73" y="53"/>
                </a:cubicBezTo>
                <a:cubicBezTo>
                  <a:pt x="74" y="55"/>
                  <a:pt x="71" y="58"/>
                  <a:pt x="71" y="58"/>
                </a:cubicBezTo>
                <a:cubicBezTo>
                  <a:pt x="76" y="59"/>
                  <a:pt x="76" y="59"/>
                  <a:pt x="76" y="59"/>
                </a:cubicBezTo>
                <a:cubicBezTo>
                  <a:pt x="76" y="59"/>
                  <a:pt x="76" y="53"/>
                  <a:pt x="77" y="53"/>
                </a:cubicBezTo>
                <a:cubicBezTo>
                  <a:pt x="78" y="53"/>
                  <a:pt x="78" y="51"/>
                  <a:pt x="81" y="52"/>
                </a:cubicBezTo>
                <a:cubicBezTo>
                  <a:pt x="85" y="54"/>
                  <a:pt x="87" y="56"/>
                  <a:pt x="89" y="54"/>
                </a:cubicBezTo>
                <a:cubicBezTo>
                  <a:pt x="91" y="53"/>
                  <a:pt x="93" y="51"/>
                  <a:pt x="96" y="50"/>
                </a:cubicBezTo>
                <a:cubicBezTo>
                  <a:pt x="99" y="49"/>
                  <a:pt x="99" y="53"/>
                  <a:pt x="101" y="53"/>
                </a:cubicBezTo>
                <a:cubicBezTo>
                  <a:pt x="103" y="52"/>
                  <a:pt x="102" y="50"/>
                  <a:pt x="104" y="52"/>
                </a:cubicBezTo>
                <a:cubicBezTo>
                  <a:pt x="106" y="53"/>
                  <a:pt x="109" y="58"/>
                  <a:pt x="109" y="58"/>
                </a:cubicBezTo>
                <a:cubicBezTo>
                  <a:pt x="114" y="60"/>
                  <a:pt x="114" y="60"/>
                  <a:pt x="114" y="60"/>
                </a:cubicBezTo>
                <a:cubicBezTo>
                  <a:pt x="118" y="60"/>
                  <a:pt x="118" y="60"/>
                  <a:pt x="118" y="60"/>
                </a:cubicBezTo>
                <a:cubicBezTo>
                  <a:pt x="118" y="60"/>
                  <a:pt x="122" y="58"/>
                  <a:pt x="122" y="54"/>
                </a:cubicBezTo>
                <a:cubicBezTo>
                  <a:pt x="119" y="52"/>
                  <a:pt x="116" y="51"/>
                  <a:pt x="116" y="51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6" y="39"/>
                  <a:pt x="116" y="39"/>
                  <a:pt x="116" y="39"/>
                </a:cubicBezTo>
                <a:cubicBezTo>
                  <a:pt x="112" y="34"/>
                  <a:pt x="112" y="34"/>
                  <a:pt x="112" y="34"/>
                </a:cubicBezTo>
                <a:cubicBezTo>
                  <a:pt x="112" y="30"/>
                  <a:pt x="112" y="30"/>
                  <a:pt x="112" y="30"/>
                </a:cubicBezTo>
                <a:cubicBezTo>
                  <a:pt x="113" y="26"/>
                  <a:pt x="113" y="26"/>
                  <a:pt x="113" y="26"/>
                </a:cubicBezTo>
                <a:cubicBezTo>
                  <a:pt x="113" y="21"/>
                  <a:pt x="113" y="21"/>
                  <a:pt x="113" y="21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7" y="10"/>
                  <a:pt x="117" y="10"/>
                  <a:pt x="117" y="10"/>
                </a:cubicBezTo>
                <a:cubicBezTo>
                  <a:pt x="121" y="8"/>
                  <a:pt x="121" y="8"/>
                  <a:pt x="121" y="8"/>
                </a:cubicBezTo>
                <a:cubicBezTo>
                  <a:pt x="125" y="10"/>
                  <a:pt x="125" y="10"/>
                  <a:pt x="125" y="10"/>
                </a:cubicBezTo>
                <a:cubicBezTo>
                  <a:pt x="131" y="10"/>
                  <a:pt x="131" y="10"/>
                  <a:pt x="131" y="10"/>
                </a:cubicBezTo>
                <a:cubicBezTo>
                  <a:pt x="134" y="12"/>
                  <a:pt x="134" y="12"/>
                  <a:pt x="134" y="12"/>
                </a:cubicBezTo>
                <a:cubicBezTo>
                  <a:pt x="142" y="11"/>
                  <a:pt x="142" y="11"/>
                  <a:pt x="142" y="11"/>
                </a:cubicBezTo>
                <a:cubicBezTo>
                  <a:pt x="148" y="9"/>
                  <a:pt x="148" y="9"/>
                  <a:pt x="148" y="9"/>
                </a:cubicBezTo>
                <a:cubicBezTo>
                  <a:pt x="157" y="9"/>
                  <a:pt x="157" y="9"/>
                  <a:pt x="157" y="9"/>
                </a:cubicBezTo>
                <a:cubicBezTo>
                  <a:pt x="165" y="7"/>
                  <a:pt x="165" y="7"/>
                  <a:pt x="165" y="7"/>
                </a:cubicBezTo>
                <a:cubicBezTo>
                  <a:pt x="168" y="7"/>
                  <a:pt x="168" y="7"/>
                  <a:pt x="168" y="7"/>
                </a:cubicBezTo>
                <a:cubicBezTo>
                  <a:pt x="176" y="2"/>
                  <a:pt x="176" y="2"/>
                  <a:pt x="176" y="2"/>
                </a:cubicBezTo>
                <a:cubicBezTo>
                  <a:pt x="182" y="0"/>
                  <a:pt x="182" y="0"/>
                  <a:pt x="182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8" y="2"/>
                  <a:pt x="188" y="2"/>
                  <a:pt x="188" y="2"/>
                </a:cubicBezTo>
                <a:cubicBezTo>
                  <a:pt x="191" y="3"/>
                  <a:pt x="191" y="3"/>
                  <a:pt x="191" y="3"/>
                </a:cubicBezTo>
                <a:cubicBezTo>
                  <a:pt x="191" y="6"/>
                  <a:pt x="191" y="6"/>
                  <a:pt x="191" y="6"/>
                </a:cubicBezTo>
                <a:cubicBezTo>
                  <a:pt x="190" y="10"/>
                  <a:pt x="190" y="10"/>
                  <a:pt x="190" y="10"/>
                </a:cubicBezTo>
                <a:cubicBezTo>
                  <a:pt x="193" y="10"/>
                  <a:pt x="193" y="10"/>
                  <a:pt x="193" y="10"/>
                </a:cubicBezTo>
                <a:cubicBezTo>
                  <a:pt x="197" y="15"/>
                  <a:pt x="197" y="15"/>
                  <a:pt x="197" y="15"/>
                </a:cubicBezTo>
                <a:cubicBezTo>
                  <a:pt x="200" y="13"/>
                  <a:pt x="200" y="13"/>
                  <a:pt x="200" y="13"/>
                </a:cubicBezTo>
                <a:cubicBezTo>
                  <a:pt x="204" y="9"/>
                  <a:pt x="204" y="9"/>
                  <a:pt x="204" y="9"/>
                </a:cubicBezTo>
                <a:cubicBezTo>
                  <a:pt x="210" y="12"/>
                  <a:pt x="210" y="12"/>
                  <a:pt x="210" y="12"/>
                </a:cubicBezTo>
                <a:cubicBezTo>
                  <a:pt x="211" y="14"/>
                  <a:pt x="211" y="14"/>
                  <a:pt x="211" y="14"/>
                </a:cubicBezTo>
                <a:cubicBezTo>
                  <a:pt x="214" y="12"/>
                  <a:pt x="214" y="12"/>
                  <a:pt x="214" y="12"/>
                </a:cubicBezTo>
                <a:cubicBezTo>
                  <a:pt x="214" y="12"/>
                  <a:pt x="216" y="11"/>
                  <a:pt x="217" y="14"/>
                </a:cubicBezTo>
                <a:cubicBezTo>
                  <a:pt x="218" y="17"/>
                  <a:pt x="217" y="17"/>
                  <a:pt x="217" y="17"/>
                </a:cubicBezTo>
                <a:cubicBezTo>
                  <a:pt x="225" y="18"/>
                  <a:pt x="225" y="18"/>
                  <a:pt x="225" y="18"/>
                </a:cubicBezTo>
                <a:cubicBezTo>
                  <a:pt x="232" y="15"/>
                  <a:pt x="232" y="15"/>
                  <a:pt x="232" y="15"/>
                </a:cubicBezTo>
                <a:cubicBezTo>
                  <a:pt x="240" y="11"/>
                  <a:pt x="240" y="11"/>
                  <a:pt x="240" y="11"/>
                </a:cubicBezTo>
                <a:cubicBezTo>
                  <a:pt x="247" y="8"/>
                  <a:pt x="247" y="8"/>
                  <a:pt x="247" y="8"/>
                </a:cubicBezTo>
                <a:cubicBezTo>
                  <a:pt x="254" y="7"/>
                  <a:pt x="254" y="7"/>
                  <a:pt x="254" y="7"/>
                </a:cubicBezTo>
                <a:cubicBezTo>
                  <a:pt x="255" y="8"/>
                  <a:pt x="255" y="8"/>
                  <a:pt x="255" y="8"/>
                </a:cubicBezTo>
                <a:cubicBezTo>
                  <a:pt x="255" y="13"/>
                  <a:pt x="255" y="13"/>
                  <a:pt x="255" y="13"/>
                </a:cubicBezTo>
                <a:cubicBezTo>
                  <a:pt x="261" y="22"/>
                  <a:pt x="261" y="22"/>
                  <a:pt x="261" y="22"/>
                </a:cubicBezTo>
                <a:cubicBezTo>
                  <a:pt x="267" y="37"/>
                  <a:pt x="267" y="37"/>
                  <a:pt x="267" y="37"/>
                </a:cubicBezTo>
                <a:cubicBezTo>
                  <a:pt x="272" y="47"/>
                  <a:pt x="272" y="47"/>
                  <a:pt x="272" y="47"/>
                </a:cubicBezTo>
                <a:cubicBezTo>
                  <a:pt x="272" y="47"/>
                  <a:pt x="275" y="53"/>
                  <a:pt x="278" y="53"/>
                </a:cubicBezTo>
                <a:cubicBezTo>
                  <a:pt x="280" y="53"/>
                  <a:pt x="286" y="51"/>
                  <a:pt x="286" y="51"/>
                </a:cubicBezTo>
                <a:cubicBezTo>
                  <a:pt x="295" y="51"/>
                  <a:pt x="295" y="51"/>
                  <a:pt x="295" y="51"/>
                </a:cubicBezTo>
                <a:cubicBezTo>
                  <a:pt x="298" y="51"/>
                  <a:pt x="303" y="58"/>
                  <a:pt x="303" y="58"/>
                </a:cubicBezTo>
                <a:cubicBezTo>
                  <a:pt x="305" y="64"/>
                  <a:pt x="305" y="64"/>
                  <a:pt x="305" y="64"/>
                </a:cubicBezTo>
                <a:cubicBezTo>
                  <a:pt x="307" y="70"/>
                  <a:pt x="307" y="70"/>
                  <a:pt x="307" y="70"/>
                </a:cubicBezTo>
                <a:cubicBezTo>
                  <a:pt x="308" y="73"/>
                  <a:pt x="308" y="73"/>
                  <a:pt x="308" y="73"/>
                </a:cubicBezTo>
                <a:cubicBezTo>
                  <a:pt x="313" y="75"/>
                  <a:pt x="313" y="75"/>
                  <a:pt x="313" y="75"/>
                </a:cubicBezTo>
                <a:cubicBezTo>
                  <a:pt x="319" y="74"/>
                  <a:pt x="319" y="74"/>
                  <a:pt x="319" y="74"/>
                </a:cubicBezTo>
                <a:cubicBezTo>
                  <a:pt x="330" y="69"/>
                  <a:pt x="330" y="69"/>
                  <a:pt x="330" y="69"/>
                </a:cubicBezTo>
                <a:cubicBezTo>
                  <a:pt x="336" y="68"/>
                  <a:pt x="336" y="68"/>
                  <a:pt x="336" y="68"/>
                </a:cubicBezTo>
                <a:cubicBezTo>
                  <a:pt x="341" y="68"/>
                  <a:pt x="341" y="68"/>
                  <a:pt x="341" y="68"/>
                </a:cubicBezTo>
                <a:cubicBezTo>
                  <a:pt x="343" y="72"/>
                  <a:pt x="343" y="72"/>
                  <a:pt x="343" y="72"/>
                </a:cubicBezTo>
                <a:cubicBezTo>
                  <a:pt x="346" y="76"/>
                  <a:pt x="346" y="76"/>
                  <a:pt x="346" y="76"/>
                </a:cubicBezTo>
                <a:cubicBezTo>
                  <a:pt x="348" y="78"/>
                  <a:pt x="348" y="78"/>
                  <a:pt x="348" y="78"/>
                </a:cubicBezTo>
                <a:cubicBezTo>
                  <a:pt x="354" y="79"/>
                  <a:pt x="354" y="79"/>
                  <a:pt x="354" y="79"/>
                </a:cubicBezTo>
                <a:lnTo>
                  <a:pt x="354" y="80"/>
                </a:lnTo>
                <a:close/>
                <a:moveTo>
                  <a:pt x="54" y="134"/>
                </a:moveTo>
                <a:cubicBezTo>
                  <a:pt x="55" y="134"/>
                  <a:pt x="52" y="138"/>
                  <a:pt x="52" y="139"/>
                </a:cubicBezTo>
                <a:cubicBezTo>
                  <a:pt x="48" y="143"/>
                  <a:pt x="49" y="141"/>
                  <a:pt x="45" y="139"/>
                </a:cubicBezTo>
                <a:cubicBezTo>
                  <a:pt x="51" y="139"/>
                  <a:pt x="50" y="137"/>
                  <a:pt x="54" y="134"/>
                </a:cubicBezTo>
                <a:close/>
                <a:moveTo>
                  <a:pt x="118" y="116"/>
                </a:moveTo>
                <a:cubicBezTo>
                  <a:pt x="118" y="117"/>
                  <a:pt x="118" y="117"/>
                  <a:pt x="118" y="117"/>
                </a:cubicBezTo>
                <a:cubicBezTo>
                  <a:pt x="121" y="117"/>
                  <a:pt x="120" y="116"/>
                  <a:pt x="118" y="116"/>
                </a:cubicBezTo>
                <a:close/>
                <a:moveTo>
                  <a:pt x="283" y="98"/>
                </a:moveTo>
                <a:cubicBezTo>
                  <a:pt x="283" y="98"/>
                  <a:pt x="284" y="101"/>
                  <a:pt x="284" y="101"/>
                </a:cubicBezTo>
                <a:cubicBezTo>
                  <a:pt x="284" y="102"/>
                  <a:pt x="282" y="102"/>
                  <a:pt x="281" y="102"/>
                </a:cubicBezTo>
                <a:cubicBezTo>
                  <a:pt x="281" y="103"/>
                  <a:pt x="281" y="104"/>
                  <a:pt x="281" y="105"/>
                </a:cubicBezTo>
                <a:cubicBezTo>
                  <a:pt x="279" y="105"/>
                  <a:pt x="278" y="106"/>
                  <a:pt x="276" y="106"/>
                </a:cubicBezTo>
                <a:cubicBezTo>
                  <a:pt x="276" y="106"/>
                  <a:pt x="276" y="108"/>
                  <a:pt x="276" y="108"/>
                </a:cubicBezTo>
                <a:cubicBezTo>
                  <a:pt x="274" y="109"/>
                  <a:pt x="272" y="107"/>
                  <a:pt x="272" y="107"/>
                </a:cubicBezTo>
                <a:cubicBezTo>
                  <a:pt x="269" y="107"/>
                  <a:pt x="264" y="109"/>
                  <a:pt x="262" y="108"/>
                </a:cubicBezTo>
                <a:cubicBezTo>
                  <a:pt x="261" y="108"/>
                  <a:pt x="257" y="105"/>
                  <a:pt x="255" y="107"/>
                </a:cubicBezTo>
                <a:cubicBezTo>
                  <a:pt x="254" y="108"/>
                  <a:pt x="256" y="108"/>
                  <a:pt x="254" y="108"/>
                </a:cubicBezTo>
                <a:cubicBezTo>
                  <a:pt x="254" y="108"/>
                  <a:pt x="254" y="106"/>
                  <a:pt x="254" y="106"/>
                </a:cubicBezTo>
                <a:cubicBezTo>
                  <a:pt x="254" y="106"/>
                  <a:pt x="252" y="106"/>
                  <a:pt x="252" y="106"/>
                </a:cubicBezTo>
                <a:cubicBezTo>
                  <a:pt x="251" y="107"/>
                  <a:pt x="252" y="108"/>
                  <a:pt x="252" y="109"/>
                </a:cubicBezTo>
                <a:cubicBezTo>
                  <a:pt x="251" y="109"/>
                  <a:pt x="249" y="111"/>
                  <a:pt x="249" y="111"/>
                </a:cubicBezTo>
                <a:cubicBezTo>
                  <a:pt x="248" y="111"/>
                  <a:pt x="246" y="110"/>
                  <a:pt x="244" y="111"/>
                </a:cubicBezTo>
                <a:cubicBezTo>
                  <a:pt x="244" y="111"/>
                  <a:pt x="240" y="116"/>
                  <a:pt x="240" y="116"/>
                </a:cubicBezTo>
                <a:cubicBezTo>
                  <a:pt x="239" y="117"/>
                  <a:pt x="238" y="116"/>
                  <a:pt x="236" y="117"/>
                </a:cubicBezTo>
                <a:cubicBezTo>
                  <a:pt x="236" y="117"/>
                  <a:pt x="233" y="121"/>
                  <a:pt x="232" y="122"/>
                </a:cubicBezTo>
                <a:cubicBezTo>
                  <a:pt x="231" y="122"/>
                  <a:pt x="231" y="122"/>
                  <a:pt x="231" y="122"/>
                </a:cubicBezTo>
                <a:cubicBezTo>
                  <a:pt x="230" y="124"/>
                  <a:pt x="230" y="125"/>
                  <a:pt x="230" y="126"/>
                </a:cubicBezTo>
                <a:cubicBezTo>
                  <a:pt x="229" y="126"/>
                  <a:pt x="229" y="126"/>
                  <a:pt x="229" y="126"/>
                </a:cubicBezTo>
                <a:cubicBezTo>
                  <a:pt x="229" y="128"/>
                  <a:pt x="230" y="129"/>
                  <a:pt x="230" y="130"/>
                </a:cubicBezTo>
                <a:cubicBezTo>
                  <a:pt x="230" y="130"/>
                  <a:pt x="231" y="129"/>
                  <a:pt x="232" y="130"/>
                </a:cubicBezTo>
                <a:cubicBezTo>
                  <a:pt x="232" y="130"/>
                  <a:pt x="231" y="131"/>
                  <a:pt x="232" y="132"/>
                </a:cubicBezTo>
                <a:cubicBezTo>
                  <a:pt x="230" y="131"/>
                  <a:pt x="228" y="130"/>
                  <a:pt x="226" y="129"/>
                </a:cubicBezTo>
                <a:cubicBezTo>
                  <a:pt x="226" y="129"/>
                  <a:pt x="228" y="123"/>
                  <a:pt x="226" y="124"/>
                </a:cubicBezTo>
                <a:cubicBezTo>
                  <a:pt x="226" y="123"/>
                  <a:pt x="226" y="123"/>
                  <a:pt x="226" y="123"/>
                </a:cubicBezTo>
                <a:cubicBezTo>
                  <a:pt x="226" y="123"/>
                  <a:pt x="224" y="123"/>
                  <a:pt x="224" y="123"/>
                </a:cubicBezTo>
                <a:cubicBezTo>
                  <a:pt x="224" y="122"/>
                  <a:pt x="223" y="122"/>
                  <a:pt x="223" y="120"/>
                </a:cubicBezTo>
                <a:cubicBezTo>
                  <a:pt x="224" y="117"/>
                  <a:pt x="226" y="118"/>
                  <a:pt x="228" y="117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9" y="114"/>
                  <a:pt x="231" y="112"/>
                  <a:pt x="232" y="111"/>
                </a:cubicBezTo>
                <a:cubicBezTo>
                  <a:pt x="232" y="111"/>
                  <a:pt x="233" y="112"/>
                  <a:pt x="234" y="112"/>
                </a:cubicBezTo>
                <a:cubicBezTo>
                  <a:pt x="234" y="111"/>
                  <a:pt x="234" y="109"/>
                  <a:pt x="235" y="108"/>
                </a:cubicBezTo>
                <a:cubicBezTo>
                  <a:pt x="236" y="107"/>
                  <a:pt x="238" y="108"/>
                  <a:pt x="239" y="107"/>
                </a:cubicBezTo>
                <a:cubicBezTo>
                  <a:pt x="239" y="107"/>
                  <a:pt x="240" y="105"/>
                  <a:pt x="240" y="104"/>
                </a:cubicBezTo>
                <a:cubicBezTo>
                  <a:pt x="244" y="103"/>
                  <a:pt x="247" y="105"/>
                  <a:pt x="250" y="104"/>
                </a:cubicBezTo>
                <a:cubicBezTo>
                  <a:pt x="252" y="103"/>
                  <a:pt x="252" y="103"/>
                  <a:pt x="252" y="103"/>
                </a:cubicBezTo>
                <a:cubicBezTo>
                  <a:pt x="252" y="103"/>
                  <a:pt x="258" y="103"/>
                  <a:pt x="258" y="103"/>
                </a:cubicBezTo>
                <a:cubicBezTo>
                  <a:pt x="258" y="104"/>
                  <a:pt x="258" y="104"/>
                  <a:pt x="258" y="104"/>
                </a:cubicBezTo>
                <a:cubicBezTo>
                  <a:pt x="260" y="104"/>
                  <a:pt x="260" y="103"/>
                  <a:pt x="262" y="104"/>
                </a:cubicBezTo>
                <a:cubicBezTo>
                  <a:pt x="262" y="104"/>
                  <a:pt x="264" y="106"/>
                  <a:pt x="264" y="106"/>
                </a:cubicBezTo>
                <a:cubicBezTo>
                  <a:pt x="267" y="106"/>
                  <a:pt x="269" y="104"/>
                  <a:pt x="270" y="104"/>
                </a:cubicBezTo>
                <a:cubicBezTo>
                  <a:pt x="275" y="106"/>
                  <a:pt x="275" y="106"/>
                  <a:pt x="275" y="106"/>
                </a:cubicBezTo>
                <a:cubicBezTo>
                  <a:pt x="278" y="100"/>
                  <a:pt x="278" y="101"/>
                  <a:pt x="283" y="9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0" name="Google Shape;520;p102"/>
          <p:cNvSpPr/>
          <p:nvPr/>
        </p:nvSpPr>
        <p:spPr>
          <a:xfrm>
            <a:off x="7110503" y="3704218"/>
            <a:ext cx="114433" cy="129975"/>
          </a:xfrm>
          <a:custGeom>
            <a:avLst/>
            <a:gdLst/>
            <a:ahLst/>
            <a:cxnLst/>
            <a:rect l="l" t="t" r="r" b="b"/>
            <a:pathLst>
              <a:path w="40" h="47" extrusionOk="0">
                <a:moveTo>
                  <a:pt x="8" y="16"/>
                </a:moveTo>
                <a:cubicBezTo>
                  <a:pt x="8" y="15"/>
                  <a:pt x="8" y="15"/>
                  <a:pt x="8" y="14"/>
                </a:cubicBezTo>
                <a:cubicBezTo>
                  <a:pt x="9" y="16"/>
                  <a:pt x="10" y="10"/>
                  <a:pt x="10" y="10"/>
                </a:cubicBezTo>
                <a:cubicBezTo>
                  <a:pt x="11" y="9"/>
                  <a:pt x="14" y="7"/>
                  <a:pt x="15" y="8"/>
                </a:cubicBezTo>
                <a:cubicBezTo>
                  <a:pt x="16" y="10"/>
                  <a:pt x="22" y="10"/>
                  <a:pt x="22" y="10"/>
                </a:cubicBezTo>
                <a:cubicBezTo>
                  <a:pt x="35" y="0"/>
                  <a:pt x="35" y="0"/>
                  <a:pt x="35" y="0"/>
                </a:cubicBezTo>
                <a:cubicBezTo>
                  <a:pt x="40" y="15"/>
                  <a:pt x="40" y="15"/>
                  <a:pt x="40" y="15"/>
                </a:cubicBezTo>
                <a:cubicBezTo>
                  <a:pt x="40" y="17"/>
                  <a:pt x="40" y="17"/>
                  <a:pt x="40" y="17"/>
                </a:cubicBezTo>
                <a:cubicBezTo>
                  <a:pt x="22" y="22"/>
                  <a:pt x="22" y="22"/>
                  <a:pt x="22" y="22"/>
                </a:cubicBezTo>
                <a:cubicBezTo>
                  <a:pt x="28" y="30"/>
                  <a:pt x="28" y="30"/>
                  <a:pt x="28" y="30"/>
                </a:cubicBezTo>
                <a:cubicBezTo>
                  <a:pt x="28" y="30"/>
                  <a:pt x="24" y="32"/>
                  <a:pt x="23" y="34"/>
                </a:cubicBezTo>
                <a:cubicBezTo>
                  <a:pt x="23" y="37"/>
                  <a:pt x="21" y="36"/>
                  <a:pt x="20" y="38"/>
                </a:cubicBezTo>
                <a:cubicBezTo>
                  <a:pt x="19" y="40"/>
                  <a:pt x="17" y="42"/>
                  <a:pt x="17" y="42"/>
                </a:cubicBezTo>
                <a:cubicBezTo>
                  <a:pt x="11" y="46"/>
                  <a:pt x="11" y="46"/>
                  <a:pt x="11" y="46"/>
                </a:cubicBezTo>
                <a:cubicBezTo>
                  <a:pt x="1" y="46"/>
                  <a:pt x="1" y="46"/>
                  <a:pt x="1" y="46"/>
                </a:cubicBezTo>
                <a:cubicBezTo>
                  <a:pt x="1" y="47"/>
                  <a:pt x="0" y="45"/>
                  <a:pt x="0" y="45"/>
                </a:cubicBezTo>
                <a:cubicBezTo>
                  <a:pt x="0" y="45"/>
                  <a:pt x="7" y="37"/>
                  <a:pt x="7" y="35"/>
                </a:cubicBezTo>
                <a:cubicBezTo>
                  <a:pt x="6" y="30"/>
                  <a:pt x="9" y="24"/>
                  <a:pt x="9" y="24"/>
                </a:cubicBezTo>
                <a:cubicBezTo>
                  <a:pt x="9" y="24"/>
                  <a:pt x="8" y="22"/>
                  <a:pt x="8" y="20"/>
                </a:cubicBezTo>
                <a:cubicBezTo>
                  <a:pt x="8" y="20"/>
                  <a:pt x="8" y="20"/>
                  <a:pt x="8" y="20"/>
                </a:cubicBezTo>
                <a:cubicBezTo>
                  <a:pt x="9" y="20"/>
                  <a:pt x="9" y="19"/>
                  <a:pt x="9" y="19"/>
                </a:cubicBezTo>
                <a:cubicBezTo>
                  <a:pt x="9" y="19"/>
                  <a:pt x="8" y="17"/>
                  <a:pt x="8" y="16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1" name="Google Shape;521;p102"/>
          <p:cNvSpPr/>
          <p:nvPr/>
        </p:nvSpPr>
        <p:spPr>
          <a:xfrm>
            <a:off x="9391831" y="3291689"/>
            <a:ext cx="465068" cy="623032"/>
          </a:xfrm>
          <a:custGeom>
            <a:avLst/>
            <a:gdLst/>
            <a:ahLst/>
            <a:cxnLst/>
            <a:rect l="l" t="t" r="r" b="b"/>
            <a:pathLst>
              <a:path w="162" h="225" extrusionOk="0">
                <a:moveTo>
                  <a:pt x="9" y="220"/>
                </a:moveTo>
                <a:cubicBezTo>
                  <a:pt x="6" y="222"/>
                  <a:pt x="7" y="223"/>
                  <a:pt x="6" y="224"/>
                </a:cubicBezTo>
                <a:cubicBezTo>
                  <a:pt x="6" y="224"/>
                  <a:pt x="5" y="225"/>
                  <a:pt x="7" y="224"/>
                </a:cubicBezTo>
                <a:cubicBezTo>
                  <a:pt x="8" y="224"/>
                  <a:pt x="9" y="221"/>
                  <a:pt x="10" y="220"/>
                </a:cubicBezTo>
                <a:lnTo>
                  <a:pt x="9" y="220"/>
                </a:lnTo>
                <a:close/>
                <a:moveTo>
                  <a:pt x="0" y="218"/>
                </a:moveTo>
                <a:cubicBezTo>
                  <a:pt x="0" y="218"/>
                  <a:pt x="0" y="220"/>
                  <a:pt x="0" y="220"/>
                </a:cubicBezTo>
                <a:cubicBezTo>
                  <a:pt x="0" y="220"/>
                  <a:pt x="1" y="221"/>
                  <a:pt x="1" y="221"/>
                </a:cubicBezTo>
                <a:cubicBezTo>
                  <a:pt x="1" y="219"/>
                  <a:pt x="2" y="219"/>
                  <a:pt x="0" y="218"/>
                </a:cubicBezTo>
                <a:close/>
                <a:moveTo>
                  <a:pt x="33" y="179"/>
                </a:moveTo>
                <a:cubicBezTo>
                  <a:pt x="33" y="179"/>
                  <a:pt x="31" y="183"/>
                  <a:pt x="33" y="182"/>
                </a:cubicBezTo>
                <a:cubicBezTo>
                  <a:pt x="34" y="182"/>
                  <a:pt x="35" y="178"/>
                  <a:pt x="33" y="179"/>
                </a:cubicBezTo>
                <a:close/>
                <a:moveTo>
                  <a:pt x="30" y="140"/>
                </a:moveTo>
                <a:cubicBezTo>
                  <a:pt x="29" y="140"/>
                  <a:pt x="30" y="143"/>
                  <a:pt x="29" y="143"/>
                </a:cubicBezTo>
                <a:cubicBezTo>
                  <a:pt x="28" y="144"/>
                  <a:pt x="28" y="142"/>
                  <a:pt x="27" y="143"/>
                </a:cubicBezTo>
                <a:cubicBezTo>
                  <a:pt x="26" y="143"/>
                  <a:pt x="26" y="145"/>
                  <a:pt x="26" y="145"/>
                </a:cubicBezTo>
                <a:cubicBezTo>
                  <a:pt x="24" y="145"/>
                  <a:pt x="25" y="146"/>
                  <a:pt x="24" y="146"/>
                </a:cubicBezTo>
                <a:cubicBezTo>
                  <a:pt x="23" y="146"/>
                  <a:pt x="23" y="144"/>
                  <a:pt x="22" y="145"/>
                </a:cubicBezTo>
                <a:cubicBezTo>
                  <a:pt x="22" y="145"/>
                  <a:pt x="21" y="148"/>
                  <a:pt x="22" y="150"/>
                </a:cubicBezTo>
                <a:cubicBezTo>
                  <a:pt x="23" y="151"/>
                  <a:pt x="25" y="151"/>
                  <a:pt x="25" y="153"/>
                </a:cubicBezTo>
                <a:cubicBezTo>
                  <a:pt x="26" y="154"/>
                  <a:pt x="24" y="157"/>
                  <a:pt x="24" y="155"/>
                </a:cubicBezTo>
                <a:cubicBezTo>
                  <a:pt x="24" y="153"/>
                  <a:pt x="24" y="153"/>
                  <a:pt x="24" y="153"/>
                </a:cubicBezTo>
                <a:cubicBezTo>
                  <a:pt x="22" y="154"/>
                  <a:pt x="21" y="153"/>
                  <a:pt x="23" y="155"/>
                </a:cubicBezTo>
                <a:cubicBezTo>
                  <a:pt x="24" y="157"/>
                  <a:pt x="24" y="157"/>
                  <a:pt x="24" y="157"/>
                </a:cubicBezTo>
                <a:cubicBezTo>
                  <a:pt x="24" y="157"/>
                  <a:pt x="24" y="158"/>
                  <a:pt x="25" y="159"/>
                </a:cubicBezTo>
                <a:cubicBezTo>
                  <a:pt x="26" y="158"/>
                  <a:pt x="26" y="158"/>
                  <a:pt x="27" y="157"/>
                </a:cubicBezTo>
                <a:cubicBezTo>
                  <a:pt x="27" y="158"/>
                  <a:pt x="27" y="159"/>
                  <a:pt x="29" y="159"/>
                </a:cubicBezTo>
                <a:cubicBezTo>
                  <a:pt x="29" y="158"/>
                  <a:pt x="29" y="157"/>
                  <a:pt x="30" y="157"/>
                </a:cubicBezTo>
                <a:cubicBezTo>
                  <a:pt x="29" y="155"/>
                  <a:pt x="29" y="153"/>
                  <a:pt x="28" y="151"/>
                </a:cubicBezTo>
                <a:cubicBezTo>
                  <a:pt x="28" y="151"/>
                  <a:pt x="29" y="151"/>
                  <a:pt x="30" y="151"/>
                </a:cubicBezTo>
                <a:cubicBezTo>
                  <a:pt x="30" y="152"/>
                  <a:pt x="30" y="154"/>
                  <a:pt x="31" y="155"/>
                </a:cubicBezTo>
                <a:cubicBezTo>
                  <a:pt x="32" y="156"/>
                  <a:pt x="31" y="157"/>
                  <a:pt x="31" y="157"/>
                </a:cubicBezTo>
                <a:cubicBezTo>
                  <a:pt x="29" y="160"/>
                  <a:pt x="29" y="160"/>
                  <a:pt x="26" y="161"/>
                </a:cubicBezTo>
                <a:cubicBezTo>
                  <a:pt x="26" y="163"/>
                  <a:pt x="25" y="165"/>
                  <a:pt x="25" y="166"/>
                </a:cubicBezTo>
                <a:cubicBezTo>
                  <a:pt x="25" y="167"/>
                  <a:pt x="26" y="168"/>
                  <a:pt x="26" y="167"/>
                </a:cubicBezTo>
                <a:cubicBezTo>
                  <a:pt x="26" y="167"/>
                  <a:pt x="25" y="168"/>
                  <a:pt x="25" y="168"/>
                </a:cubicBezTo>
                <a:cubicBezTo>
                  <a:pt x="25" y="170"/>
                  <a:pt x="25" y="170"/>
                  <a:pt x="25" y="170"/>
                </a:cubicBezTo>
                <a:cubicBezTo>
                  <a:pt x="27" y="170"/>
                  <a:pt x="28" y="171"/>
                  <a:pt x="28" y="171"/>
                </a:cubicBezTo>
                <a:cubicBezTo>
                  <a:pt x="28" y="171"/>
                  <a:pt x="28" y="170"/>
                  <a:pt x="29" y="167"/>
                </a:cubicBezTo>
                <a:cubicBezTo>
                  <a:pt x="29" y="165"/>
                  <a:pt x="31" y="168"/>
                  <a:pt x="31" y="168"/>
                </a:cubicBezTo>
                <a:cubicBezTo>
                  <a:pt x="29" y="167"/>
                  <a:pt x="30" y="173"/>
                  <a:pt x="30" y="174"/>
                </a:cubicBezTo>
                <a:cubicBezTo>
                  <a:pt x="30" y="174"/>
                  <a:pt x="32" y="174"/>
                  <a:pt x="32" y="174"/>
                </a:cubicBezTo>
                <a:cubicBezTo>
                  <a:pt x="33" y="173"/>
                  <a:pt x="34" y="171"/>
                  <a:pt x="35" y="170"/>
                </a:cubicBezTo>
                <a:cubicBezTo>
                  <a:pt x="34" y="170"/>
                  <a:pt x="33" y="171"/>
                  <a:pt x="34" y="170"/>
                </a:cubicBezTo>
                <a:cubicBezTo>
                  <a:pt x="34" y="169"/>
                  <a:pt x="36" y="168"/>
                  <a:pt x="36" y="168"/>
                </a:cubicBezTo>
                <a:cubicBezTo>
                  <a:pt x="37" y="165"/>
                  <a:pt x="36" y="163"/>
                  <a:pt x="37" y="161"/>
                </a:cubicBezTo>
                <a:cubicBezTo>
                  <a:pt x="38" y="158"/>
                  <a:pt x="40" y="155"/>
                  <a:pt x="42" y="153"/>
                </a:cubicBezTo>
                <a:cubicBezTo>
                  <a:pt x="42" y="152"/>
                  <a:pt x="40" y="152"/>
                  <a:pt x="40" y="152"/>
                </a:cubicBezTo>
                <a:cubicBezTo>
                  <a:pt x="39" y="151"/>
                  <a:pt x="39" y="150"/>
                  <a:pt x="39" y="149"/>
                </a:cubicBezTo>
                <a:cubicBezTo>
                  <a:pt x="37" y="150"/>
                  <a:pt x="38" y="146"/>
                  <a:pt x="38" y="144"/>
                </a:cubicBezTo>
                <a:cubicBezTo>
                  <a:pt x="38" y="144"/>
                  <a:pt x="35" y="144"/>
                  <a:pt x="34" y="144"/>
                </a:cubicBezTo>
                <a:cubicBezTo>
                  <a:pt x="33" y="143"/>
                  <a:pt x="34" y="141"/>
                  <a:pt x="35" y="141"/>
                </a:cubicBezTo>
                <a:cubicBezTo>
                  <a:pt x="33" y="140"/>
                  <a:pt x="31" y="140"/>
                  <a:pt x="30" y="140"/>
                </a:cubicBezTo>
                <a:close/>
                <a:moveTo>
                  <a:pt x="63" y="137"/>
                </a:moveTo>
                <a:cubicBezTo>
                  <a:pt x="63" y="138"/>
                  <a:pt x="63" y="138"/>
                  <a:pt x="63" y="138"/>
                </a:cubicBezTo>
                <a:cubicBezTo>
                  <a:pt x="64" y="138"/>
                  <a:pt x="64" y="138"/>
                  <a:pt x="64" y="138"/>
                </a:cubicBezTo>
                <a:cubicBezTo>
                  <a:pt x="63" y="137"/>
                  <a:pt x="65" y="137"/>
                  <a:pt x="63" y="137"/>
                </a:cubicBezTo>
                <a:close/>
                <a:moveTo>
                  <a:pt x="59" y="136"/>
                </a:moveTo>
                <a:cubicBezTo>
                  <a:pt x="58" y="136"/>
                  <a:pt x="57" y="136"/>
                  <a:pt x="56" y="137"/>
                </a:cubicBezTo>
                <a:cubicBezTo>
                  <a:pt x="55" y="138"/>
                  <a:pt x="56" y="139"/>
                  <a:pt x="55" y="139"/>
                </a:cubicBezTo>
                <a:cubicBezTo>
                  <a:pt x="54" y="140"/>
                  <a:pt x="50" y="139"/>
                  <a:pt x="50" y="139"/>
                </a:cubicBezTo>
                <a:cubicBezTo>
                  <a:pt x="49" y="140"/>
                  <a:pt x="48" y="142"/>
                  <a:pt x="48" y="143"/>
                </a:cubicBezTo>
                <a:cubicBezTo>
                  <a:pt x="47" y="144"/>
                  <a:pt x="46" y="145"/>
                  <a:pt x="45" y="146"/>
                </a:cubicBezTo>
                <a:cubicBezTo>
                  <a:pt x="44" y="145"/>
                  <a:pt x="45" y="146"/>
                  <a:pt x="44" y="147"/>
                </a:cubicBezTo>
                <a:cubicBezTo>
                  <a:pt x="42" y="144"/>
                  <a:pt x="46" y="150"/>
                  <a:pt x="46" y="150"/>
                </a:cubicBezTo>
                <a:cubicBezTo>
                  <a:pt x="47" y="150"/>
                  <a:pt x="47" y="150"/>
                  <a:pt x="47" y="150"/>
                </a:cubicBezTo>
                <a:cubicBezTo>
                  <a:pt x="47" y="150"/>
                  <a:pt x="47" y="152"/>
                  <a:pt x="48" y="154"/>
                </a:cubicBezTo>
                <a:cubicBezTo>
                  <a:pt x="48" y="154"/>
                  <a:pt x="49" y="155"/>
                  <a:pt x="50" y="155"/>
                </a:cubicBezTo>
                <a:cubicBezTo>
                  <a:pt x="50" y="155"/>
                  <a:pt x="49" y="158"/>
                  <a:pt x="51" y="157"/>
                </a:cubicBezTo>
                <a:cubicBezTo>
                  <a:pt x="51" y="156"/>
                  <a:pt x="52" y="154"/>
                  <a:pt x="52" y="154"/>
                </a:cubicBezTo>
                <a:cubicBezTo>
                  <a:pt x="53" y="153"/>
                  <a:pt x="52" y="150"/>
                  <a:pt x="53" y="149"/>
                </a:cubicBezTo>
                <a:cubicBezTo>
                  <a:pt x="53" y="148"/>
                  <a:pt x="56" y="149"/>
                  <a:pt x="56" y="149"/>
                </a:cubicBezTo>
                <a:cubicBezTo>
                  <a:pt x="56" y="149"/>
                  <a:pt x="57" y="147"/>
                  <a:pt x="58" y="147"/>
                </a:cubicBezTo>
                <a:cubicBezTo>
                  <a:pt x="59" y="147"/>
                  <a:pt x="59" y="148"/>
                  <a:pt x="59" y="149"/>
                </a:cubicBezTo>
                <a:cubicBezTo>
                  <a:pt x="60" y="148"/>
                  <a:pt x="62" y="148"/>
                  <a:pt x="62" y="148"/>
                </a:cubicBezTo>
                <a:cubicBezTo>
                  <a:pt x="62" y="147"/>
                  <a:pt x="62" y="146"/>
                  <a:pt x="62" y="146"/>
                </a:cubicBezTo>
                <a:cubicBezTo>
                  <a:pt x="62" y="145"/>
                  <a:pt x="64" y="144"/>
                  <a:pt x="64" y="144"/>
                </a:cubicBezTo>
                <a:cubicBezTo>
                  <a:pt x="65" y="139"/>
                  <a:pt x="63" y="141"/>
                  <a:pt x="62" y="139"/>
                </a:cubicBezTo>
                <a:cubicBezTo>
                  <a:pt x="61" y="138"/>
                  <a:pt x="62" y="137"/>
                  <a:pt x="61" y="136"/>
                </a:cubicBezTo>
                <a:cubicBezTo>
                  <a:pt x="61" y="136"/>
                  <a:pt x="59" y="136"/>
                  <a:pt x="59" y="136"/>
                </a:cubicBezTo>
                <a:close/>
                <a:moveTo>
                  <a:pt x="53" y="128"/>
                </a:moveTo>
                <a:cubicBezTo>
                  <a:pt x="53" y="128"/>
                  <a:pt x="57" y="129"/>
                  <a:pt x="54" y="131"/>
                </a:cubicBezTo>
                <a:cubicBezTo>
                  <a:pt x="54" y="131"/>
                  <a:pt x="52" y="131"/>
                  <a:pt x="52" y="131"/>
                </a:cubicBezTo>
                <a:cubicBezTo>
                  <a:pt x="52" y="130"/>
                  <a:pt x="51" y="128"/>
                  <a:pt x="52" y="129"/>
                </a:cubicBezTo>
                <a:lnTo>
                  <a:pt x="53" y="128"/>
                </a:lnTo>
                <a:close/>
                <a:moveTo>
                  <a:pt x="115" y="53"/>
                </a:moveTo>
                <a:cubicBezTo>
                  <a:pt x="114" y="53"/>
                  <a:pt x="114" y="53"/>
                  <a:pt x="113" y="53"/>
                </a:cubicBezTo>
                <a:cubicBezTo>
                  <a:pt x="113" y="59"/>
                  <a:pt x="113" y="58"/>
                  <a:pt x="109" y="61"/>
                </a:cubicBezTo>
                <a:cubicBezTo>
                  <a:pt x="109" y="63"/>
                  <a:pt x="109" y="62"/>
                  <a:pt x="110" y="63"/>
                </a:cubicBezTo>
                <a:cubicBezTo>
                  <a:pt x="110" y="68"/>
                  <a:pt x="110" y="69"/>
                  <a:pt x="107" y="71"/>
                </a:cubicBezTo>
                <a:cubicBezTo>
                  <a:pt x="108" y="71"/>
                  <a:pt x="108" y="72"/>
                  <a:pt x="108" y="72"/>
                </a:cubicBezTo>
                <a:cubicBezTo>
                  <a:pt x="108" y="72"/>
                  <a:pt x="111" y="71"/>
                  <a:pt x="111" y="71"/>
                </a:cubicBezTo>
                <a:cubicBezTo>
                  <a:pt x="111" y="73"/>
                  <a:pt x="111" y="75"/>
                  <a:pt x="110" y="77"/>
                </a:cubicBezTo>
                <a:cubicBezTo>
                  <a:pt x="110" y="77"/>
                  <a:pt x="108" y="78"/>
                  <a:pt x="108" y="79"/>
                </a:cubicBezTo>
                <a:cubicBezTo>
                  <a:pt x="108" y="81"/>
                  <a:pt x="108" y="82"/>
                  <a:pt x="108" y="84"/>
                </a:cubicBezTo>
                <a:cubicBezTo>
                  <a:pt x="107" y="85"/>
                  <a:pt x="106" y="85"/>
                  <a:pt x="106" y="85"/>
                </a:cubicBezTo>
                <a:cubicBezTo>
                  <a:pt x="105" y="87"/>
                  <a:pt x="105" y="89"/>
                  <a:pt x="104" y="90"/>
                </a:cubicBezTo>
                <a:cubicBezTo>
                  <a:pt x="104" y="91"/>
                  <a:pt x="100" y="95"/>
                  <a:pt x="99" y="96"/>
                </a:cubicBezTo>
                <a:cubicBezTo>
                  <a:pt x="98" y="97"/>
                  <a:pt x="96" y="97"/>
                  <a:pt x="96" y="98"/>
                </a:cubicBezTo>
                <a:cubicBezTo>
                  <a:pt x="94" y="100"/>
                  <a:pt x="96" y="103"/>
                  <a:pt x="93" y="104"/>
                </a:cubicBezTo>
                <a:cubicBezTo>
                  <a:pt x="93" y="105"/>
                  <a:pt x="93" y="105"/>
                  <a:pt x="93" y="105"/>
                </a:cubicBezTo>
                <a:cubicBezTo>
                  <a:pt x="92" y="105"/>
                  <a:pt x="91" y="104"/>
                  <a:pt x="90" y="105"/>
                </a:cubicBezTo>
                <a:cubicBezTo>
                  <a:pt x="88" y="105"/>
                  <a:pt x="86" y="108"/>
                  <a:pt x="85" y="109"/>
                </a:cubicBezTo>
                <a:cubicBezTo>
                  <a:pt x="84" y="109"/>
                  <a:pt x="83" y="108"/>
                  <a:pt x="82" y="108"/>
                </a:cubicBezTo>
                <a:cubicBezTo>
                  <a:pt x="82" y="108"/>
                  <a:pt x="82" y="106"/>
                  <a:pt x="82" y="106"/>
                </a:cubicBezTo>
                <a:cubicBezTo>
                  <a:pt x="81" y="107"/>
                  <a:pt x="81" y="104"/>
                  <a:pt x="81" y="104"/>
                </a:cubicBezTo>
                <a:cubicBezTo>
                  <a:pt x="83" y="103"/>
                  <a:pt x="83" y="103"/>
                  <a:pt x="84" y="101"/>
                </a:cubicBezTo>
                <a:cubicBezTo>
                  <a:pt x="84" y="101"/>
                  <a:pt x="85" y="100"/>
                  <a:pt x="85" y="100"/>
                </a:cubicBezTo>
                <a:cubicBezTo>
                  <a:pt x="86" y="98"/>
                  <a:pt x="85" y="99"/>
                  <a:pt x="84" y="100"/>
                </a:cubicBezTo>
                <a:cubicBezTo>
                  <a:pt x="82" y="101"/>
                  <a:pt x="80" y="102"/>
                  <a:pt x="79" y="103"/>
                </a:cubicBezTo>
                <a:cubicBezTo>
                  <a:pt x="78" y="105"/>
                  <a:pt x="79" y="107"/>
                  <a:pt x="79" y="109"/>
                </a:cubicBezTo>
                <a:cubicBezTo>
                  <a:pt x="79" y="110"/>
                  <a:pt x="75" y="115"/>
                  <a:pt x="75" y="116"/>
                </a:cubicBezTo>
                <a:cubicBezTo>
                  <a:pt x="75" y="117"/>
                  <a:pt x="75" y="119"/>
                  <a:pt x="75" y="120"/>
                </a:cubicBezTo>
                <a:cubicBezTo>
                  <a:pt x="76" y="119"/>
                  <a:pt x="75" y="121"/>
                  <a:pt x="75" y="121"/>
                </a:cubicBezTo>
                <a:cubicBezTo>
                  <a:pt x="73" y="125"/>
                  <a:pt x="72" y="124"/>
                  <a:pt x="68" y="123"/>
                </a:cubicBezTo>
                <a:cubicBezTo>
                  <a:pt x="68" y="122"/>
                  <a:pt x="68" y="122"/>
                  <a:pt x="68" y="122"/>
                </a:cubicBezTo>
                <a:cubicBezTo>
                  <a:pt x="63" y="120"/>
                  <a:pt x="62" y="124"/>
                  <a:pt x="60" y="125"/>
                </a:cubicBezTo>
                <a:cubicBezTo>
                  <a:pt x="57" y="125"/>
                  <a:pt x="56" y="124"/>
                  <a:pt x="54" y="123"/>
                </a:cubicBezTo>
                <a:cubicBezTo>
                  <a:pt x="54" y="123"/>
                  <a:pt x="52" y="126"/>
                  <a:pt x="55" y="125"/>
                </a:cubicBezTo>
                <a:cubicBezTo>
                  <a:pt x="54" y="126"/>
                  <a:pt x="54" y="128"/>
                  <a:pt x="52" y="127"/>
                </a:cubicBezTo>
                <a:cubicBezTo>
                  <a:pt x="52" y="127"/>
                  <a:pt x="52" y="124"/>
                  <a:pt x="52" y="12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51" y="125"/>
                  <a:pt x="50" y="125"/>
                  <a:pt x="49" y="125"/>
                </a:cubicBezTo>
                <a:cubicBezTo>
                  <a:pt x="48" y="127"/>
                  <a:pt x="49" y="128"/>
                  <a:pt x="48" y="129"/>
                </a:cubicBezTo>
                <a:cubicBezTo>
                  <a:pt x="47" y="129"/>
                  <a:pt x="45" y="129"/>
                  <a:pt x="44" y="130"/>
                </a:cubicBezTo>
                <a:cubicBezTo>
                  <a:pt x="44" y="131"/>
                  <a:pt x="44" y="133"/>
                  <a:pt x="43" y="134"/>
                </a:cubicBezTo>
                <a:cubicBezTo>
                  <a:pt x="41" y="135"/>
                  <a:pt x="37" y="136"/>
                  <a:pt x="35" y="137"/>
                </a:cubicBezTo>
                <a:cubicBezTo>
                  <a:pt x="35" y="136"/>
                  <a:pt x="35" y="135"/>
                  <a:pt x="34" y="135"/>
                </a:cubicBezTo>
                <a:cubicBezTo>
                  <a:pt x="33" y="136"/>
                  <a:pt x="33" y="137"/>
                  <a:pt x="32" y="139"/>
                </a:cubicBezTo>
                <a:cubicBezTo>
                  <a:pt x="34" y="139"/>
                  <a:pt x="41" y="141"/>
                  <a:pt x="44" y="140"/>
                </a:cubicBezTo>
                <a:cubicBezTo>
                  <a:pt x="45" y="140"/>
                  <a:pt x="45" y="137"/>
                  <a:pt x="46" y="137"/>
                </a:cubicBezTo>
                <a:cubicBezTo>
                  <a:pt x="49" y="137"/>
                  <a:pt x="51" y="137"/>
                  <a:pt x="54" y="136"/>
                </a:cubicBezTo>
                <a:cubicBezTo>
                  <a:pt x="55" y="136"/>
                  <a:pt x="57" y="134"/>
                  <a:pt x="57" y="134"/>
                </a:cubicBezTo>
                <a:cubicBezTo>
                  <a:pt x="58" y="134"/>
                  <a:pt x="58" y="135"/>
                  <a:pt x="60" y="135"/>
                </a:cubicBezTo>
                <a:cubicBezTo>
                  <a:pt x="60" y="135"/>
                  <a:pt x="62" y="133"/>
                  <a:pt x="62" y="133"/>
                </a:cubicBezTo>
                <a:cubicBezTo>
                  <a:pt x="64" y="132"/>
                  <a:pt x="67" y="134"/>
                  <a:pt x="70" y="134"/>
                </a:cubicBezTo>
                <a:cubicBezTo>
                  <a:pt x="69" y="134"/>
                  <a:pt x="69" y="136"/>
                  <a:pt x="69" y="136"/>
                </a:cubicBezTo>
                <a:cubicBezTo>
                  <a:pt x="66" y="138"/>
                  <a:pt x="67" y="136"/>
                  <a:pt x="67" y="141"/>
                </a:cubicBezTo>
                <a:cubicBezTo>
                  <a:pt x="67" y="140"/>
                  <a:pt x="66" y="141"/>
                  <a:pt x="66" y="141"/>
                </a:cubicBezTo>
                <a:cubicBezTo>
                  <a:pt x="68" y="143"/>
                  <a:pt x="68" y="147"/>
                  <a:pt x="72" y="147"/>
                </a:cubicBezTo>
                <a:cubicBezTo>
                  <a:pt x="75" y="146"/>
                  <a:pt x="76" y="143"/>
                  <a:pt x="78" y="141"/>
                </a:cubicBezTo>
                <a:cubicBezTo>
                  <a:pt x="79" y="140"/>
                  <a:pt x="81" y="140"/>
                  <a:pt x="82" y="139"/>
                </a:cubicBezTo>
                <a:cubicBezTo>
                  <a:pt x="82" y="138"/>
                  <a:pt x="80" y="135"/>
                  <a:pt x="80" y="135"/>
                </a:cubicBezTo>
                <a:cubicBezTo>
                  <a:pt x="80" y="134"/>
                  <a:pt x="82" y="135"/>
                  <a:pt x="81" y="133"/>
                </a:cubicBezTo>
                <a:cubicBezTo>
                  <a:pt x="82" y="133"/>
                  <a:pt x="83" y="133"/>
                  <a:pt x="84" y="133"/>
                </a:cubicBezTo>
                <a:cubicBezTo>
                  <a:pt x="84" y="133"/>
                  <a:pt x="86" y="133"/>
                  <a:pt x="88" y="133"/>
                </a:cubicBezTo>
                <a:cubicBezTo>
                  <a:pt x="88" y="135"/>
                  <a:pt x="88" y="135"/>
                  <a:pt x="88" y="135"/>
                </a:cubicBezTo>
                <a:cubicBezTo>
                  <a:pt x="86" y="134"/>
                  <a:pt x="86" y="137"/>
                  <a:pt x="86" y="137"/>
                </a:cubicBezTo>
                <a:cubicBezTo>
                  <a:pt x="87" y="136"/>
                  <a:pt x="88" y="137"/>
                  <a:pt x="89" y="137"/>
                </a:cubicBezTo>
                <a:cubicBezTo>
                  <a:pt x="89" y="136"/>
                  <a:pt x="90" y="134"/>
                  <a:pt x="90" y="134"/>
                </a:cubicBezTo>
                <a:cubicBezTo>
                  <a:pt x="92" y="134"/>
                  <a:pt x="93" y="136"/>
                  <a:pt x="96" y="135"/>
                </a:cubicBezTo>
                <a:cubicBezTo>
                  <a:pt x="96" y="135"/>
                  <a:pt x="96" y="134"/>
                  <a:pt x="96" y="133"/>
                </a:cubicBezTo>
                <a:cubicBezTo>
                  <a:pt x="97" y="133"/>
                  <a:pt x="98" y="134"/>
                  <a:pt x="98" y="133"/>
                </a:cubicBezTo>
                <a:cubicBezTo>
                  <a:pt x="99" y="133"/>
                  <a:pt x="100" y="132"/>
                  <a:pt x="101" y="131"/>
                </a:cubicBezTo>
                <a:cubicBezTo>
                  <a:pt x="101" y="133"/>
                  <a:pt x="101" y="134"/>
                  <a:pt x="101" y="136"/>
                </a:cubicBezTo>
                <a:cubicBezTo>
                  <a:pt x="103" y="137"/>
                  <a:pt x="103" y="137"/>
                  <a:pt x="103" y="137"/>
                </a:cubicBezTo>
                <a:cubicBezTo>
                  <a:pt x="104" y="134"/>
                  <a:pt x="104" y="133"/>
                  <a:pt x="104" y="129"/>
                </a:cubicBezTo>
                <a:cubicBezTo>
                  <a:pt x="107" y="129"/>
                  <a:pt x="107" y="129"/>
                  <a:pt x="107" y="129"/>
                </a:cubicBezTo>
                <a:cubicBezTo>
                  <a:pt x="108" y="129"/>
                  <a:pt x="107" y="130"/>
                  <a:pt x="108" y="130"/>
                </a:cubicBezTo>
                <a:cubicBezTo>
                  <a:pt x="108" y="129"/>
                  <a:pt x="109" y="128"/>
                  <a:pt x="108" y="128"/>
                </a:cubicBezTo>
                <a:cubicBezTo>
                  <a:pt x="109" y="127"/>
                  <a:pt x="109" y="122"/>
                  <a:pt x="110" y="121"/>
                </a:cubicBezTo>
                <a:cubicBezTo>
                  <a:pt x="110" y="121"/>
                  <a:pt x="112" y="121"/>
                  <a:pt x="112" y="121"/>
                </a:cubicBezTo>
                <a:cubicBezTo>
                  <a:pt x="112" y="121"/>
                  <a:pt x="113" y="122"/>
                  <a:pt x="113" y="123"/>
                </a:cubicBezTo>
                <a:cubicBezTo>
                  <a:pt x="113" y="124"/>
                  <a:pt x="111" y="124"/>
                  <a:pt x="111" y="125"/>
                </a:cubicBezTo>
                <a:cubicBezTo>
                  <a:pt x="110" y="126"/>
                  <a:pt x="111" y="128"/>
                  <a:pt x="110" y="130"/>
                </a:cubicBezTo>
                <a:cubicBezTo>
                  <a:pt x="112" y="131"/>
                  <a:pt x="112" y="131"/>
                  <a:pt x="112" y="131"/>
                </a:cubicBezTo>
                <a:cubicBezTo>
                  <a:pt x="114" y="128"/>
                  <a:pt x="116" y="125"/>
                  <a:pt x="118" y="122"/>
                </a:cubicBezTo>
                <a:cubicBezTo>
                  <a:pt x="118" y="122"/>
                  <a:pt x="118" y="120"/>
                  <a:pt x="118" y="120"/>
                </a:cubicBezTo>
                <a:cubicBezTo>
                  <a:pt x="116" y="119"/>
                  <a:pt x="115" y="119"/>
                  <a:pt x="114" y="119"/>
                </a:cubicBezTo>
                <a:cubicBezTo>
                  <a:pt x="115" y="118"/>
                  <a:pt x="115" y="118"/>
                  <a:pt x="116" y="117"/>
                </a:cubicBezTo>
                <a:cubicBezTo>
                  <a:pt x="116" y="115"/>
                  <a:pt x="115" y="112"/>
                  <a:pt x="115" y="110"/>
                </a:cubicBezTo>
                <a:cubicBezTo>
                  <a:pt x="115" y="109"/>
                  <a:pt x="118" y="103"/>
                  <a:pt x="118" y="101"/>
                </a:cubicBezTo>
                <a:cubicBezTo>
                  <a:pt x="118" y="98"/>
                  <a:pt x="118" y="91"/>
                  <a:pt x="118" y="87"/>
                </a:cubicBezTo>
                <a:cubicBezTo>
                  <a:pt x="119" y="87"/>
                  <a:pt x="121" y="87"/>
                  <a:pt x="122" y="87"/>
                </a:cubicBezTo>
                <a:cubicBezTo>
                  <a:pt x="122" y="86"/>
                  <a:pt x="122" y="85"/>
                  <a:pt x="122" y="85"/>
                </a:cubicBezTo>
                <a:cubicBezTo>
                  <a:pt x="122" y="83"/>
                  <a:pt x="122" y="83"/>
                  <a:pt x="122" y="83"/>
                </a:cubicBezTo>
                <a:cubicBezTo>
                  <a:pt x="122" y="83"/>
                  <a:pt x="124" y="83"/>
                  <a:pt x="124" y="83"/>
                </a:cubicBezTo>
                <a:cubicBezTo>
                  <a:pt x="125" y="82"/>
                  <a:pt x="124" y="81"/>
                  <a:pt x="124" y="80"/>
                </a:cubicBezTo>
                <a:cubicBezTo>
                  <a:pt x="124" y="79"/>
                  <a:pt x="127" y="78"/>
                  <a:pt x="127" y="77"/>
                </a:cubicBezTo>
                <a:cubicBezTo>
                  <a:pt x="127" y="75"/>
                  <a:pt x="127" y="68"/>
                  <a:pt x="126" y="66"/>
                </a:cubicBezTo>
                <a:cubicBezTo>
                  <a:pt x="125" y="65"/>
                  <a:pt x="125" y="65"/>
                  <a:pt x="125" y="65"/>
                </a:cubicBezTo>
                <a:cubicBezTo>
                  <a:pt x="124" y="63"/>
                  <a:pt x="124" y="59"/>
                  <a:pt x="122" y="57"/>
                </a:cubicBezTo>
                <a:cubicBezTo>
                  <a:pt x="120" y="57"/>
                  <a:pt x="117" y="56"/>
                  <a:pt x="116" y="56"/>
                </a:cubicBezTo>
                <a:cubicBezTo>
                  <a:pt x="117" y="55"/>
                  <a:pt x="117" y="55"/>
                  <a:pt x="117" y="54"/>
                </a:cubicBezTo>
                <a:cubicBezTo>
                  <a:pt x="117" y="54"/>
                  <a:pt x="115" y="53"/>
                  <a:pt x="115" y="53"/>
                </a:cubicBezTo>
                <a:close/>
                <a:moveTo>
                  <a:pt x="120" y="50"/>
                </a:moveTo>
                <a:cubicBezTo>
                  <a:pt x="120" y="52"/>
                  <a:pt x="120" y="52"/>
                  <a:pt x="120" y="52"/>
                </a:cubicBezTo>
                <a:cubicBezTo>
                  <a:pt x="121" y="52"/>
                  <a:pt x="122" y="53"/>
                  <a:pt x="123" y="53"/>
                </a:cubicBezTo>
                <a:cubicBezTo>
                  <a:pt x="123" y="53"/>
                  <a:pt x="123" y="50"/>
                  <a:pt x="123" y="50"/>
                </a:cubicBezTo>
                <a:cubicBezTo>
                  <a:pt x="122" y="50"/>
                  <a:pt x="121" y="50"/>
                  <a:pt x="120" y="50"/>
                </a:cubicBezTo>
                <a:close/>
                <a:moveTo>
                  <a:pt x="126" y="0"/>
                </a:moveTo>
                <a:cubicBezTo>
                  <a:pt x="122" y="3"/>
                  <a:pt x="122" y="4"/>
                  <a:pt x="125" y="8"/>
                </a:cubicBezTo>
                <a:cubicBezTo>
                  <a:pt x="125" y="9"/>
                  <a:pt x="127" y="9"/>
                  <a:pt x="127" y="10"/>
                </a:cubicBezTo>
                <a:cubicBezTo>
                  <a:pt x="127" y="12"/>
                  <a:pt x="125" y="13"/>
                  <a:pt x="125" y="15"/>
                </a:cubicBezTo>
                <a:cubicBezTo>
                  <a:pt x="125" y="17"/>
                  <a:pt x="125" y="19"/>
                  <a:pt x="125" y="20"/>
                </a:cubicBezTo>
                <a:cubicBezTo>
                  <a:pt x="125" y="21"/>
                  <a:pt x="123" y="21"/>
                  <a:pt x="122" y="22"/>
                </a:cubicBezTo>
                <a:cubicBezTo>
                  <a:pt x="121" y="27"/>
                  <a:pt x="127" y="33"/>
                  <a:pt x="118" y="30"/>
                </a:cubicBezTo>
                <a:cubicBezTo>
                  <a:pt x="117" y="30"/>
                  <a:pt x="116" y="29"/>
                  <a:pt x="114" y="28"/>
                </a:cubicBezTo>
                <a:cubicBezTo>
                  <a:pt x="112" y="28"/>
                  <a:pt x="112" y="29"/>
                  <a:pt x="114" y="30"/>
                </a:cubicBezTo>
                <a:cubicBezTo>
                  <a:pt x="112" y="33"/>
                  <a:pt x="113" y="33"/>
                  <a:pt x="109" y="36"/>
                </a:cubicBezTo>
                <a:cubicBezTo>
                  <a:pt x="109" y="37"/>
                  <a:pt x="109" y="38"/>
                  <a:pt x="109" y="39"/>
                </a:cubicBezTo>
                <a:cubicBezTo>
                  <a:pt x="109" y="40"/>
                  <a:pt x="111" y="41"/>
                  <a:pt x="112" y="42"/>
                </a:cubicBezTo>
                <a:cubicBezTo>
                  <a:pt x="112" y="44"/>
                  <a:pt x="112" y="46"/>
                  <a:pt x="112" y="48"/>
                </a:cubicBezTo>
                <a:cubicBezTo>
                  <a:pt x="113" y="48"/>
                  <a:pt x="113" y="49"/>
                  <a:pt x="114" y="49"/>
                </a:cubicBezTo>
                <a:cubicBezTo>
                  <a:pt x="114" y="49"/>
                  <a:pt x="116" y="46"/>
                  <a:pt x="117" y="46"/>
                </a:cubicBezTo>
                <a:cubicBezTo>
                  <a:pt x="118" y="46"/>
                  <a:pt x="121" y="46"/>
                  <a:pt x="122" y="46"/>
                </a:cubicBezTo>
                <a:cubicBezTo>
                  <a:pt x="119" y="44"/>
                  <a:pt x="118" y="43"/>
                  <a:pt x="115" y="42"/>
                </a:cubicBezTo>
                <a:cubicBezTo>
                  <a:pt x="115" y="41"/>
                  <a:pt x="115" y="39"/>
                  <a:pt x="115" y="38"/>
                </a:cubicBezTo>
                <a:cubicBezTo>
                  <a:pt x="117" y="38"/>
                  <a:pt x="118" y="36"/>
                  <a:pt x="120" y="37"/>
                </a:cubicBezTo>
                <a:cubicBezTo>
                  <a:pt x="120" y="37"/>
                  <a:pt x="120" y="38"/>
                  <a:pt x="122" y="38"/>
                </a:cubicBezTo>
                <a:cubicBezTo>
                  <a:pt x="122" y="38"/>
                  <a:pt x="123" y="36"/>
                  <a:pt x="124" y="36"/>
                </a:cubicBezTo>
                <a:cubicBezTo>
                  <a:pt x="124" y="36"/>
                  <a:pt x="127" y="37"/>
                  <a:pt x="126" y="37"/>
                </a:cubicBezTo>
                <a:cubicBezTo>
                  <a:pt x="127" y="37"/>
                  <a:pt x="127" y="37"/>
                  <a:pt x="127" y="37"/>
                </a:cubicBezTo>
                <a:cubicBezTo>
                  <a:pt x="127" y="38"/>
                  <a:pt x="127" y="39"/>
                  <a:pt x="128" y="40"/>
                </a:cubicBezTo>
                <a:cubicBezTo>
                  <a:pt x="129" y="40"/>
                  <a:pt x="129" y="41"/>
                  <a:pt x="129" y="42"/>
                </a:cubicBezTo>
                <a:cubicBezTo>
                  <a:pt x="132" y="42"/>
                  <a:pt x="136" y="42"/>
                  <a:pt x="139" y="42"/>
                </a:cubicBezTo>
                <a:cubicBezTo>
                  <a:pt x="141" y="37"/>
                  <a:pt x="142" y="31"/>
                  <a:pt x="149" y="32"/>
                </a:cubicBezTo>
                <a:cubicBezTo>
                  <a:pt x="149" y="32"/>
                  <a:pt x="151" y="34"/>
                  <a:pt x="151" y="34"/>
                </a:cubicBezTo>
                <a:cubicBezTo>
                  <a:pt x="152" y="34"/>
                  <a:pt x="152" y="32"/>
                  <a:pt x="152" y="32"/>
                </a:cubicBezTo>
                <a:cubicBezTo>
                  <a:pt x="153" y="32"/>
                  <a:pt x="155" y="32"/>
                  <a:pt x="156" y="32"/>
                </a:cubicBezTo>
                <a:cubicBezTo>
                  <a:pt x="157" y="31"/>
                  <a:pt x="162" y="28"/>
                  <a:pt x="157" y="28"/>
                </a:cubicBezTo>
                <a:cubicBezTo>
                  <a:pt x="157" y="28"/>
                  <a:pt x="158" y="27"/>
                  <a:pt x="157" y="26"/>
                </a:cubicBezTo>
                <a:cubicBezTo>
                  <a:pt x="154" y="26"/>
                  <a:pt x="156" y="24"/>
                  <a:pt x="157" y="22"/>
                </a:cubicBezTo>
                <a:cubicBezTo>
                  <a:pt x="151" y="22"/>
                  <a:pt x="151" y="22"/>
                  <a:pt x="148" y="18"/>
                </a:cubicBezTo>
                <a:cubicBezTo>
                  <a:pt x="145" y="19"/>
                  <a:pt x="143" y="20"/>
                  <a:pt x="140" y="19"/>
                </a:cubicBezTo>
                <a:cubicBezTo>
                  <a:pt x="138" y="18"/>
                  <a:pt x="138" y="18"/>
                  <a:pt x="138" y="18"/>
                </a:cubicBezTo>
                <a:cubicBezTo>
                  <a:pt x="137" y="17"/>
                  <a:pt x="134" y="9"/>
                  <a:pt x="133" y="7"/>
                </a:cubicBezTo>
                <a:cubicBezTo>
                  <a:pt x="132" y="6"/>
                  <a:pt x="131" y="6"/>
                  <a:pt x="130" y="6"/>
                </a:cubicBezTo>
                <a:cubicBezTo>
                  <a:pt x="129" y="5"/>
                  <a:pt x="130" y="3"/>
                  <a:pt x="129" y="2"/>
                </a:cubicBezTo>
                <a:cubicBezTo>
                  <a:pt x="128" y="1"/>
                  <a:pt x="126" y="0"/>
                  <a:pt x="126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2" name="Google Shape;522;p102"/>
          <p:cNvSpPr/>
          <p:nvPr/>
        </p:nvSpPr>
        <p:spPr>
          <a:xfrm>
            <a:off x="4296620" y="4142177"/>
            <a:ext cx="57216" cy="31081"/>
          </a:xfrm>
          <a:custGeom>
            <a:avLst/>
            <a:gdLst/>
            <a:ahLst/>
            <a:cxnLst/>
            <a:rect l="l" t="t" r="r" b="b"/>
            <a:pathLst>
              <a:path w="20" h="11" extrusionOk="0">
                <a:moveTo>
                  <a:pt x="5" y="0"/>
                </a:moveTo>
                <a:cubicBezTo>
                  <a:pt x="3" y="1"/>
                  <a:pt x="1" y="3"/>
                  <a:pt x="0" y="4"/>
                </a:cubicBezTo>
                <a:cubicBezTo>
                  <a:pt x="0" y="4"/>
                  <a:pt x="0" y="5"/>
                  <a:pt x="0" y="5"/>
                </a:cubicBezTo>
                <a:cubicBezTo>
                  <a:pt x="1" y="5"/>
                  <a:pt x="3" y="5"/>
                  <a:pt x="4" y="5"/>
                </a:cubicBezTo>
                <a:cubicBezTo>
                  <a:pt x="4" y="6"/>
                  <a:pt x="4" y="6"/>
                  <a:pt x="4" y="7"/>
                </a:cubicBezTo>
                <a:cubicBezTo>
                  <a:pt x="5" y="9"/>
                  <a:pt x="10" y="11"/>
                  <a:pt x="14" y="10"/>
                </a:cubicBezTo>
                <a:cubicBezTo>
                  <a:pt x="14" y="10"/>
                  <a:pt x="14" y="9"/>
                  <a:pt x="14" y="8"/>
                </a:cubicBezTo>
                <a:cubicBezTo>
                  <a:pt x="16" y="8"/>
                  <a:pt x="17" y="8"/>
                  <a:pt x="19" y="8"/>
                </a:cubicBezTo>
                <a:cubicBezTo>
                  <a:pt x="19" y="8"/>
                  <a:pt x="19" y="7"/>
                  <a:pt x="20" y="6"/>
                </a:cubicBezTo>
                <a:cubicBezTo>
                  <a:pt x="19" y="6"/>
                  <a:pt x="15" y="2"/>
                  <a:pt x="15" y="2"/>
                </a:cubicBezTo>
                <a:cubicBezTo>
                  <a:pt x="13" y="2"/>
                  <a:pt x="11" y="3"/>
                  <a:pt x="9" y="2"/>
                </a:cubicBezTo>
                <a:cubicBezTo>
                  <a:pt x="9" y="2"/>
                  <a:pt x="8" y="0"/>
                  <a:pt x="5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3" name="Google Shape;523;p102"/>
          <p:cNvSpPr/>
          <p:nvPr/>
        </p:nvSpPr>
        <p:spPr>
          <a:xfrm>
            <a:off x="6018986" y="4389412"/>
            <a:ext cx="161381" cy="196375"/>
          </a:xfrm>
          <a:custGeom>
            <a:avLst/>
            <a:gdLst/>
            <a:ahLst/>
            <a:cxnLst/>
            <a:rect l="l" t="t" r="r" b="b"/>
            <a:pathLst>
              <a:path w="56" h="71" extrusionOk="0">
                <a:moveTo>
                  <a:pt x="10" y="71"/>
                </a:moveTo>
                <a:cubicBezTo>
                  <a:pt x="15" y="70"/>
                  <a:pt x="20" y="66"/>
                  <a:pt x="22" y="65"/>
                </a:cubicBezTo>
                <a:cubicBezTo>
                  <a:pt x="23" y="64"/>
                  <a:pt x="24" y="62"/>
                  <a:pt x="25" y="62"/>
                </a:cubicBezTo>
                <a:cubicBezTo>
                  <a:pt x="28" y="61"/>
                  <a:pt x="36" y="61"/>
                  <a:pt x="39" y="62"/>
                </a:cubicBezTo>
                <a:cubicBezTo>
                  <a:pt x="41" y="62"/>
                  <a:pt x="42" y="64"/>
                  <a:pt x="45" y="65"/>
                </a:cubicBezTo>
                <a:cubicBezTo>
                  <a:pt x="45" y="65"/>
                  <a:pt x="46" y="62"/>
                  <a:pt x="47" y="60"/>
                </a:cubicBezTo>
                <a:cubicBezTo>
                  <a:pt x="48" y="59"/>
                  <a:pt x="46" y="56"/>
                  <a:pt x="46" y="56"/>
                </a:cubicBezTo>
                <a:cubicBezTo>
                  <a:pt x="46" y="49"/>
                  <a:pt x="46" y="49"/>
                  <a:pt x="46" y="49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3"/>
                  <a:pt x="50" y="39"/>
                  <a:pt x="50" y="37"/>
                </a:cubicBezTo>
                <a:cubicBezTo>
                  <a:pt x="51" y="34"/>
                  <a:pt x="52" y="33"/>
                  <a:pt x="53" y="30"/>
                </a:cubicBezTo>
                <a:cubicBezTo>
                  <a:pt x="53" y="27"/>
                  <a:pt x="55" y="25"/>
                  <a:pt x="55" y="25"/>
                </a:cubicBezTo>
                <a:cubicBezTo>
                  <a:pt x="55" y="25"/>
                  <a:pt x="56" y="21"/>
                  <a:pt x="56" y="18"/>
                </a:cubicBezTo>
                <a:cubicBezTo>
                  <a:pt x="56" y="15"/>
                  <a:pt x="53" y="14"/>
                  <a:pt x="54" y="12"/>
                </a:cubicBezTo>
                <a:cubicBezTo>
                  <a:pt x="55" y="10"/>
                  <a:pt x="53" y="6"/>
                  <a:pt x="53" y="6"/>
                </a:cubicBezTo>
                <a:cubicBezTo>
                  <a:pt x="53" y="6"/>
                  <a:pt x="49" y="7"/>
                  <a:pt x="47" y="7"/>
                </a:cubicBezTo>
                <a:cubicBezTo>
                  <a:pt x="45" y="6"/>
                  <a:pt x="46" y="2"/>
                  <a:pt x="46" y="2"/>
                </a:cubicBezTo>
                <a:cubicBezTo>
                  <a:pt x="42" y="2"/>
                  <a:pt x="42" y="2"/>
                  <a:pt x="42" y="2"/>
                </a:cubicBezTo>
                <a:cubicBezTo>
                  <a:pt x="40" y="4"/>
                  <a:pt x="40" y="4"/>
                  <a:pt x="40" y="4"/>
                </a:cubicBezTo>
                <a:cubicBezTo>
                  <a:pt x="36" y="4"/>
                  <a:pt x="36" y="4"/>
                  <a:pt x="36" y="4"/>
                </a:cubicBezTo>
                <a:cubicBezTo>
                  <a:pt x="35" y="1"/>
                  <a:pt x="35" y="1"/>
                  <a:pt x="35" y="1"/>
                </a:cubicBezTo>
                <a:cubicBezTo>
                  <a:pt x="28" y="0"/>
                  <a:pt x="28" y="0"/>
                  <a:pt x="28" y="0"/>
                </a:cubicBezTo>
                <a:cubicBezTo>
                  <a:pt x="26" y="3"/>
                  <a:pt x="26" y="3"/>
                  <a:pt x="26" y="3"/>
                </a:cubicBezTo>
                <a:cubicBezTo>
                  <a:pt x="26" y="3"/>
                  <a:pt x="27" y="6"/>
                  <a:pt x="24" y="7"/>
                </a:cubicBezTo>
                <a:cubicBezTo>
                  <a:pt x="22" y="8"/>
                  <a:pt x="20" y="4"/>
                  <a:pt x="20" y="4"/>
                </a:cubicBezTo>
                <a:cubicBezTo>
                  <a:pt x="18" y="6"/>
                  <a:pt x="18" y="6"/>
                  <a:pt x="18" y="6"/>
                </a:cubicBezTo>
                <a:cubicBezTo>
                  <a:pt x="17" y="11"/>
                  <a:pt x="17" y="11"/>
                  <a:pt x="17" y="11"/>
                </a:cubicBezTo>
                <a:cubicBezTo>
                  <a:pt x="17" y="11"/>
                  <a:pt x="17" y="8"/>
                  <a:pt x="15" y="9"/>
                </a:cubicBezTo>
                <a:cubicBezTo>
                  <a:pt x="12" y="11"/>
                  <a:pt x="11" y="13"/>
                  <a:pt x="11" y="13"/>
                </a:cubicBezTo>
                <a:cubicBezTo>
                  <a:pt x="11" y="13"/>
                  <a:pt x="7" y="15"/>
                  <a:pt x="9" y="17"/>
                </a:cubicBezTo>
                <a:cubicBezTo>
                  <a:pt x="10" y="19"/>
                  <a:pt x="12" y="20"/>
                  <a:pt x="11" y="23"/>
                </a:cubicBezTo>
                <a:cubicBezTo>
                  <a:pt x="9" y="26"/>
                  <a:pt x="5" y="25"/>
                  <a:pt x="5" y="26"/>
                </a:cubicBezTo>
                <a:cubicBezTo>
                  <a:pt x="6" y="28"/>
                  <a:pt x="6" y="29"/>
                  <a:pt x="6" y="29"/>
                </a:cubicBezTo>
                <a:cubicBezTo>
                  <a:pt x="3" y="31"/>
                  <a:pt x="3" y="31"/>
                  <a:pt x="3" y="31"/>
                </a:cubicBezTo>
                <a:cubicBezTo>
                  <a:pt x="3" y="31"/>
                  <a:pt x="6" y="36"/>
                  <a:pt x="4" y="38"/>
                </a:cubicBezTo>
                <a:cubicBezTo>
                  <a:pt x="2" y="39"/>
                  <a:pt x="0" y="44"/>
                  <a:pt x="0" y="44"/>
                </a:cubicBezTo>
                <a:cubicBezTo>
                  <a:pt x="0" y="44"/>
                  <a:pt x="4" y="46"/>
                  <a:pt x="6" y="46"/>
                </a:cubicBezTo>
                <a:cubicBezTo>
                  <a:pt x="7" y="46"/>
                  <a:pt x="8" y="49"/>
                  <a:pt x="9" y="51"/>
                </a:cubicBezTo>
                <a:cubicBezTo>
                  <a:pt x="10" y="53"/>
                  <a:pt x="10" y="56"/>
                  <a:pt x="12" y="56"/>
                </a:cubicBezTo>
                <a:cubicBezTo>
                  <a:pt x="14" y="56"/>
                  <a:pt x="13" y="57"/>
                  <a:pt x="12" y="59"/>
                </a:cubicBezTo>
                <a:cubicBezTo>
                  <a:pt x="12" y="61"/>
                  <a:pt x="12" y="62"/>
                  <a:pt x="10" y="64"/>
                </a:cubicBezTo>
                <a:cubicBezTo>
                  <a:pt x="8" y="65"/>
                  <a:pt x="10" y="66"/>
                  <a:pt x="10" y="68"/>
                </a:cubicBezTo>
                <a:cubicBezTo>
                  <a:pt x="10" y="70"/>
                  <a:pt x="10" y="71"/>
                  <a:pt x="10" y="7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4" name="Google Shape;524;p102"/>
          <p:cNvSpPr/>
          <p:nvPr/>
        </p:nvSpPr>
        <p:spPr>
          <a:xfrm>
            <a:off x="6404831" y="3240829"/>
            <a:ext cx="287550" cy="350367"/>
          </a:xfrm>
          <a:custGeom>
            <a:avLst/>
            <a:gdLst/>
            <a:ahLst/>
            <a:cxnLst/>
            <a:rect l="l" t="t" r="r" b="b"/>
            <a:pathLst>
              <a:path w="100" h="126" extrusionOk="0">
                <a:moveTo>
                  <a:pt x="52" y="109"/>
                </a:moveTo>
                <a:cubicBezTo>
                  <a:pt x="52" y="111"/>
                  <a:pt x="52" y="110"/>
                  <a:pt x="51" y="110"/>
                </a:cubicBezTo>
                <a:cubicBezTo>
                  <a:pt x="51" y="111"/>
                  <a:pt x="51" y="112"/>
                  <a:pt x="51" y="113"/>
                </a:cubicBezTo>
                <a:cubicBezTo>
                  <a:pt x="52" y="114"/>
                  <a:pt x="54" y="116"/>
                  <a:pt x="55" y="117"/>
                </a:cubicBezTo>
                <a:cubicBezTo>
                  <a:pt x="56" y="117"/>
                  <a:pt x="58" y="117"/>
                  <a:pt x="59" y="118"/>
                </a:cubicBezTo>
                <a:cubicBezTo>
                  <a:pt x="59" y="118"/>
                  <a:pt x="60" y="121"/>
                  <a:pt x="60" y="121"/>
                </a:cubicBezTo>
                <a:cubicBezTo>
                  <a:pt x="61" y="121"/>
                  <a:pt x="63" y="120"/>
                  <a:pt x="64" y="121"/>
                </a:cubicBezTo>
                <a:cubicBezTo>
                  <a:pt x="66" y="122"/>
                  <a:pt x="66" y="123"/>
                  <a:pt x="69" y="124"/>
                </a:cubicBezTo>
                <a:cubicBezTo>
                  <a:pt x="70" y="125"/>
                  <a:pt x="70" y="125"/>
                  <a:pt x="70" y="125"/>
                </a:cubicBezTo>
                <a:cubicBezTo>
                  <a:pt x="71" y="126"/>
                  <a:pt x="72" y="125"/>
                  <a:pt x="73" y="125"/>
                </a:cubicBezTo>
                <a:cubicBezTo>
                  <a:pt x="73" y="124"/>
                  <a:pt x="72" y="123"/>
                  <a:pt x="72" y="122"/>
                </a:cubicBezTo>
                <a:cubicBezTo>
                  <a:pt x="72" y="122"/>
                  <a:pt x="74" y="121"/>
                  <a:pt x="74" y="121"/>
                </a:cubicBezTo>
                <a:cubicBezTo>
                  <a:pt x="75" y="119"/>
                  <a:pt x="74" y="117"/>
                  <a:pt x="75" y="115"/>
                </a:cubicBezTo>
                <a:cubicBezTo>
                  <a:pt x="73" y="116"/>
                  <a:pt x="74" y="115"/>
                  <a:pt x="74" y="114"/>
                </a:cubicBezTo>
                <a:cubicBezTo>
                  <a:pt x="73" y="112"/>
                  <a:pt x="75" y="113"/>
                  <a:pt x="75" y="111"/>
                </a:cubicBezTo>
                <a:cubicBezTo>
                  <a:pt x="76" y="111"/>
                  <a:pt x="75" y="110"/>
                  <a:pt x="75" y="109"/>
                </a:cubicBezTo>
                <a:cubicBezTo>
                  <a:pt x="72" y="111"/>
                  <a:pt x="65" y="113"/>
                  <a:pt x="60" y="112"/>
                </a:cubicBezTo>
                <a:cubicBezTo>
                  <a:pt x="60" y="112"/>
                  <a:pt x="59" y="110"/>
                  <a:pt x="58" y="110"/>
                </a:cubicBezTo>
                <a:cubicBezTo>
                  <a:pt x="56" y="110"/>
                  <a:pt x="56" y="111"/>
                  <a:pt x="54" y="111"/>
                </a:cubicBezTo>
                <a:cubicBezTo>
                  <a:pt x="54" y="111"/>
                  <a:pt x="53" y="110"/>
                  <a:pt x="52" y="109"/>
                </a:cubicBezTo>
                <a:close/>
                <a:moveTo>
                  <a:pt x="6" y="42"/>
                </a:moveTo>
                <a:cubicBezTo>
                  <a:pt x="7" y="41"/>
                  <a:pt x="8" y="40"/>
                  <a:pt x="9" y="40"/>
                </a:cubicBezTo>
                <a:cubicBezTo>
                  <a:pt x="10" y="40"/>
                  <a:pt x="11" y="41"/>
                  <a:pt x="12" y="40"/>
                </a:cubicBezTo>
                <a:cubicBezTo>
                  <a:pt x="13" y="40"/>
                  <a:pt x="13" y="39"/>
                  <a:pt x="13" y="38"/>
                </a:cubicBezTo>
                <a:cubicBezTo>
                  <a:pt x="14" y="37"/>
                  <a:pt x="15" y="37"/>
                  <a:pt x="16" y="36"/>
                </a:cubicBezTo>
                <a:cubicBezTo>
                  <a:pt x="16" y="36"/>
                  <a:pt x="16" y="34"/>
                  <a:pt x="16" y="34"/>
                </a:cubicBezTo>
                <a:cubicBezTo>
                  <a:pt x="17" y="33"/>
                  <a:pt x="18" y="32"/>
                  <a:pt x="21" y="32"/>
                </a:cubicBezTo>
                <a:cubicBezTo>
                  <a:pt x="22" y="32"/>
                  <a:pt x="23" y="34"/>
                  <a:pt x="24" y="35"/>
                </a:cubicBezTo>
                <a:cubicBezTo>
                  <a:pt x="25" y="35"/>
                  <a:pt x="26" y="35"/>
                  <a:pt x="26" y="35"/>
                </a:cubicBezTo>
                <a:cubicBezTo>
                  <a:pt x="28" y="35"/>
                  <a:pt x="29" y="38"/>
                  <a:pt x="30" y="38"/>
                </a:cubicBezTo>
                <a:cubicBezTo>
                  <a:pt x="30" y="39"/>
                  <a:pt x="30" y="39"/>
                  <a:pt x="30" y="39"/>
                </a:cubicBezTo>
                <a:cubicBezTo>
                  <a:pt x="32" y="39"/>
                  <a:pt x="32" y="39"/>
                  <a:pt x="32" y="39"/>
                </a:cubicBezTo>
                <a:cubicBezTo>
                  <a:pt x="32" y="40"/>
                  <a:pt x="32" y="42"/>
                  <a:pt x="32" y="44"/>
                </a:cubicBezTo>
                <a:cubicBezTo>
                  <a:pt x="33" y="44"/>
                  <a:pt x="35" y="45"/>
                  <a:pt x="35" y="46"/>
                </a:cubicBezTo>
                <a:cubicBezTo>
                  <a:pt x="35" y="47"/>
                  <a:pt x="35" y="48"/>
                  <a:pt x="35" y="50"/>
                </a:cubicBezTo>
                <a:cubicBezTo>
                  <a:pt x="35" y="50"/>
                  <a:pt x="37" y="51"/>
                  <a:pt x="37" y="51"/>
                </a:cubicBezTo>
                <a:cubicBezTo>
                  <a:pt x="38" y="53"/>
                  <a:pt x="37" y="55"/>
                  <a:pt x="38" y="57"/>
                </a:cubicBezTo>
                <a:cubicBezTo>
                  <a:pt x="40" y="60"/>
                  <a:pt x="45" y="62"/>
                  <a:pt x="47" y="65"/>
                </a:cubicBezTo>
                <a:cubicBezTo>
                  <a:pt x="48" y="67"/>
                  <a:pt x="48" y="69"/>
                  <a:pt x="50" y="70"/>
                </a:cubicBezTo>
                <a:cubicBezTo>
                  <a:pt x="52" y="72"/>
                  <a:pt x="55" y="72"/>
                  <a:pt x="57" y="73"/>
                </a:cubicBezTo>
                <a:cubicBezTo>
                  <a:pt x="57" y="73"/>
                  <a:pt x="57" y="73"/>
                  <a:pt x="57" y="73"/>
                </a:cubicBezTo>
                <a:cubicBezTo>
                  <a:pt x="59" y="74"/>
                  <a:pt x="59" y="72"/>
                  <a:pt x="61" y="73"/>
                </a:cubicBezTo>
                <a:cubicBezTo>
                  <a:pt x="62" y="73"/>
                  <a:pt x="64" y="77"/>
                  <a:pt x="65" y="77"/>
                </a:cubicBezTo>
                <a:cubicBezTo>
                  <a:pt x="66" y="77"/>
                  <a:pt x="66" y="77"/>
                  <a:pt x="66" y="77"/>
                </a:cubicBezTo>
                <a:cubicBezTo>
                  <a:pt x="67" y="78"/>
                  <a:pt x="66" y="80"/>
                  <a:pt x="67" y="80"/>
                </a:cubicBezTo>
                <a:cubicBezTo>
                  <a:pt x="68" y="81"/>
                  <a:pt x="69" y="80"/>
                  <a:pt x="70" y="81"/>
                </a:cubicBezTo>
                <a:cubicBezTo>
                  <a:pt x="71" y="82"/>
                  <a:pt x="71" y="84"/>
                  <a:pt x="72" y="85"/>
                </a:cubicBezTo>
                <a:cubicBezTo>
                  <a:pt x="73" y="87"/>
                  <a:pt x="76" y="87"/>
                  <a:pt x="77" y="88"/>
                </a:cubicBezTo>
                <a:cubicBezTo>
                  <a:pt x="78" y="89"/>
                  <a:pt x="81" y="100"/>
                  <a:pt x="81" y="102"/>
                </a:cubicBezTo>
                <a:cubicBezTo>
                  <a:pt x="79" y="103"/>
                  <a:pt x="79" y="103"/>
                  <a:pt x="79" y="103"/>
                </a:cubicBezTo>
                <a:cubicBezTo>
                  <a:pt x="79" y="104"/>
                  <a:pt x="79" y="106"/>
                  <a:pt x="79" y="107"/>
                </a:cubicBezTo>
                <a:cubicBezTo>
                  <a:pt x="79" y="108"/>
                  <a:pt x="77" y="109"/>
                  <a:pt x="77" y="110"/>
                </a:cubicBezTo>
                <a:cubicBezTo>
                  <a:pt x="76" y="113"/>
                  <a:pt x="78" y="113"/>
                  <a:pt x="78" y="114"/>
                </a:cubicBezTo>
                <a:cubicBezTo>
                  <a:pt x="79" y="113"/>
                  <a:pt x="81" y="114"/>
                  <a:pt x="81" y="113"/>
                </a:cubicBezTo>
                <a:cubicBezTo>
                  <a:pt x="82" y="113"/>
                  <a:pt x="82" y="111"/>
                  <a:pt x="82" y="110"/>
                </a:cubicBezTo>
                <a:cubicBezTo>
                  <a:pt x="82" y="110"/>
                  <a:pt x="85" y="108"/>
                  <a:pt x="85" y="108"/>
                </a:cubicBezTo>
                <a:cubicBezTo>
                  <a:pt x="86" y="106"/>
                  <a:pt x="85" y="104"/>
                  <a:pt x="86" y="103"/>
                </a:cubicBezTo>
                <a:cubicBezTo>
                  <a:pt x="87" y="102"/>
                  <a:pt x="89" y="102"/>
                  <a:pt x="89" y="101"/>
                </a:cubicBezTo>
                <a:cubicBezTo>
                  <a:pt x="90" y="99"/>
                  <a:pt x="89" y="96"/>
                  <a:pt x="89" y="95"/>
                </a:cubicBezTo>
                <a:cubicBezTo>
                  <a:pt x="88" y="95"/>
                  <a:pt x="88" y="95"/>
                  <a:pt x="87" y="94"/>
                </a:cubicBezTo>
                <a:cubicBezTo>
                  <a:pt x="87" y="93"/>
                  <a:pt x="87" y="92"/>
                  <a:pt x="86" y="91"/>
                </a:cubicBezTo>
                <a:cubicBezTo>
                  <a:pt x="86" y="90"/>
                  <a:pt x="84" y="90"/>
                  <a:pt x="83" y="89"/>
                </a:cubicBezTo>
                <a:cubicBezTo>
                  <a:pt x="85" y="86"/>
                  <a:pt x="86" y="80"/>
                  <a:pt x="90" y="81"/>
                </a:cubicBezTo>
                <a:cubicBezTo>
                  <a:pt x="90" y="83"/>
                  <a:pt x="90" y="83"/>
                  <a:pt x="90" y="83"/>
                </a:cubicBezTo>
                <a:cubicBezTo>
                  <a:pt x="92" y="83"/>
                  <a:pt x="93" y="83"/>
                  <a:pt x="96" y="84"/>
                </a:cubicBezTo>
                <a:cubicBezTo>
                  <a:pt x="96" y="85"/>
                  <a:pt x="96" y="87"/>
                  <a:pt x="97" y="88"/>
                </a:cubicBezTo>
                <a:cubicBezTo>
                  <a:pt x="97" y="88"/>
                  <a:pt x="98" y="88"/>
                  <a:pt x="99" y="88"/>
                </a:cubicBezTo>
                <a:cubicBezTo>
                  <a:pt x="99" y="87"/>
                  <a:pt x="99" y="87"/>
                  <a:pt x="100" y="86"/>
                </a:cubicBezTo>
                <a:cubicBezTo>
                  <a:pt x="100" y="86"/>
                  <a:pt x="99" y="85"/>
                  <a:pt x="99" y="85"/>
                </a:cubicBezTo>
                <a:cubicBezTo>
                  <a:pt x="99" y="84"/>
                  <a:pt x="100" y="83"/>
                  <a:pt x="99" y="82"/>
                </a:cubicBezTo>
                <a:cubicBezTo>
                  <a:pt x="99" y="81"/>
                  <a:pt x="97" y="81"/>
                  <a:pt x="97" y="81"/>
                </a:cubicBezTo>
                <a:cubicBezTo>
                  <a:pt x="95" y="80"/>
                  <a:pt x="94" y="77"/>
                  <a:pt x="93" y="76"/>
                </a:cubicBezTo>
                <a:cubicBezTo>
                  <a:pt x="89" y="73"/>
                  <a:pt x="84" y="72"/>
                  <a:pt x="81" y="69"/>
                </a:cubicBezTo>
                <a:cubicBezTo>
                  <a:pt x="81" y="68"/>
                  <a:pt x="81" y="65"/>
                  <a:pt x="81" y="65"/>
                </a:cubicBezTo>
                <a:cubicBezTo>
                  <a:pt x="77" y="65"/>
                  <a:pt x="74" y="65"/>
                  <a:pt x="70" y="63"/>
                </a:cubicBezTo>
                <a:cubicBezTo>
                  <a:pt x="68" y="62"/>
                  <a:pt x="63" y="55"/>
                  <a:pt x="62" y="52"/>
                </a:cubicBezTo>
                <a:cubicBezTo>
                  <a:pt x="61" y="50"/>
                  <a:pt x="62" y="49"/>
                  <a:pt x="61" y="47"/>
                </a:cubicBezTo>
                <a:cubicBezTo>
                  <a:pt x="60" y="46"/>
                  <a:pt x="60" y="47"/>
                  <a:pt x="59" y="46"/>
                </a:cubicBezTo>
                <a:cubicBezTo>
                  <a:pt x="58" y="46"/>
                  <a:pt x="57" y="43"/>
                  <a:pt x="57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3" y="39"/>
                  <a:pt x="51" y="41"/>
                  <a:pt x="48" y="37"/>
                </a:cubicBezTo>
                <a:cubicBezTo>
                  <a:pt x="48" y="37"/>
                  <a:pt x="47" y="36"/>
                  <a:pt x="47" y="36"/>
                </a:cubicBezTo>
                <a:cubicBezTo>
                  <a:pt x="46" y="33"/>
                  <a:pt x="50" y="28"/>
                  <a:pt x="50" y="27"/>
                </a:cubicBezTo>
                <a:cubicBezTo>
                  <a:pt x="51" y="24"/>
                  <a:pt x="49" y="24"/>
                  <a:pt x="48" y="22"/>
                </a:cubicBezTo>
                <a:cubicBezTo>
                  <a:pt x="48" y="21"/>
                  <a:pt x="49" y="20"/>
                  <a:pt x="49" y="20"/>
                </a:cubicBezTo>
                <a:cubicBezTo>
                  <a:pt x="50" y="20"/>
                  <a:pt x="50" y="21"/>
                  <a:pt x="50" y="21"/>
                </a:cubicBezTo>
                <a:cubicBezTo>
                  <a:pt x="53" y="19"/>
                  <a:pt x="56" y="18"/>
                  <a:pt x="60" y="17"/>
                </a:cubicBezTo>
                <a:cubicBezTo>
                  <a:pt x="58" y="15"/>
                  <a:pt x="60" y="14"/>
                  <a:pt x="60" y="12"/>
                </a:cubicBezTo>
                <a:cubicBezTo>
                  <a:pt x="60" y="10"/>
                  <a:pt x="60" y="9"/>
                  <a:pt x="57" y="9"/>
                </a:cubicBezTo>
                <a:cubicBezTo>
                  <a:pt x="54" y="9"/>
                  <a:pt x="58" y="3"/>
                  <a:pt x="58" y="3"/>
                </a:cubicBezTo>
                <a:cubicBezTo>
                  <a:pt x="58" y="3"/>
                  <a:pt x="54" y="3"/>
                  <a:pt x="52" y="3"/>
                </a:cubicBezTo>
                <a:cubicBezTo>
                  <a:pt x="50" y="4"/>
                  <a:pt x="50" y="4"/>
                  <a:pt x="48" y="4"/>
                </a:cubicBezTo>
                <a:cubicBezTo>
                  <a:pt x="46" y="4"/>
                  <a:pt x="48" y="2"/>
                  <a:pt x="45" y="2"/>
                </a:cubicBezTo>
                <a:cubicBezTo>
                  <a:pt x="41" y="2"/>
                  <a:pt x="44" y="2"/>
                  <a:pt x="41" y="1"/>
                </a:cubicBezTo>
                <a:cubicBezTo>
                  <a:pt x="38" y="0"/>
                  <a:pt x="39" y="0"/>
                  <a:pt x="39" y="1"/>
                </a:cubicBezTo>
                <a:cubicBezTo>
                  <a:pt x="39" y="3"/>
                  <a:pt x="34" y="0"/>
                  <a:pt x="34" y="0"/>
                </a:cubicBezTo>
                <a:cubicBezTo>
                  <a:pt x="34" y="0"/>
                  <a:pt x="35" y="2"/>
                  <a:pt x="33" y="3"/>
                </a:cubicBezTo>
                <a:cubicBezTo>
                  <a:pt x="31" y="5"/>
                  <a:pt x="35" y="4"/>
                  <a:pt x="34" y="6"/>
                </a:cubicBezTo>
                <a:cubicBezTo>
                  <a:pt x="32" y="8"/>
                  <a:pt x="33" y="8"/>
                  <a:pt x="31" y="7"/>
                </a:cubicBezTo>
                <a:cubicBezTo>
                  <a:pt x="29" y="5"/>
                  <a:pt x="27" y="7"/>
                  <a:pt x="27" y="9"/>
                </a:cubicBezTo>
                <a:cubicBezTo>
                  <a:pt x="26" y="11"/>
                  <a:pt x="23" y="9"/>
                  <a:pt x="23" y="12"/>
                </a:cubicBezTo>
                <a:cubicBezTo>
                  <a:pt x="23" y="15"/>
                  <a:pt x="24" y="14"/>
                  <a:pt x="23" y="15"/>
                </a:cubicBezTo>
                <a:cubicBezTo>
                  <a:pt x="22" y="16"/>
                  <a:pt x="22" y="14"/>
                  <a:pt x="19" y="14"/>
                </a:cubicBezTo>
                <a:cubicBezTo>
                  <a:pt x="16" y="13"/>
                  <a:pt x="17" y="13"/>
                  <a:pt x="15" y="11"/>
                </a:cubicBezTo>
                <a:cubicBezTo>
                  <a:pt x="14" y="9"/>
                  <a:pt x="14" y="11"/>
                  <a:pt x="14" y="13"/>
                </a:cubicBezTo>
                <a:cubicBezTo>
                  <a:pt x="14" y="16"/>
                  <a:pt x="9" y="15"/>
                  <a:pt x="8" y="17"/>
                </a:cubicBezTo>
                <a:cubicBezTo>
                  <a:pt x="6" y="21"/>
                  <a:pt x="6" y="21"/>
                  <a:pt x="6" y="21"/>
                </a:cubicBezTo>
                <a:cubicBezTo>
                  <a:pt x="6" y="21"/>
                  <a:pt x="5" y="24"/>
                  <a:pt x="3" y="24"/>
                </a:cubicBezTo>
                <a:cubicBezTo>
                  <a:pt x="0" y="24"/>
                  <a:pt x="0" y="29"/>
                  <a:pt x="3" y="29"/>
                </a:cubicBezTo>
                <a:cubicBezTo>
                  <a:pt x="5" y="29"/>
                  <a:pt x="2" y="35"/>
                  <a:pt x="3" y="36"/>
                </a:cubicBezTo>
                <a:cubicBezTo>
                  <a:pt x="4" y="37"/>
                  <a:pt x="8" y="35"/>
                  <a:pt x="7" y="37"/>
                </a:cubicBezTo>
                <a:cubicBezTo>
                  <a:pt x="6" y="39"/>
                  <a:pt x="7" y="37"/>
                  <a:pt x="5" y="39"/>
                </a:cubicBezTo>
                <a:cubicBezTo>
                  <a:pt x="4" y="41"/>
                  <a:pt x="6" y="42"/>
                  <a:pt x="6" y="42"/>
                </a:cubicBezTo>
                <a:close/>
                <a:moveTo>
                  <a:pt x="23" y="71"/>
                </a:moveTo>
                <a:cubicBezTo>
                  <a:pt x="22" y="73"/>
                  <a:pt x="18" y="76"/>
                  <a:pt x="17" y="77"/>
                </a:cubicBezTo>
                <a:cubicBezTo>
                  <a:pt x="16" y="77"/>
                  <a:pt x="16" y="76"/>
                  <a:pt x="15" y="77"/>
                </a:cubicBezTo>
                <a:cubicBezTo>
                  <a:pt x="15" y="79"/>
                  <a:pt x="16" y="79"/>
                  <a:pt x="16" y="82"/>
                </a:cubicBezTo>
                <a:cubicBezTo>
                  <a:pt x="17" y="86"/>
                  <a:pt x="17" y="93"/>
                  <a:pt x="18" y="96"/>
                </a:cubicBezTo>
                <a:cubicBezTo>
                  <a:pt x="19" y="98"/>
                  <a:pt x="20" y="97"/>
                  <a:pt x="22" y="98"/>
                </a:cubicBezTo>
                <a:cubicBezTo>
                  <a:pt x="21" y="98"/>
                  <a:pt x="23" y="99"/>
                  <a:pt x="24" y="99"/>
                </a:cubicBezTo>
                <a:cubicBezTo>
                  <a:pt x="24" y="99"/>
                  <a:pt x="26" y="96"/>
                  <a:pt x="26" y="96"/>
                </a:cubicBezTo>
                <a:cubicBezTo>
                  <a:pt x="27" y="96"/>
                  <a:pt x="27" y="96"/>
                  <a:pt x="27" y="96"/>
                </a:cubicBezTo>
                <a:cubicBezTo>
                  <a:pt x="27" y="96"/>
                  <a:pt x="30" y="79"/>
                  <a:pt x="30" y="79"/>
                </a:cubicBezTo>
                <a:cubicBezTo>
                  <a:pt x="30" y="78"/>
                  <a:pt x="27" y="77"/>
                  <a:pt x="27" y="76"/>
                </a:cubicBezTo>
                <a:cubicBezTo>
                  <a:pt x="26" y="75"/>
                  <a:pt x="27" y="73"/>
                  <a:pt x="26" y="72"/>
                </a:cubicBezTo>
                <a:cubicBezTo>
                  <a:pt x="25" y="71"/>
                  <a:pt x="24" y="72"/>
                  <a:pt x="23" y="71"/>
                </a:cubicBezTo>
                <a:close/>
              </a:path>
            </a:pathLst>
          </a:custGeom>
          <a:solidFill>
            <a:srgbClr val="00645E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5" name="Google Shape;525;p102"/>
          <p:cNvSpPr/>
          <p:nvPr/>
        </p:nvSpPr>
        <p:spPr>
          <a:xfrm>
            <a:off x="7098766" y="3718346"/>
            <a:ext cx="39612" cy="110196"/>
          </a:xfrm>
          <a:custGeom>
            <a:avLst/>
            <a:gdLst/>
            <a:ahLst/>
            <a:cxnLst/>
            <a:rect l="l" t="t" r="r" b="b"/>
            <a:pathLst>
              <a:path w="14" h="40" extrusionOk="0">
                <a:moveTo>
                  <a:pt x="12" y="15"/>
                </a:moveTo>
                <a:cubicBezTo>
                  <a:pt x="12" y="15"/>
                  <a:pt x="12" y="15"/>
                  <a:pt x="12" y="15"/>
                </a:cubicBezTo>
                <a:cubicBezTo>
                  <a:pt x="12" y="17"/>
                  <a:pt x="13" y="19"/>
                  <a:pt x="13" y="19"/>
                </a:cubicBezTo>
                <a:cubicBezTo>
                  <a:pt x="13" y="19"/>
                  <a:pt x="10" y="21"/>
                  <a:pt x="9" y="19"/>
                </a:cubicBezTo>
                <a:cubicBezTo>
                  <a:pt x="9" y="18"/>
                  <a:pt x="9" y="16"/>
                  <a:pt x="9" y="14"/>
                </a:cubicBezTo>
                <a:cubicBezTo>
                  <a:pt x="9" y="12"/>
                  <a:pt x="8" y="8"/>
                  <a:pt x="10" y="8"/>
                </a:cubicBezTo>
                <a:cubicBezTo>
                  <a:pt x="11" y="8"/>
                  <a:pt x="12" y="7"/>
                  <a:pt x="12" y="9"/>
                </a:cubicBezTo>
                <a:cubicBezTo>
                  <a:pt x="12" y="10"/>
                  <a:pt x="12" y="10"/>
                  <a:pt x="12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11" y="12"/>
                  <a:pt x="11" y="15"/>
                  <a:pt x="11" y="15"/>
                </a:cubicBezTo>
                <a:cubicBezTo>
                  <a:pt x="11" y="15"/>
                  <a:pt x="12" y="15"/>
                  <a:pt x="12" y="15"/>
                </a:cubicBezTo>
                <a:close/>
                <a:moveTo>
                  <a:pt x="2" y="15"/>
                </a:moveTo>
                <a:cubicBezTo>
                  <a:pt x="2" y="16"/>
                  <a:pt x="0" y="17"/>
                  <a:pt x="0" y="17"/>
                </a:cubicBezTo>
                <a:cubicBezTo>
                  <a:pt x="1" y="19"/>
                  <a:pt x="1" y="19"/>
                  <a:pt x="1" y="19"/>
                </a:cubicBezTo>
                <a:cubicBezTo>
                  <a:pt x="4" y="16"/>
                  <a:pt x="4" y="16"/>
                  <a:pt x="4" y="16"/>
                </a:cubicBezTo>
                <a:lnTo>
                  <a:pt x="2" y="15"/>
                </a:lnTo>
                <a:close/>
                <a:moveTo>
                  <a:pt x="4" y="40"/>
                </a:moveTo>
                <a:cubicBezTo>
                  <a:pt x="4" y="40"/>
                  <a:pt x="11" y="32"/>
                  <a:pt x="11" y="30"/>
                </a:cubicBezTo>
                <a:cubicBezTo>
                  <a:pt x="10" y="25"/>
                  <a:pt x="13" y="19"/>
                  <a:pt x="13" y="19"/>
                </a:cubicBezTo>
                <a:cubicBezTo>
                  <a:pt x="13" y="19"/>
                  <a:pt x="10" y="21"/>
                  <a:pt x="9" y="19"/>
                </a:cubicBezTo>
                <a:cubicBezTo>
                  <a:pt x="9" y="18"/>
                  <a:pt x="9" y="16"/>
                  <a:pt x="9" y="14"/>
                </a:cubicBezTo>
                <a:cubicBezTo>
                  <a:pt x="9" y="12"/>
                  <a:pt x="8" y="8"/>
                  <a:pt x="10" y="8"/>
                </a:cubicBezTo>
                <a:cubicBezTo>
                  <a:pt x="11" y="8"/>
                  <a:pt x="12" y="7"/>
                  <a:pt x="12" y="9"/>
                </a:cubicBezTo>
                <a:cubicBezTo>
                  <a:pt x="13" y="11"/>
                  <a:pt x="14" y="5"/>
                  <a:pt x="14" y="5"/>
                </a:cubicBezTo>
                <a:cubicBezTo>
                  <a:pt x="13" y="1"/>
                  <a:pt x="13" y="1"/>
                  <a:pt x="13" y="1"/>
                </a:cubicBezTo>
                <a:cubicBezTo>
                  <a:pt x="12" y="1"/>
                  <a:pt x="11" y="0"/>
                  <a:pt x="11" y="2"/>
                </a:cubicBezTo>
                <a:cubicBezTo>
                  <a:pt x="10" y="4"/>
                  <a:pt x="7" y="3"/>
                  <a:pt x="7" y="3"/>
                </a:cubicBezTo>
                <a:cubicBezTo>
                  <a:pt x="7" y="4"/>
                  <a:pt x="7" y="5"/>
                  <a:pt x="7" y="6"/>
                </a:cubicBezTo>
                <a:cubicBezTo>
                  <a:pt x="6" y="6"/>
                  <a:pt x="4" y="8"/>
                  <a:pt x="4" y="9"/>
                </a:cubicBezTo>
                <a:cubicBezTo>
                  <a:pt x="3" y="10"/>
                  <a:pt x="4" y="12"/>
                  <a:pt x="3" y="14"/>
                </a:cubicBezTo>
                <a:cubicBezTo>
                  <a:pt x="3" y="14"/>
                  <a:pt x="3" y="14"/>
                  <a:pt x="2" y="15"/>
                </a:cubicBezTo>
                <a:cubicBezTo>
                  <a:pt x="4" y="16"/>
                  <a:pt x="4" y="16"/>
                  <a:pt x="4" y="16"/>
                </a:cubicBezTo>
                <a:cubicBezTo>
                  <a:pt x="1" y="19"/>
                  <a:pt x="1" y="19"/>
                  <a:pt x="1" y="19"/>
                </a:cubicBezTo>
                <a:cubicBezTo>
                  <a:pt x="2" y="23"/>
                  <a:pt x="2" y="23"/>
                  <a:pt x="2" y="23"/>
                </a:cubicBezTo>
                <a:lnTo>
                  <a:pt x="4" y="40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6" name="Google Shape;526;p102"/>
          <p:cNvSpPr/>
          <p:nvPr/>
        </p:nvSpPr>
        <p:spPr>
          <a:xfrm>
            <a:off x="5988177" y="2934258"/>
            <a:ext cx="96828" cy="149754"/>
          </a:xfrm>
          <a:custGeom>
            <a:avLst/>
            <a:gdLst/>
            <a:ahLst/>
            <a:cxnLst/>
            <a:rect l="l" t="t" r="r" b="b"/>
            <a:pathLst>
              <a:path w="34" h="54" extrusionOk="0">
                <a:moveTo>
                  <a:pt x="30" y="4"/>
                </a:moveTo>
                <a:cubicBezTo>
                  <a:pt x="30" y="3"/>
                  <a:pt x="29" y="2"/>
                  <a:pt x="30" y="2"/>
                </a:cubicBezTo>
                <a:cubicBezTo>
                  <a:pt x="29" y="1"/>
                  <a:pt x="29" y="0"/>
                  <a:pt x="28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27" y="0"/>
                  <a:pt x="27" y="2"/>
                  <a:pt x="27" y="2"/>
                </a:cubicBezTo>
                <a:cubicBezTo>
                  <a:pt x="26" y="2"/>
                  <a:pt x="25" y="3"/>
                  <a:pt x="24" y="3"/>
                </a:cubicBezTo>
                <a:cubicBezTo>
                  <a:pt x="24" y="2"/>
                  <a:pt x="24" y="2"/>
                  <a:pt x="24" y="2"/>
                </a:cubicBezTo>
                <a:cubicBezTo>
                  <a:pt x="22" y="2"/>
                  <a:pt x="20" y="2"/>
                  <a:pt x="19" y="2"/>
                </a:cubicBezTo>
                <a:cubicBezTo>
                  <a:pt x="19" y="2"/>
                  <a:pt x="19" y="5"/>
                  <a:pt x="19" y="5"/>
                </a:cubicBezTo>
                <a:cubicBezTo>
                  <a:pt x="16" y="6"/>
                  <a:pt x="15" y="7"/>
                  <a:pt x="19" y="7"/>
                </a:cubicBezTo>
                <a:cubicBezTo>
                  <a:pt x="20" y="9"/>
                  <a:pt x="20" y="9"/>
                  <a:pt x="20" y="9"/>
                </a:cubicBezTo>
                <a:cubicBezTo>
                  <a:pt x="18" y="10"/>
                  <a:pt x="17" y="10"/>
                  <a:pt x="16" y="11"/>
                </a:cubicBezTo>
                <a:cubicBezTo>
                  <a:pt x="15" y="12"/>
                  <a:pt x="15" y="14"/>
                  <a:pt x="16" y="14"/>
                </a:cubicBezTo>
                <a:cubicBezTo>
                  <a:pt x="16" y="14"/>
                  <a:pt x="13" y="15"/>
                  <a:pt x="14" y="14"/>
                </a:cubicBezTo>
                <a:cubicBezTo>
                  <a:pt x="13" y="14"/>
                  <a:pt x="12" y="13"/>
                  <a:pt x="10" y="13"/>
                </a:cubicBezTo>
                <a:cubicBezTo>
                  <a:pt x="10" y="13"/>
                  <a:pt x="9" y="15"/>
                  <a:pt x="9" y="15"/>
                </a:cubicBezTo>
                <a:cubicBezTo>
                  <a:pt x="9" y="15"/>
                  <a:pt x="8" y="14"/>
                  <a:pt x="8" y="14"/>
                </a:cubicBezTo>
                <a:cubicBezTo>
                  <a:pt x="7" y="14"/>
                  <a:pt x="7" y="13"/>
                  <a:pt x="7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7"/>
                  <a:pt x="5" y="17"/>
                  <a:pt x="8" y="19"/>
                </a:cubicBezTo>
                <a:cubicBezTo>
                  <a:pt x="8" y="19"/>
                  <a:pt x="7" y="20"/>
                  <a:pt x="8" y="21"/>
                </a:cubicBezTo>
                <a:cubicBezTo>
                  <a:pt x="6" y="21"/>
                  <a:pt x="4" y="21"/>
                  <a:pt x="3" y="22"/>
                </a:cubicBezTo>
                <a:cubicBezTo>
                  <a:pt x="3" y="22"/>
                  <a:pt x="4" y="23"/>
                  <a:pt x="4" y="24"/>
                </a:cubicBezTo>
                <a:cubicBezTo>
                  <a:pt x="3" y="24"/>
                  <a:pt x="3" y="24"/>
                  <a:pt x="1" y="24"/>
                </a:cubicBezTo>
                <a:cubicBezTo>
                  <a:pt x="1" y="25"/>
                  <a:pt x="1" y="27"/>
                  <a:pt x="1" y="27"/>
                </a:cubicBezTo>
                <a:cubicBezTo>
                  <a:pt x="6" y="28"/>
                  <a:pt x="6" y="28"/>
                  <a:pt x="11" y="28"/>
                </a:cubicBezTo>
                <a:cubicBezTo>
                  <a:pt x="11" y="27"/>
                  <a:pt x="11" y="26"/>
                  <a:pt x="12" y="26"/>
                </a:cubicBezTo>
                <a:cubicBezTo>
                  <a:pt x="13" y="26"/>
                  <a:pt x="12" y="28"/>
                  <a:pt x="12" y="29"/>
                </a:cubicBezTo>
                <a:cubicBezTo>
                  <a:pt x="11" y="29"/>
                  <a:pt x="9" y="30"/>
                  <a:pt x="8" y="31"/>
                </a:cubicBezTo>
                <a:cubicBezTo>
                  <a:pt x="8" y="32"/>
                  <a:pt x="9" y="33"/>
                  <a:pt x="8" y="34"/>
                </a:cubicBezTo>
                <a:cubicBezTo>
                  <a:pt x="8" y="37"/>
                  <a:pt x="2" y="37"/>
                  <a:pt x="8" y="39"/>
                </a:cubicBezTo>
                <a:cubicBezTo>
                  <a:pt x="6" y="40"/>
                  <a:pt x="5" y="40"/>
                  <a:pt x="4" y="41"/>
                </a:cubicBezTo>
                <a:cubicBezTo>
                  <a:pt x="4" y="41"/>
                  <a:pt x="6" y="43"/>
                  <a:pt x="5" y="44"/>
                </a:cubicBezTo>
                <a:cubicBezTo>
                  <a:pt x="3" y="44"/>
                  <a:pt x="2" y="43"/>
                  <a:pt x="0" y="43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2" y="46"/>
                  <a:pt x="2" y="46"/>
                </a:cubicBezTo>
                <a:cubicBezTo>
                  <a:pt x="2" y="46"/>
                  <a:pt x="2" y="47"/>
                  <a:pt x="2" y="48"/>
                </a:cubicBezTo>
                <a:cubicBezTo>
                  <a:pt x="1" y="48"/>
                  <a:pt x="1" y="50"/>
                  <a:pt x="0" y="50"/>
                </a:cubicBezTo>
                <a:cubicBezTo>
                  <a:pt x="2" y="50"/>
                  <a:pt x="3" y="49"/>
                  <a:pt x="3" y="49"/>
                </a:cubicBezTo>
                <a:cubicBezTo>
                  <a:pt x="5" y="48"/>
                  <a:pt x="8" y="50"/>
                  <a:pt x="5" y="50"/>
                </a:cubicBezTo>
                <a:cubicBezTo>
                  <a:pt x="4" y="50"/>
                  <a:pt x="3" y="54"/>
                  <a:pt x="5" y="53"/>
                </a:cubicBezTo>
                <a:cubicBezTo>
                  <a:pt x="5" y="53"/>
                  <a:pt x="9" y="50"/>
                  <a:pt x="10" y="50"/>
                </a:cubicBezTo>
                <a:cubicBezTo>
                  <a:pt x="11" y="50"/>
                  <a:pt x="10" y="51"/>
                  <a:pt x="10" y="52"/>
                </a:cubicBezTo>
                <a:cubicBezTo>
                  <a:pt x="11" y="52"/>
                  <a:pt x="12" y="52"/>
                  <a:pt x="12" y="53"/>
                </a:cubicBezTo>
                <a:cubicBezTo>
                  <a:pt x="13" y="52"/>
                  <a:pt x="15" y="50"/>
                  <a:pt x="15" y="50"/>
                </a:cubicBezTo>
                <a:cubicBezTo>
                  <a:pt x="16" y="50"/>
                  <a:pt x="17" y="51"/>
                  <a:pt x="17" y="50"/>
                </a:cubicBezTo>
                <a:cubicBezTo>
                  <a:pt x="18" y="50"/>
                  <a:pt x="18" y="49"/>
                  <a:pt x="18" y="48"/>
                </a:cubicBezTo>
                <a:cubicBezTo>
                  <a:pt x="18" y="47"/>
                  <a:pt x="18" y="47"/>
                  <a:pt x="18" y="47"/>
                </a:cubicBezTo>
                <a:cubicBezTo>
                  <a:pt x="20" y="46"/>
                  <a:pt x="21" y="47"/>
                  <a:pt x="22" y="48"/>
                </a:cubicBezTo>
                <a:cubicBezTo>
                  <a:pt x="22" y="47"/>
                  <a:pt x="23" y="46"/>
                  <a:pt x="23" y="46"/>
                </a:cubicBezTo>
                <a:cubicBezTo>
                  <a:pt x="24" y="46"/>
                  <a:pt x="24" y="46"/>
                  <a:pt x="24" y="46"/>
                </a:cubicBezTo>
                <a:cubicBezTo>
                  <a:pt x="25" y="44"/>
                  <a:pt x="24" y="44"/>
                  <a:pt x="25" y="43"/>
                </a:cubicBezTo>
                <a:cubicBezTo>
                  <a:pt x="26" y="43"/>
                  <a:pt x="28" y="43"/>
                  <a:pt x="28" y="43"/>
                </a:cubicBezTo>
                <a:cubicBezTo>
                  <a:pt x="29" y="43"/>
                  <a:pt x="28" y="40"/>
                  <a:pt x="29" y="40"/>
                </a:cubicBezTo>
                <a:cubicBezTo>
                  <a:pt x="30" y="40"/>
                  <a:pt x="30" y="41"/>
                  <a:pt x="32" y="42"/>
                </a:cubicBezTo>
                <a:cubicBezTo>
                  <a:pt x="32" y="42"/>
                  <a:pt x="31" y="39"/>
                  <a:pt x="30" y="39"/>
                </a:cubicBezTo>
                <a:cubicBezTo>
                  <a:pt x="30" y="38"/>
                  <a:pt x="30" y="38"/>
                  <a:pt x="30" y="38"/>
                </a:cubicBezTo>
                <a:cubicBezTo>
                  <a:pt x="31" y="38"/>
                  <a:pt x="34" y="38"/>
                  <a:pt x="34" y="38"/>
                </a:cubicBezTo>
                <a:cubicBezTo>
                  <a:pt x="34" y="35"/>
                  <a:pt x="34" y="33"/>
                  <a:pt x="34" y="30"/>
                </a:cubicBezTo>
                <a:cubicBezTo>
                  <a:pt x="32" y="30"/>
                  <a:pt x="32" y="30"/>
                  <a:pt x="32" y="30"/>
                </a:cubicBezTo>
                <a:cubicBezTo>
                  <a:pt x="32" y="29"/>
                  <a:pt x="33" y="28"/>
                  <a:pt x="32" y="27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2" y="24"/>
                  <a:pt x="32" y="23"/>
                </a:cubicBezTo>
                <a:cubicBezTo>
                  <a:pt x="32" y="22"/>
                  <a:pt x="33" y="20"/>
                  <a:pt x="32" y="21"/>
                </a:cubicBezTo>
                <a:cubicBezTo>
                  <a:pt x="32" y="21"/>
                  <a:pt x="32" y="19"/>
                  <a:pt x="32" y="19"/>
                </a:cubicBezTo>
                <a:cubicBezTo>
                  <a:pt x="33" y="19"/>
                  <a:pt x="34" y="18"/>
                  <a:pt x="34" y="18"/>
                </a:cubicBezTo>
                <a:cubicBezTo>
                  <a:pt x="34" y="17"/>
                  <a:pt x="34" y="17"/>
                  <a:pt x="34" y="17"/>
                </a:cubicBezTo>
                <a:cubicBezTo>
                  <a:pt x="30" y="18"/>
                  <a:pt x="30" y="18"/>
                  <a:pt x="30" y="18"/>
                </a:cubicBezTo>
                <a:cubicBezTo>
                  <a:pt x="29" y="16"/>
                  <a:pt x="29" y="16"/>
                  <a:pt x="29" y="16"/>
                </a:cubicBezTo>
                <a:cubicBezTo>
                  <a:pt x="29" y="16"/>
                  <a:pt x="29" y="15"/>
                  <a:pt x="26" y="17"/>
                </a:cubicBezTo>
                <a:cubicBezTo>
                  <a:pt x="24" y="19"/>
                  <a:pt x="26" y="14"/>
                  <a:pt x="23" y="14"/>
                </a:cubicBezTo>
                <a:cubicBezTo>
                  <a:pt x="20" y="14"/>
                  <a:pt x="22" y="14"/>
                  <a:pt x="21" y="12"/>
                </a:cubicBezTo>
                <a:cubicBezTo>
                  <a:pt x="20" y="9"/>
                  <a:pt x="26" y="11"/>
                  <a:pt x="25" y="8"/>
                </a:cubicBezTo>
                <a:cubicBezTo>
                  <a:pt x="24" y="5"/>
                  <a:pt x="30" y="4"/>
                  <a:pt x="30" y="4"/>
                </a:cubicBezTo>
                <a:close/>
                <a:moveTo>
                  <a:pt x="11" y="36"/>
                </a:moveTo>
                <a:cubicBezTo>
                  <a:pt x="14" y="35"/>
                  <a:pt x="11" y="38"/>
                  <a:pt x="10" y="38"/>
                </a:cubicBezTo>
                <a:cubicBezTo>
                  <a:pt x="8" y="39"/>
                  <a:pt x="10" y="36"/>
                  <a:pt x="11" y="36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7" name="Google Shape;527;p102"/>
          <p:cNvSpPr/>
          <p:nvPr/>
        </p:nvSpPr>
        <p:spPr>
          <a:xfrm>
            <a:off x="7210265" y="3568592"/>
            <a:ext cx="256741" cy="255712"/>
          </a:xfrm>
          <a:custGeom>
            <a:avLst/>
            <a:gdLst/>
            <a:ahLst/>
            <a:cxnLst/>
            <a:rect l="l" t="t" r="r" b="b"/>
            <a:pathLst>
              <a:path w="89" h="92" extrusionOk="0">
                <a:moveTo>
                  <a:pt x="89" y="83"/>
                </a:moveTo>
                <a:cubicBezTo>
                  <a:pt x="88" y="82"/>
                  <a:pt x="88" y="82"/>
                  <a:pt x="88" y="82"/>
                </a:cubicBezTo>
                <a:cubicBezTo>
                  <a:pt x="88" y="82"/>
                  <a:pt x="87" y="82"/>
                  <a:pt x="86" y="80"/>
                </a:cubicBezTo>
                <a:cubicBezTo>
                  <a:pt x="85" y="78"/>
                  <a:pt x="83" y="78"/>
                  <a:pt x="83" y="78"/>
                </a:cubicBezTo>
                <a:cubicBezTo>
                  <a:pt x="83" y="73"/>
                  <a:pt x="83" y="73"/>
                  <a:pt x="83" y="73"/>
                </a:cubicBezTo>
                <a:cubicBezTo>
                  <a:pt x="81" y="73"/>
                  <a:pt x="81" y="73"/>
                  <a:pt x="81" y="73"/>
                </a:cubicBezTo>
                <a:cubicBezTo>
                  <a:pt x="80" y="70"/>
                  <a:pt x="80" y="69"/>
                  <a:pt x="80" y="66"/>
                </a:cubicBezTo>
                <a:cubicBezTo>
                  <a:pt x="81" y="63"/>
                  <a:pt x="80" y="63"/>
                  <a:pt x="78" y="61"/>
                </a:cubicBezTo>
                <a:cubicBezTo>
                  <a:pt x="76" y="58"/>
                  <a:pt x="76" y="57"/>
                  <a:pt x="75" y="55"/>
                </a:cubicBezTo>
                <a:cubicBezTo>
                  <a:pt x="74" y="53"/>
                  <a:pt x="73" y="54"/>
                  <a:pt x="70" y="54"/>
                </a:cubicBezTo>
                <a:cubicBezTo>
                  <a:pt x="67" y="54"/>
                  <a:pt x="71" y="54"/>
                  <a:pt x="71" y="52"/>
                </a:cubicBezTo>
                <a:cubicBezTo>
                  <a:pt x="70" y="50"/>
                  <a:pt x="66" y="46"/>
                  <a:pt x="64" y="45"/>
                </a:cubicBezTo>
                <a:cubicBezTo>
                  <a:pt x="61" y="45"/>
                  <a:pt x="61" y="39"/>
                  <a:pt x="59" y="38"/>
                </a:cubicBezTo>
                <a:cubicBezTo>
                  <a:pt x="57" y="37"/>
                  <a:pt x="58" y="35"/>
                  <a:pt x="57" y="34"/>
                </a:cubicBezTo>
                <a:cubicBezTo>
                  <a:pt x="56" y="32"/>
                  <a:pt x="60" y="34"/>
                  <a:pt x="58" y="29"/>
                </a:cubicBezTo>
                <a:cubicBezTo>
                  <a:pt x="57" y="27"/>
                  <a:pt x="60" y="30"/>
                  <a:pt x="61" y="28"/>
                </a:cubicBezTo>
                <a:cubicBezTo>
                  <a:pt x="62" y="27"/>
                  <a:pt x="62" y="26"/>
                  <a:pt x="61" y="23"/>
                </a:cubicBezTo>
                <a:cubicBezTo>
                  <a:pt x="60" y="21"/>
                  <a:pt x="63" y="23"/>
                  <a:pt x="65" y="21"/>
                </a:cubicBezTo>
                <a:cubicBezTo>
                  <a:pt x="66" y="20"/>
                  <a:pt x="64" y="19"/>
                  <a:pt x="64" y="19"/>
                </a:cubicBezTo>
                <a:cubicBezTo>
                  <a:pt x="64" y="19"/>
                  <a:pt x="62" y="20"/>
                  <a:pt x="60" y="19"/>
                </a:cubicBezTo>
                <a:cubicBezTo>
                  <a:pt x="58" y="18"/>
                  <a:pt x="58" y="18"/>
                  <a:pt x="56" y="18"/>
                </a:cubicBezTo>
                <a:cubicBezTo>
                  <a:pt x="55" y="18"/>
                  <a:pt x="55" y="16"/>
                  <a:pt x="53" y="16"/>
                </a:cubicBezTo>
                <a:cubicBezTo>
                  <a:pt x="51" y="16"/>
                  <a:pt x="53" y="13"/>
                  <a:pt x="51" y="13"/>
                </a:cubicBezTo>
                <a:cubicBezTo>
                  <a:pt x="49" y="13"/>
                  <a:pt x="52" y="10"/>
                  <a:pt x="50" y="10"/>
                </a:cubicBezTo>
                <a:cubicBezTo>
                  <a:pt x="48" y="10"/>
                  <a:pt x="51" y="8"/>
                  <a:pt x="50" y="7"/>
                </a:cubicBezTo>
                <a:cubicBezTo>
                  <a:pt x="49" y="5"/>
                  <a:pt x="48" y="2"/>
                  <a:pt x="48" y="2"/>
                </a:cubicBezTo>
                <a:cubicBezTo>
                  <a:pt x="45" y="1"/>
                  <a:pt x="45" y="1"/>
                  <a:pt x="45" y="1"/>
                </a:cubicBezTo>
                <a:cubicBezTo>
                  <a:pt x="42" y="3"/>
                  <a:pt x="42" y="3"/>
                  <a:pt x="42" y="3"/>
                </a:cubicBezTo>
                <a:cubicBezTo>
                  <a:pt x="41" y="1"/>
                  <a:pt x="41" y="1"/>
                  <a:pt x="41" y="1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38" y="1"/>
                  <a:pt x="37" y="2"/>
                </a:cubicBezTo>
                <a:cubicBezTo>
                  <a:pt x="36" y="4"/>
                  <a:pt x="33" y="0"/>
                  <a:pt x="31" y="1"/>
                </a:cubicBezTo>
                <a:cubicBezTo>
                  <a:pt x="31" y="2"/>
                  <a:pt x="30" y="2"/>
                  <a:pt x="29" y="2"/>
                </a:cubicBezTo>
                <a:cubicBezTo>
                  <a:pt x="29" y="2"/>
                  <a:pt x="29" y="6"/>
                  <a:pt x="27" y="8"/>
                </a:cubicBezTo>
                <a:cubicBezTo>
                  <a:pt x="25" y="9"/>
                  <a:pt x="23" y="10"/>
                  <a:pt x="23" y="13"/>
                </a:cubicBezTo>
                <a:cubicBezTo>
                  <a:pt x="23" y="16"/>
                  <a:pt x="24" y="15"/>
                  <a:pt x="24" y="17"/>
                </a:cubicBezTo>
                <a:cubicBezTo>
                  <a:pt x="23" y="20"/>
                  <a:pt x="21" y="20"/>
                  <a:pt x="22" y="23"/>
                </a:cubicBezTo>
                <a:cubicBezTo>
                  <a:pt x="23" y="26"/>
                  <a:pt x="23" y="25"/>
                  <a:pt x="22" y="27"/>
                </a:cubicBezTo>
                <a:cubicBezTo>
                  <a:pt x="21" y="30"/>
                  <a:pt x="21" y="30"/>
                  <a:pt x="20" y="32"/>
                </a:cubicBezTo>
                <a:cubicBezTo>
                  <a:pt x="19" y="34"/>
                  <a:pt x="18" y="35"/>
                  <a:pt x="18" y="35"/>
                </a:cubicBezTo>
                <a:cubicBezTo>
                  <a:pt x="0" y="49"/>
                  <a:pt x="0" y="49"/>
                  <a:pt x="0" y="49"/>
                </a:cubicBezTo>
                <a:cubicBezTo>
                  <a:pt x="5" y="64"/>
                  <a:pt x="5" y="64"/>
                  <a:pt x="5" y="64"/>
                </a:cubicBezTo>
                <a:cubicBezTo>
                  <a:pt x="29" y="78"/>
                  <a:pt x="29" y="78"/>
                  <a:pt x="29" y="78"/>
                </a:cubicBezTo>
                <a:cubicBezTo>
                  <a:pt x="30" y="81"/>
                  <a:pt x="30" y="81"/>
                  <a:pt x="30" y="81"/>
                </a:cubicBezTo>
                <a:cubicBezTo>
                  <a:pt x="36" y="81"/>
                  <a:pt x="36" y="81"/>
                  <a:pt x="36" y="81"/>
                </a:cubicBezTo>
                <a:cubicBezTo>
                  <a:pt x="37" y="87"/>
                  <a:pt x="37" y="87"/>
                  <a:pt x="37" y="87"/>
                </a:cubicBezTo>
                <a:cubicBezTo>
                  <a:pt x="43" y="90"/>
                  <a:pt x="43" y="90"/>
                  <a:pt x="43" y="90"/>
                </a:cubicBezTo>
                <a:cubicBezTo>
                  <a:pt x="59" y="92"/>
                  <a:pt x="59" y="92"/>
                  <a:pt x="59" y="92"/>
                </a:cubicBezTo>
                <a:cubicBezTo>
                  <a:pt x="59" y="92"/>
                  <a:pt x="65" y="88"/>
                  <a:pt x="67" y="86"/>
                </a:cubicBezTo>
                <a:cubicBezTo>
                  <a:pt x="69" y="83"/>
                  <a:pt x="71" y="78"/>
                  <a:pt x="73" y="79"/>
                </a:cubicBezTo>
                <a:cubicBezTo>
                  <a:pt x="76" y="80"/>
                  <a:pt x="78" y="80"/>
                  <a:pt x="78" y="80"/>
                </a:cubicBezTo>
                <a:cubicBezTo>
                  <a:pt x="78" y="80"/>
                  <a:pt x="79" y="80"/>
                  <a:pt x="80" y="80"/>
                </a:cubicBezTo>
                <a:cubicBezTo>
                  <a:pt x="80" y="80"/>
                  <a:pt x="81" y="82"/>
                  <a:pt x="81" y="82"/>
                </a:cubicBezTo>
                <a:cubicBezTo>
                  <a:pt x="82" y="83"/>
                  <a:pt x="83" y="83"/>
                  <a:pt x="85" y="83"/>
                </a:cubicBezTo>
                <a:cubicBezTo>
                  <a:pt x="85" y="83"/>
                  <a:pt x="85" y="81"/>
                  <a:pt x="86" y="81"/>
                </a:cubicBezTo>
                <a:cubicBezTo>
                  <a:pt x="86" y="81"/>
                  <a:pt x="88" y="83"/>
                  <a:pt x="88" y="83"/>
                </a:cubicBezTo>
                <a:cubicBezTo>
                  <a:pt x="88" y="83"/>
                  <a:pt x="88" y="83"/>
                  <a:pt x="89" y="8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8" name="Google Shape;528;p102"/>
          <p:cNvSpPr/>
          <p:nvPr/>
        </p:nvSpPr>
        <p:spPr>
          <a:xfrm>
            <a:off x="7334968" y="3485238"/>
            <a:ext cx="488541" cy="477517"/>
          </a:xfrm>
          <a:custGeom>
            <a:avLst/>
            <a:gdLst/>
            <a:ahLst/>
            <a:cxnLst/>
            <a:rect l="l" t="t" r="r" b="b"/>
            <a:pathLst>
              <a:path w="170" h="172" extrusionOk="0">
                <a:moveTo>
                  <a:pt x="149" y="172"/>
                </a:moveTo>
                <a:cubicBezTo>
                  <a:pt x="150" y="162"/>
                  <a:pt x="150" y="162"/>
                  <a:pt x="150" y="162"/>
                </a:cubicBezTo>
                <a:cubicBezTo>
                  <a:pt x="156" y="154"/>
                  <a:pt x="156" y="154"/>
                  <a:pt x="156" y="154"/>
                </a:cubicBezTo>
                <a:cubicBezTo>
                  <a:pt x="161" y="153"/>
                  <a:pt x="161" y="153"/>
                  <a:pt x="161" y="153"/>
                </a:cubicBezTo>
                <a:cubicBezTo>
                  <a:pt x="166" y="151"/>
                  <a:pt x="166" y="151"/>
                  <a:pt x="166" y="151"/>
                </a:cubicBezTo>
                <a:cubicBezTo>
                  <a:pt x="170" y="148"/>
                  <a:pt x="170" y="148"/>
                  <a:pt x="170" y="148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66" y="143"/>
                  <a:pt x="166" y="143"/>
                  <a:pt x="166" y="143"/>
                </a:cubicBezTo>
                <a:cubicBezTo>
                  <a:pt x="165" y="138"/>
                  <a:pt x="165" y="138"/>
                  <a:pt x="165" y="138"/>
                </a:cubicBezTo>
                <a:cubicBezTo>
                  <a:pt x="163" y="134"/>
                  <a:pt x="163" y="134"/>
                  <a:pt x="163" y="134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55" y="127"/>
                  <a:pt x="155" y="127"/>
                  <a:pt x="155" y="127"/>
                </a:cubicBezTo>
                <a:cubicBezTo>
                  <a:pt x="154" y="124"/>
                  <a:pt x="154" y="124"/>
                  <a:pt x="154" y="124"/>
                </a:cubicBezTo>
                <a:cubicBezTo>
                  <a:pt x="155" y="122"/>
                  <a:pt x="155" y="122"/>
                  <a:pt x="155" y="122"/>
                </a:cubicBezTo>
                <a:cubicBezTo>
                  <a:pt x="151" y="113"/>
                  <a:pt x="151" y="113"/>
                  <a:pt x="151" y="113"/>
                </a:cubicBezTo>
                <a:cubicBezTo>
                  <a:pt x="161" y="102"/>
                  <a:pt x="161" y="102"/>
                  <a:pt x="161" y="102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51" y="96"/>
                  <a:pt x="151" y="96"/>
                  <a:pt x="151" y="96"/>
                </a:cubicBezTo>
                <a:cubicBezTo>
                  <a:pt x="151" y="94"/>
                  <a:pt x="151" y="94"/>
                  <a:pt x="151" y="94"/>
                </a:cubicBezTo>
                <a:cubicBezTo>
                  <a:pt x="150" y="89"/>
                  <a:pt x="150" y="89"/>
                  <a:pt x="150" y="89"/>
                </a:cubicBezTo>
                <a:cubicBezTo>
                  <a:pt x="149" y="84"/>
                  <a:pt x="149" y="84"/>
                  <a:pt x="149" y="8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45" y="76"/>
                  <a:pt x="145" y="76"/>
                  <a:pt x="145" y="76"/>
                </a:cubicBezTo>
                <a:cubicBezTo>
                  <a:pt x="148" y="74"/>
                  <a:pt x="148" y="74"/>
                  <a:pt x="148" y="74"/>
                </a:cubicBezTo>
                <a:cubicBezTo>
                  <a:pt x="145" y="72"/>
                  <a:pt x="145" y="72"/>
                  <a:pt x="145" y="72"/>
                </a:cubicBezTo>
                <a:cubicBezTo>
                  <a:pt x="145" y="70"/>
                  <a:pt x="145" y="70"/>
                  <a:pt x="145" y="70"/>
                </a:cubicBezTo>
                <a:cubicBezTo>
                  <a:pt x="146" y="63"/>
                  <a:pt x="146" y="63"/>
                  <a:pt x="146" y="63"/>
                </a:cubicBezTo>
                <a:cubicBezTo>
                  <a:pt x="147" y="59"/>
                  <a:pt x="147" y="59"/>
                  <a:pt x="147" y="59"/>
                </a:cubicBezTo>
                <a:cubicBezTo>
                  <a:pt x="149" y="58"/>
                  <a:pt x="149" y="58"/>
                  <a:pt x="149" y="58"/>
                </a:cubicBezTo>
                <a:cubicBezTo>
                  <a:pt x="153" y="58"/>
                  <a:pt x="153" y="58"/>
                  <a:pt x="153" y="58"/>
                </a:cubicBezTo>
                <a:cubicBezTo>
                  <a:pt x="154" y="55"/>
                  <a:pt x="154" y="55"/>
                  <a:pt x="154" y="55"/>
                </a:cubicBezTo>
                <a:cubicBezTo>
                  <a:pt x="156" y="51"/>
                  <a:pt x="156" y="51"/>
                  <a:pt x="156" y="51"/>
                </a:cubicBezTo>
                <a:cubicBezTo>
                  <a:pt x="157" y="47"/>
                  <a:pt x="157" y="47"/>
                  <a:pt x="157" y="47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6" y="39"/>
                  <a:pt x="156" y="39"/>
                  <a:pt x="156" y="39"/>
                </a:cubicBezTo>
                <a:cubicBezTo>
                  <a:pt x="151" y="38"/>
                  <a:pt x="151" y="38"/>
                  <a:pt x="151" y="38"/>
                </a:cubicBezTo>
                <a:cubicBezTo>
                  <a:pt x="150" y="34"/>
                  <a:pt x="150" y="34"/>
                  <a:pt x="150" y="34"/>
                </a:cubicBezTo>
                <a:cubicBezTo>
                  <a:pt x="148" y="31"/>
                  <a:pt x="148" y="31"/>
                  <a:pt x="148" y="31"/>
                </a:cubicBezTo>
                <a:cubicBezTo>
                  <a:pt x="145" y="29"/>
                  <a:pt x="145" y="29"/>
                  <a:pt x="145" y="29"/>
                </a:cubicBezTo>
                <a:cubicBezTo>
                  <a:pt x="140" y="26"/>
                  <a:pt x="140" y="26"/>
                  <a:pt x="140" y="26"/>
                </a:cubicBezTo>
                <a:cubicBezTo>
                  <a:pt x="134" y="24"/>
                  <a:pt x="134" y="24"/>
                  <a:pt x="134" y="24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126" y="20"/>
                  <a:pt x="126" y="20"/>
                  <a:pt x="126" y="20"/>
                </a:cubicBezTo>
                <a:cubicBezTo>
                  <a:pt x="120" y="19"/>
                  <a:pt x="120" y="19"/>
                  <a:pt x="120" y="19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06" y="19"/>
                  <a:pt x="106" y="19"/>
                  <a:pt x="106" y="19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98" y="19"/>
                  <a:pt x="98" y="19"/>
                  <a:pt x="98" y="19"/>
                </a:cubicBezTo>
                <a:cubicBezTo>
                  <a:pt x="95" y="21"/>
                  <a:pt x="95" y="21"/>
                  <a:pt x="95" y="21"/>
                </a:cubicBezTo>
                <a:cubicBezTo>
                  <a:pt x="94" y="23"/>
                  <a:pt x="94" y="23"/>
                  <a:pt x="94" y="23"/>
                </a:cubicBezTo>
                <a:cubicBezTo>
                  <a:pt x="93" y="25"/>
                  <a:pt x="93" y="25"/>
                  <a:pt x="93" y="25"/>
                </a:cubicBezTo>
                <a:cubicBezTo>
                  <a:pt x="91" y="29"/>
                  <a:pt x="91" y="29"/>
                  <a:pt x="91" y="29"/>
                </a:cubicBezTo>
                <a:cubicBezTo>
                  <a:pt x="85" y="28"/>
                  <a:pt x="85" y="28"/>
                  <a:pt x="85" y="28"/>
                </a:cubicBezTo>
                <a:cubicBezTo>
                  <a:pt x="86" y="30"/>
                  <a:pt x="85" y="33"/>
                  <a:pt x="85" y="35"/>
                </a:cubicBezTo>
                <a:cubicBezTo>
                  <a:pt x="85" y="35"/>
                  <a:pt x="84" y="36"/>
                  <a:pt x="84" y="36"/>
                </a:cubicBezTo>
                <a:cubicBezTo>
                  <a:pt x="83" y="37"/>
                  <a:pt x="81" y="35"/>
                  <a:pt x="81" y="35"/>
                </a:cubicBezTo>
                <a:cubicBezTo>
                  <a:pt x="83" y="36"/>
                  <a:pt x="81" y="34"/>
                  <a:pt x="78" y="34"/>
                </a:cubicBezTo>
                <a:cubicBezTo>
                  <a:pt x="76" y="34"/>
                  <a:pt x="70" y="39"/>
                  <a:pt x="69" y="39"/>
                </a:cubicBezTo>
                <a:cubicBezTo>
                  <a:pt x="67" y="39"/>
                  <a:pt x="58" y="33"/>
                  <a:pt x="56" y="32"/>
                </a:cubicBezTo>
                <a:cubicBezTo>
                  <a:pt x="56" y="31"/>
                  <a:pt x="54" y="29"/>
                  <a:pt x="54" y="29"/>
                </a:cubicBezTo>
                <a:cubicBezTo>
                  <a:pt x="53" y="28"/>
                  <a:pt x="52" y="29"/>
                  <a:pt x="51" y="29"/>
                </a:cubicBezTo>
                <a:cubicBezTo>
                  <a:pt x="50" y="27"/>
                  <a:pt x="50" y="27"/>
                  <a:pt x="50" y="27"/>
                </a:cubicBezTo>
                <a:cubicBezTo>
                  <a:pt x="48" y="27"/>
                  <a:pt x="47" y="32"/>
                  <a:pt x="44" y="27"/>
                </a:cubicBezTo>
                <a:cubicBezTo>
                  <a:pt x="44" y="26"/>
                  <a:pt x="44" y="26"/>
                  <a:pt x="44" y="26"/>
                </a:cubicBezTo>
                <a:cubicBezTo>
                  <a:pt x="42" y="23"/>
                  <a:pt x="41" y="18"/>
                  <a:pt x="41" y="14"/>
                </a:cubicBezTo>
                <a:cubicBezTo>
                  <a:pt x="41" y="14"/>
                  <a:pt x="39" y="13"/>
                  <a:pt x="38" y="12"/>
                </a:cubicBezTo>
                <a:cubicBezTo>
                  <a:pt x="36" y="11"/>
                  <a:pt x="37" y="11"/>
                  <a:pt x="36" y="9"/>
                </a:cubicBezTo>
                <a:cubicBezTo>
                  <a:pt x="37" y="7"/>
                  <a:pt x="33" y="6"/>
                  <a:pt x="36" y="6"/>
                </a:cubicBezTo>
                <a:cubicBezTo>
                  <a:pt x="37" y="6"/>
                  <a:pt x="36" y="4"/>
                  <a:pt x="35" y="2"/>
                </a:cubicBezTo>
                <a:cubicBezTo>
                  <a:pt x="33" y="0"/>
                  <a:pt x="34" y="3"/>
                  <a:pt x="32" y="3"/>
                </a:cubicBezTo>
                <a:cubicBezTo>
                  <a:pt x="30" y="4"/>
                  <a:pt x="27" y="7"/>
                  <a:pt x="27" y="7"/>
                </a:cubicBezTo>
                <a:cubicBezTo>
                  <a:pt x="27" y="7"/>
                  <a:pt x="27" y="8"/>
                  <a:pt x="26" y="9"/>
                </a:cubicBezTo>
                <a:cubicBezTo>
                  <a:pt x="24" y="10"/>
                  <a:pt x="24" y="10"/>
                  <a:pt x="23" y="10"/>
                </a:cubicBezTo>
                <a:cubicBezTo>
                  <a:pt x="23" y="10"/>
                  <a:pt x="20" y="11"/>
                  <a:pt x="19" y="11"/>
                </a:cubicBezTo>
                <a:cubicBezTo>
                  <a:pt x="17" y="11"/>
                  <a:pt x="17" y="11"/>
                  <a:pt x="16" y="10"/>
                </a:cubicBezTo>
                <a:cubicBezTo>
                  <a:pt x="14" y="9"/>
                  <a:pt x="15" y="7"/>
                  <a:pt x="13" y="6"/>
                </a:cubicBezTo>
                <a:cubicBezTo>
                  <a:pt x="11" y="4"/>
                  <a:pt x="11" y="3"/>
                  <a:pt x="11" y="3"/>
                </a:cubicBezTo>
                <a:cubicBezTo>
                  <a:pt x="10" y="3"/>
                  <a:pt x="10" y="3"/>
                  <a:pt x="10" y="3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7" y="6"/>
                  <a:pt x="6" y="4"/>
                </a:cubicBezTo>
                <a:cubicBezTo>
                  <a:pt x="4" y="3"/>
                  <a:pt x="5" y="5"/>
                  <a:pt x="3" y="6"/>
                </a:cubicBezTo>
                <a:cubicBezTo>
                  <a:pt x="1" y="8"/>
                  <a:pt x="2" y="9"/>
                  <a:pt x="3" y="11"/>
                </a:cubicBezTo>
                <a:cubicBezTo>
                  <a:pt x="4" y="12"/>
                  <a:pt x="3" y="11"/>
                  <a:pt x="3" y="13"/>
                </a:cubicBezTo>
                <a:cubicBezTo>
                  <a:pt x="4" y="15"/>
                  <a:pt x="2" y="15"/>
                  <a:pt x="1" y="17"/>
                </a:cubicBezTo>
                <a:cubicBezTo>
                  <a:pt x="0" y="19"/>
                  <a:pt x="2" y="22"/>
                  <a:pt x="4" y="23"/>
                </a:cubicBezTo>
                <a:cubicBezTo>
                  <a:pt x="5" y="25"/>
                  <a:pt x="5" y="27"/>
                  <a:pt x="6" y="29"/>
                </a:cubicBezTo>
                <a:cubicBezTo>
                  <a:pt x="7" y="30"/>
                  <a:pt x="5" y="32"/>
                  <a:pt x="5" y="32"/>
                </a:cubicBezTo>
                <a:cubicBezTo>
                  <a:pt x="5" y="32"/>
                  <a:pt x="6" y="35"/>
                  <a:pt x="7" y="37"/>
                </a:cubicBezTo>
                <a:cubicBezTo>
                  <a:pt x="8" y="38"/>
                  <a:pt x="5" y="40"/>
                  <a:pt x="7" y="40"/>
                </a:cubicBezTo>
                <a:cubicBezTo>
                  <a:pt x="9" y="40"/>
                  <a:pt x="6" y="43"/>
                  <a:pt x="8" y="43"/>
                </a:cubicBezTo>
                <a:cubicBezTo>
                  <a:pt x="10" y="43"/>
                  <a:pt x="8" y="46"/>
                  <a:pt x="10" y="46"/>
                </a:cubicBezTo>
                <a:cubicBezTo>
                  <a:pt x="12" y="46"/>
                  <a:pt x="12" y="48"/>
                  <a:pt x="13" y="48"/>
                </a:cubicBezTo>
                <a:cubicBezTo>
                  <a:pt x="15" y="48"/>
                  <a:pt x="15" y="48"/>
                  <a:pt x="17" y="49"/>
                </a:cubicBezTo>
                <a:cubicBezTo>
                  <a:pt x="19" y="50"/>
                  <a:pt x="21" y="49"/>
                  <a:pt x="21" y="49"/>
                </a:cubicBezTo>
                <a:cubicBezTo>
                  <a:pt x="21" y="49"/>
                  <a:pt x="23" y="50"/>
                  <a:pt x="22" y="51"/>
                </a:cubicBezTo>
                <a:cubicBezTo>
                  <a:pt x="20" y="53"/>
                  <a:pt x="17" y="51"/>
                  <a:pt x="18" y="53"/>
                </a:cubicBezTo>
                <a:cubicBezTo>
                  <a:pt x="19" y="56"/>
                  <a:pt x="19" y="57"/>
                  <a:pt x="18" y="58"/>
                </a:cubicBezTo>
                <a:cubicBezTo>
                  <a:pt x="17" y="60"/>
                  <a:pt x="14" y="57"/>
                  <a:pt x="15" y="59"/>
                </a:cubicBezTo>
                <a:cubicBezTo>
                  <a:pt x="17" y="64"/>
                  <a:pt x="13" y="62"/>
                  <a:pt x="14" y="64"/>
                </a:cubicBezTo>
                <a:cubicBezTo>
                  <a:pt x="15" y="65"/>
                  <a:pt x="14" y="67"/>
                  <a:pt x="16" y="68"/>
                </a:cubicBezTo>
                <a:cubicBezTo>
                  <a:pt x="18" y="69"/>
                  <a:pt x="18" y="75"/>
                  <a:pt x="21" y="75"/>
                </a:cubicBezTo>
                <a:cubicBezTo>
                  <a:pt x="23" y="76"/>
                  <a:pt x="27" y="80"/>
                  <a:pt x="28" y="82"/>
                </a:cubicBezTo>
                <a:cubicBezTo>
                  <a:pt x="28" y="84"/>
                  <a:pt x="24" y="84"/>
                  <a:pt x="27" y="84"/>
                </a:cubicBezTo>
                <a:cubicBezTo>
                  <a:pt x="30" y="84"/>
                  <a:pt x="31" y="83"/>
                  <a:pt x="32" y="85"/>
                </a:cubicBezTo>
                <a:cubicBezTo>
                  <a:pt x="33" y="87"/>
                  <a:pt x="33" y="88"/>
                  <a:pt x="35" y="91"/>
                </a:cubicBezTo>
                <a:cubicBezTo>
                  <a:pt x="37" y="93"/>
                  <a:pt x="38" y="93"/>
                  <a:pt x="37" y="96"/>
                </a:cubicBezTo>
                <a:cubicBezTo>
                  <a:pt x="37" y="99"/>
                  <a:pt x="37" y="100"/>
                  <a:pt x="38" y="103"/>
                </a:cubicBezTo>
                <a:cubicBezTo>
                  <a:pt x="40" y="103"/>
                  <a:pt x="40" y="103"/>
                  <a:pt x="40" y="103"/>
                </a:cubicBezTo>
                <a:cubicBezTo>
                  <a:pt x="40" y="108"/>
                  <a:pt x="40" y="108"/>
                  <a:pt x="40" y="108"/>
                </a:cubicBezTo>
                <a:cubicBezTo>
                  <a:pt x="40" y="108"/>
                  <a:pt x="42" y="108"/>
                  <a:pt x="43" y="110"/>
                </a:cubicBezTo>
                <a:cubicBezTo>
                  <a:pt x="44" y="111"/>
                  <a:pt x="45" y="112"/>
                  <a:pt x="45" y="112"/>
                </a:cubicBezTo>
                <a:cubicBezTo>
                  <a:pt x="45" y="113"/>
                  <a:pt x="45" y="113"/>
                  <a:pt x="45" y="113"/>
                </a:cubicBezTo>
                <a:cubicBezTo>
                  <a:pt x="48" y="115"/>
                  <a:pt x="50" y="114"/>
                  <a:pt x="54" y="113"/>
                </a:cubicBezTo>
                <a:cubicBezTo>
                  <a:pt x="55" y="115"/>
                  <a:pt x="56" y="118"/>
                  <a:pt x="57" y="120"/>
                </a:cubicBezTo>
                <a:cubicBezTo>
                  <a:pt x="57" y="122"/>
                  <a:pt x="57" y="123"/>
                  <a:pt x="58" y="124"/>
                </a:cubicBezTo>
                <a:cubicBezTo>
                  <a:pt x="58" y="125"/>
                  <a:pt x="60" y="125"/>
                  <a:pt x="60" y="126"/>
                </a:cubicBezTo>
                <a:cubicBezTo>
                  <a:pt x="60" y="128"/>
                  <a:pt x="60" y="128"/>
                  <a:pt x="60" y="128"/>
                </a:cubicBezTo>
                <a:cubicBezTo>
                  <a:pt x="60" y="130"/>
                  <a:pt x="63" y="130"/>
                  <a:pt x="63" y="132"/>
                </a:cubicBezTo>
                <a:cubicBezTo>
                  <a:pt x="63" y="133"/>
                  <a:pt x="62" y="134"/>
                  <a:pt x="63" y="135"/>
                </a:cubicBezTo>
                <a:cubicBezTo>
                  <a:pt x="63" y="136"/>
                  <a:pt x="66" y="136"/>
                  <a:pt x="66" y="136"/>
                </a:cubicBezTo>
                <a:cubicBezTo>
                  <a:pt x="67" y="138"/>
                  <a:pt x="66" y="139"/>
                  <a:pt x="67" y="140"/>
                </a:cubicBezTo>
                <a:cubicBezTo>
                  <a:pt x="67" y="141"/>
                  <a:pt x="70" y="145"/>
                  <a:pt x="71" y="145"/>
                </a:cubicBezTo>
                <a:cubicBezTo>
                  <a:pt x="72" y="145"/>
                  <a:pt x="72" y="145"/>
                  <a:pt x="72" y="145"/>
                </a:cubicBezTo>
                <a:cubicBezTo>
                  <a:pt x="73" y="146"/>
                  <a:pt x="72" y="147"/>
                  <a:pt x="72" y="148"/>
                </a:cubicBezTo>
                <a:cubicBezTo>
                  <a:pt x="78" y="153"/>
                  <a:pt x="78" y="153"/>
                  <a:pt x="78" y="153"/>
                </a:cubicBezTo>
                <a:cubicBezTo>
                  <a:pt x="79" y="153"/>
                  <a:pt x="80" y="153"/>
                  <a:pt x="81" y="153"/>
                </a:cubicBezTo>
                <a:cubicBezTo>
                  <a:pt x="81" y="153"/>
                  <a:pt x="83" y="155"/>
                  <a:pt x="83" y="155"/>
                </a:cubicBezTo>
                <a:cubicBezTo>
                  <a:pt x="84" y="155"/>
                  <a:pt x="85" y="155"/>
                  <a:pt x="85" y="155"/>
                </a:cubicBezTo>
                <a:cubicBezTo>
                  <a:pt x="87" y="156"/>
                  <a:pt x="89" y="158"/>
                  <a:pt x="93" y="157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98" y="153"/>
                  <a:pt x="103" y="151"/>
                  <a:pt x="108" y="148"/>
                </a:cubicBezTo>
                <a:cubicBezTo>
                  <a:pt x="110" y="150"/>
                  <a:pt x="113" y="152"/>
                  <a:pt x="114" y="155"/>
                </a:cubicBezTo>
                <a:cubicBezTo>
                  <a:pt x="116" y="160"/>
                  <a:pt x="115" y="164"/>
                  <a:pt x="119" y="166"/>
                </a:cubicBezTo>
                <a:cubicBezTo>
                  <a:pt x="123" y="168"/>
                  <a:pt x="126" y="168"/>
                  <a:pt x="131" y="168"/>
                </a:cubicBezTo>
                <a:cubicBezTo>
                  <a:pt x="131" y="169"/>
                  <a:pt x="131" y="169"/>
                  <a:pt x="131" y="169"/>
                </a:cubicBezTo>
                <a:cubicBezTo>
                  <a:pt x="135" y="170"/>
                  <a:pt x="139" y="168"/>
                  <a:pt x="142" y="168"/>
                </a:cubicBezTo>
                <a:cubicBezTo>
                  <a:pt x="143" y="168"/>
                  <a:pt x="145" y="170"/>
                  <a:pt x="146" y="170"/>
                </a:cubicBezTo>
                <a:cubicBezTo>
                  <a:pt x="146" y="172"/>
                  <a:pt x="146" y="172"/>
                  <a:pt x="146" y="172"/>
                </a:cubicBezTo>
                <a:cubicBezTo>
                  <a:pt x="147" y="172"/>
                  <a:pt x="148" y="172"/>
                  <a:pt x="149" y="172"/>
                </a:cubicBezTo>
                <a:close/>
                <a:moveTo>
                  <a:pt x="6" y="18"/>
                </a:moveTo>
                <a:cubicBezTo>
                  <a:pt x="11" y="18"/>
                  <a:pt x="11" y="22"/>
                  <a:pt x="13" y="25"/>
                </a:cubicBezTo>
                <a:cubicBezTo>
                  <a:pt x="14" y="25"/>
                  <a:pt x="16" y="26"/>
                  <a:pt x="16" y="27"/>
                </a:cubicBezTo>
                <a:cubicBezTo>
                  <a:pt x="16" y="28"/>
                  <a:pt x="15" y="30"/>
                  <a:pt x="16" y="31"/>
                </a:cubicBezTo>
                <a:cubicBezTo>
                  <a:pt x="16" y="32"/>
                  <a:pt x="23" y="31"/>
                  <a:pt x="18" y="35"/>
                </a:cubicBezTo>
                <a:cubicBezTo>
                  <a:pt x="16" y="38"/>
                  <a:pt x="17" y="36"/>
                  <a:pt x="13" y="37"/>
                </a:cubicBezTo>
                <a:cubicBezTo>
                  <a:pt x="12" y="36"/>
                  <a:pt x="11" y="33"/>
                  <a:pt x="10" y="32"/>
                </a:cubicBezTo>
                <a:cubicBezTo>
                  <a:pt x="10" y="31"/>
                  <a:pt x="11" y="30"/>
                  <a:pt x="10" y="29"/>
                </a:cubicBezTo>
                <a:cubicBezTo>
                  <a:pt x="10" y="29"/>
                  <a:pt x="8" y="28"/>
                  <a:pt x="8" y="27"/>
                </a:cubicBezTo>
                <a:cubicBezTo>
                  <a:pt x="7" y="26"/>
                  <a:pt x="9" y="24"/>
                  <a:pt x="8" y="23"/>
                </a:cubicBezTo>
                <a:cubicBezTo>
                  <a:pt x="8" y="22"/>
                  <a:pt x="6" y="21"/>
                  <a:pt x="6" y="20"/>
                </a:cubicBezTo>
                <a:cubicBezTo>
                  <a:pt x="6" y="20"/>
                  <a:pt x="4" y="18"/>
                  <a:pt x="6" y="1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29" name="Google Shape;529;p102"/>
          <p:cNvSpPr/>
          <p:nvPr/>
        </p:nvSpPr>
        <p:spPr>
          <a:xfrm>
            <a:off x="8596667" y="4539166"/>
            <a:ext cx="1128193" cy="512836"/>
          </a:xfrm>
          <a:custGeom>
            <a:avLst/>
            <a:gdLst/>
            <a:ahLst/>
            <a:cxnLst/>
            <a:rect l="l" t="t" r="r" b="b"/>
            <a:pathLst>
              <a:path w="392" h="185" extrusionOk="0">
                <a:moveTo>
                  <a:pt x="11" y="4"/>
                </a:moveTo>
                <a:cubicBezTo>
                  <a:pt x="10" y="4"/>
                  <a:pt x="9" y="2"/>
                  <a:pt x="8" y="1"/>
                </a:cubicBezTo>
                <a:cubicBezTo>
                  <a:pt x="6" y="0"/>
                  <a:pt x="4" y="0"/>
                  <a:pt x="1" y="0"/>
                </a:cubicBezTo>
                <a:cubicBezTo>
                  <a:pt x="1" y="2"/>
                  <a:pt x="0" y="5"/>
                  <a:pt x="1" y="7"/>
                </a:cubicBezTo>
                <a:cubicBezTo>
                  <a:pt x="2" y="8"/>
                  <a:pt x="2" y="8"/>
                  <a:pt x="2" y="8"/>
                </a:cubicBezTo>
                <a:cubicBezTo>
                  <a:pt x="4" y="11"/>
                  <a:pt x="4" y="15"/>
                  <a:pt x="7" y="17"/>
                </a:cubicBezTo>
                <a:cubicBezTo>
                  <a:pt x="8" y="17"/>
                  <a:pt x="9" y="17"/>
                  <a:pt x="9" y="18"/>
                </a:cubicBezTo>
                <a:cubicBezTo>
                  <a:pt x="11" y="19"/>
                  <a:pt x="11" y="21"/>
                  <a:pt x="12" y="22"/>
                </a:cubicBezTo>
                <a:cubicBezTo>
                  <a:pt x="13" y="23"/>
                  <a:pt x="15" y="23"/>
                  <a:pt x="16" y="24"/>
                </a:cubicBezTo>
                <a:cubicBezTo>
                  <a:pt x="17" y="25"/>
                  <a:pt x="16" y="26"/>
                  <a:pt x="17" y="27"/>
                </a:cubicBezTo>
                <a:cubicBezTo>
                  <a:pt x="18" y="28"/>
                  <a:pt x="20" y="29"/>
                  <a:pt x="21" y="30"/>
                </a:cubicBezTo>
                <a:cubicBezTo>
                  <a:pt x="21" y="31"/>
                  <a:pt x="21" y="32"/>
                  <a:pt x="21" y="33"/>
                </a:cubicBezTo>
                <a:cubicBezTo>
                  <a:pt x="22" y="33"/>
                  <a:pt x="23" y="34"/>
                  <a:pt x="23" y="34"/>
                </a:cubicBezTo>
                <a:cubicBezTo>
                  <a:pt x="24" y="36"/>
                  <a:pt x="24" y="37"/>
                  <a:pt x="24" y="40"/>
                </a:cubicBezTo>
                <a:cubicBezTo>
                  <a:pt x="26" y="40"/>
                  <a:pt x="28" y="40"/>
                  <a:pt x="29" y="41"/>
                </a:cubicBezTo>
                <a:cubicBezTo>
                  <a:pt x="30" y="41"/>
                  <a:pt x="31" y="43"/>
                  <a:pt x="31" y="44"/>
                </a:cubicBezTo>
                <a:cubicBezTo>
                  <a:pt x="32" y="44"/>
                  <a:pt x="33" y="43"/>
                  <a:pt x="33" y="44"/>
                </a:cubicBezTo>
                <a:cubicBezTo>
                  <a:pt x="34" y="46"/>
                  <a:pt x="33" y="49"/>
                  <a:pt x="33" y="52"/>
                </a:cubicBezTo>
                <a:cubicBezTo>
                  <a:pt x="34" y="53"/>
                  <a:pt x="36" y="56"/>
                  <a:pt x="36" y="57"/>
                </a:cubicBezTo>
                <a:cubicBezTo>
                  <a:pt x="36" y="58"/>
                  <a:pt x="36" y="59"/>
                  <a:pt x="36" y="60"/>
                </a:cubicBezTo>
                <a:cubicBezTo>
                  <a:pt x="37" y="61"/>
                  <a:pt x="39" y="61"/>
                  <a:pt x="39" y="62"/>
                </a:cubicBezTo>
                <a:cubicBezTo>
                  <a:pt x="41" y="63"/>
                  <a:pt x="41" y="65"/>
                  <a:pt x="42" y="67"/>
                </a:cubicBezTo>
                <a:cubicBezTo>
                  <a:pt x="43" y="68"/>
                  <a:pt x="46" y="69"/>
                  <a:pt x="47" y="70"/>
                </a:cubicBezTo>
                <a:cubicBezTo>
                  <a:pt x="48" y="72"/>
                  <a:pt x="51" y="81"/>
                  <a:pt x="53" y="82"/>
                </a:cubicBezTo>
                <a:cubicBezTo>
                  <a:pt x="53" y="82"/>
                  <a:pt x="53" y="82"/>
                  <a:pt x="53" y="82"/>
                </a:cubicBezTo>
                <a:cubicBezTo>
                  <a:pt x="54" y="84"/>
                  <a:pt x="53" y="86"/>
                  <a:pt x="53" y="87"/>
                </a:cubicBezTo>
                <a:cubicBezTo>
                  <a:pt x="53" y="88"/>
                  <a:pt x="55" y="88"/>
                  <a:pt x="55" y="89"/>
                </a:cubicBezTo>
                <a:cubicBezTo>
                  <a:pt x="56" y="91"/>
                  <a:pt x="58" y="97"/>
                  <a:pt x="59" y="98"/>
                </a:cubicBezTo>
                <a:cubicBezTo>
                  <a:pt x="59" y="98"/>
                  <a:pt x="61" y="99"/>
                  <a:pt x="61" y="99"/>
                </a:cubicBezTo>
                <a:cubicBezTo>
                  <a:pt x="63" y="102"/>
                  <a:pt x="63" y="105"/>
                  <a:pt x="64" y="108"/>
                </a:cubicBezTo>
                <a:cubicBezTo>
                  <a:pt x="64" y="109"/>
                  <a:pt x="66" y="111"/>
                  <a:pt x="67" y="112"/>
                </a:cubicBezTo>
                <a:cubicBezTo>
                  <a:pt x="67" y="113"/>
                  <a:pt x="67" y="113"/>
                  <a:pt x="67" y="113"/>
                </a:cubicBezTo>
                <a:cubicBezTo>
                  <a:pt x="67" y="114"/>
                  <a:pt x="72" y="115"/>
                  <a:pt x="73" y="116"/>
                </a:cubicBezTo>
                <a:cubicBezTo>
                  <a:pt x="73" y="116"/>
                  <a:pt x="75" y="116"/>
                  <a:pt x="75" y="117"/>
                </a:cubicBezTo>
                <a:cubicBezTo>
                  <a:pt x="76" y="117"/>
                  <a:pt x="79" y="121"/>
                  <a:pt x="80" y="122"/>
                </a:cubicBezTo>
                <a:cubicBezTo>
                  <a:pt x="81" y="123"/>
                  <a:pt x="83" y="123"/>
                  <a:pt x="85" y="123"/>
                </a:cubicBezTo>
                <a:cubicBezTo>
                  <a:pt x="84" y="122"/>
                  <a:pt x="84" y="120"/>
                  <a:pt x="83" y="120"/>
                </a:cubicBezTo>
                <a:cubicBezTo>
                  <a:pt x="82" y="120"/>
                  <a:pt x="83" y="119"/>
                  <a:pt x="85" y="119"/>
                </a:cubicBezTo>
                <a:cubicBezTo>
                  <a:pt x="85" y="120"/>
                  <a:pt x="87" y="122"/>
                  <a:pt x="89" y="121"/>
                </a:cubicBezTo>
                <a:cubicBezTo>
                  <a:pt x="90" y="121"/>
                  <a:pt x="89" y="120"/>
                  <a:pt x="90" y="119"/>
                </a:cubicBezTo>
                <a:cubicBezTo>
                  <a:pt x="90" y="120"/>
                  <a:pt x="90" y="120"/>
                  <a:pt x="90" y="120"/>
                </a:cubicBezTo>
                <a:cubicBezTo>
                  <a:pt x="92" y="120"/>
                  <a:pt x="93" y="120"/>
                  <a:pt x="94" y="120"/>
                </a:cubicBezTo>
                <a:cubicBezTo>
                  <a:pt x="92" y="119"/>
                  <a:pt x="95" y="101"/>
                  <a:pt x="96" y="98"/>
                </a:cubicBezTo>
                <a:cubicBezTo>
                  <a:pt x="95" y="97"/>
                  <a:pt x="94" y="97"/>
                  <a:pt x="93" y="97"/>
                </a:cubicBezTo>
                <a:cubicBezTo>
                  <a:pt x="92" y="96"/>
                  <a:pt x="91" y="91"/>
                  <a:pt x="91" y="89"/>
                </a:cubicBezTo>
                <a:cubicBezTo>
                  <a:pt x="89" y="90"/>
                  <a:pt x="87" y="89"/>
                  <a:pt x="87" y="89"/>
                </a:cubicBezTo>
                <a:cubicBezTo>
                  <a:pt x="86" y="89"/>
                  <a:pt x="85" y="88"/>
                  <a:pt x="85" y="88"/>
                </a:cubicBezTo>
                <a:cubicBezTo>
                  <a:pt x="85" y="87"/>
                  <a:pt x="86" y="87"/>
                  <a:pt x="85" y="85"/>
                </a:cubicBezTo>
                <a:cubicBezTo>
                  <a:pt x="85" y="85"/>
                  <a:pt x="82" y="84"/>
                  <a:pt x="82" y="83"/>
                </a:cubicBezTo>
                <a:cubicBezTo>
                  <a:pt x="82" y="82"/>
                  <a:pt x="82" y="77"/>
                  <a:pt x="83" y="76"/>
                </a:cubicBezTo>
                <a:cubicBezTo>
                  <a:pt x="81" y="76"/>
                  <a:pt x="80" y="76"/>
                  <a:pt x="79" y="76"/>
                </a:cubicBezTo>
                <a:cubicBezTo>
                  <a:pt x="79" y="75"/>
                  <a:pt x="79" y="75"/>
                  <a:pt x="79" y="75"/>
                </a:cubicBezTo>
                <a:cubicBezTo>
                  <a:pt x="77" y="75"/>
                  <a:pt x="77" y="75"/>
                  <a:pt x="77" y="75"/>
                </a:cubicBezTo>
                <a:cubicBezTo>
                  <a:pt x="77" y="75"/>
                  <a:pt x="77" y="76"/>
                  <a:pt x="76" y="76"/>
                </a:cubicBezTo>
                <a:cubicBezTo>
                  <a:pt x="76" y="76"/>
                  <a:pt x="74" y="74"/>
                  <a:pt x="73" y="74"/>
                </a:cubicBezTo>
                <a:cubicBezTo>
                  <a:pt x="73" y="73"/>
                  <a:pt x="73" y="70"/>
                  <a:pt x="73" y="69"/>
                </a:cubicBezTo>
                <a:cubicBezTo>
                  <a:pt x="73" y="68"/>
                  <a:pt x="76" y="67"/>
                  <a:pt x="76" y="66"/>
                </a:cubicBezTo>
                <a:cubicBezTo>
                  <a:pt x="76" y="66"/>
                  <a:pt x="76" y="64"/>
                  <a:pt x="76" y="64"/>
                </a:cubicBezTo>
                <a:cubicBezTo>
                  <a:pt x="76" y="64"/>
                  <a:pt x="73" y="59"/>
                  <a:pt x="73" y="59"/>
                </a:cubicBezTo>
                <a:cubicBezTo>
                  <a:pt x="72" y="58"/>
                  <a:pt x="73" y="57"/>
                  <a:pt x="73" y="56"/>
                </a:cubicBezTo>
                <a:cubicBezTo>
                  <a:pt x="71" y="55"/>
                  <a:pt x="70" y="56"/>
                  <a:pt x="69" y="56"/>
                </a:cubicBezTo>
                <a:cubicBezTo>
                  <a:pt x="69" y="54"/>
                  <a:pt x="69" y="54"/>
                  <a:pt x="70" y="52"/>
                </a:cubicBezTo>
                <a:cubicBezTo>
                  <a:pt x="70" y="52"/>
                  <a:pt x="69" y="51"/>
                  <a:pt x="69" y="51"/>
                </a:cubicBezTo>
                <a:cubicBezTo>
                  <a:pt x="68" y="53"/>
                  <a:pt x="68" y="53"/>
                  <a:pt x="67" y="55"/>
                </a:cubicBezTo>
                <a:cubicBezTo>
                  <a:pt x="67" y="55"/>
                  <a:pt x="65" y="55"/>
                  <a:pt x="65" y="55"/>
                </a:cubicBezTo>
                <a:cubicBezTo>
                  <a:pt x="65" y="55"/>
                  <a:pt x="65" y="54"/>
                  <a:pt x="65" y="54"/>
                </a:cubicBezTo>
                <a:cubicBezTo>
                  <a:pt x="64" y="54"/>
                  <a:pt x="63" y="54"/>
                  <a:pt x="63" y="54"/>
                </a:cubicBezTo>
                <a:cubicBezTo>
                  <a:pt x="61" y="52"/>
                  <a:pt x="62" y="50"/>
                  <a:pt x="61" y="48"/>
                </a:cubicBezTo>
                <a:cubicBezTo>
                  <a:pt x="60" y="47"/>
                  <a:pt x="58" y="46"/>
                  <a:pt x="57" y="45"/>
                </a:cubicBezTo>
                <a:cubicBezTo>
                  <a:pt x="55" y="43"/>
                  <a:pt x="55" y="41"/>
                  <a:pt x="55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54" y="41"/>
                  <a:pt x="49" y="42"/>
                  <a:pt x="51" y="41"/>
                </a:cubicBezTo>
                <a:cubicBezTo>
                  <a:pt x="51" y="41"/>
                  <a:pt x="50" y="41"/>
                  <a:pt x="50" y="40"/>
                </a:cubicBezTo>
                <a:cubicBezTo>
                  <a:pt x="49" y="39"/>
                  <a:pt x="49" y="37"/>
                  <a:pt x="47" y="36"/>
                </a:cubicBezTo>
                <a:cubicBezTo>
                  <a:pt x="47" y="36"/>
                  <a:pt x="47" y="36"/>
                  <a:pt x="47" y="36"/>
                </a:cubicBezTo>
                <a:cubicBezTo>
                  <a:pt x="46" y="35"/>
                  <a:pt x="47" y="32"/>
                  <a:pt x="47" y="31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29"/>
                  <a:pt x="43" y="28"/>
                  <a:pt x="43" y="27"/>
                </a:cubicBezTo>
                <a:cubicBezTo>
                  <a:pt x="41" y="26"/>
                  <a:pt x="36" y="23"/>
                  <a:pt x="35" y="22"/>
                </a:cubicBezTo>
                <a:cubicBezTo>
                  <a:pt x="34" y="21"/>
                  <a:pt x="35" y="19"/>
                  <a:pt x="34" y="18"/>
                </a:cubicBezTo>
                <a:cubicBezTo>
                  <a:pt x="34" y="18"/>
                  <a:pt x="32" y="18"/>
                  <a:pt x="31" y="17"/>
                </a:cubicBezTo>
                <a:cubicBezTo>
                  <a:pt x="30" y="16"/>
                  <a:pt x="31" y="13"/>
                  <a:pt x="29" y="13"/>
                </a:cubicBezTo>
                <a:cubicBezTo>
                  <a:pt x="29" y="13"/>
                  <a:pt x="27" y="13"/>
                  <a:pt x="27" y="13"/>
                </a:cubicBezTo>
                <a:cubicBezTo>
                  <a:pt x="26" y="13"/>
                  <a:pt x="27" y="11"/>
                  <a:pt x="27" y="10"/>
                </a:cubicBezTo>
                <a:cubicBezTo>
                  <a:pt x="23" y="4"/>
                  <a:pt x="23" y="4"/>
                  <a:pt x="23" y="4"/>
                </a:cubicBezTo>
                <a:cubicBezTo>
                  <a:pt x="19" y="2"/>
                  <a:pt x="14" y="5"/>
                  <a:pt x="11" y="4"/>
                </a:cubicBezTo>
                <a:close/>
                <a:moveTo>
                  <a:pt x="7" y="32"/>
                </a:moveTo>
                <a:cubicBezTo>
                  <a:pt x="9" y="35"/>
                  <a:pt x="11" y="38"/>
                  <a:pt x="8" y="32"/>
                </a:cubicBezTo>
                <a:lnTo>
                  <a:pt x="7" y="32"/>
                </a:lnTo>
                <a:close/>
                <a:moveTo>
                  <a:pt x="285" y="35"/>
                </a:moveTo>
                <a:cubicBezTo>
                  <a:pt x="285" y="38"/>
                  <a:pt x="285" y="40"/>
                  <a:pt x="286" y="42"/>
                </a:cubicBezTo>
                <a:cubicBezTo>
                  <a:pt x="286" y="42"/>
                  <a:pt x="288" y="42"/>
                  <a:pt x="289" y="42"/>
                </a:cubicBezTo>
                <a:cubicBezTo>
                  <a:pt x="289" y="42"/>
                  <a:pt x="290" y="41"/>
                  <a:pt x="289" y="41"/>
                </a:cubicBezTo>
                <a:cubicBezTo>
                  <a:pt x="289" y="41"/>
                  <a:pt x="289" y="38"/>
                  <a:pt x="289" y="38"/>
                </a:cubicBezTo>
                <a:cubicBezTo>
                  <a:pt x="287" y="36"/>
                  <a:pt x="286" y="36"/>
                  <a:pt x="285" y="35"/>
                </a:cubicBezTo>
                <a:close/>
                <a:moveTo>
                  <a:pt x="280" y="39"/>
                </a:moveTo>
                <a:cubicBezTo>
                  <a:pt x="277" y="43"/>
                  <a:pt x="277" y="47"/>
                  <a:pt x="275" y="52"/>
                </a:cubicBezTo>
                <a:cubicBezTo>
                  <a:pt x="276" y="53"/>
                  <a:pt x="278" y="54"/>
                  <a:pt x="279" y="55"/>
                </a:cubicBezTo>
                <a:cubicBezTo>
                  <a:pt x="279" y="57"/>
                  <a:pt x="278" y="56"/>
                  <a:pt x="277" y="57"/>
                </a:cubicBezTo>
                <a:cubicBezTo>
                  <a:pt x="277" y="58"/>
                  <a:pt x="277" y="58"/>
                  <a:pt x="277" y="58"/>
                </a:cubicBezTo>
                <a:cubicBezTo>
                  <a:pt x="277" y="58"/>
                  <a:pt x="279" y="62"/>
                  <a:pt x="277" y="63"/>
                </a:cubicBezTo>
                <a:cubicBezTo>
                  <a:pt x="277" y="64"/>
                  <a:pt x="277" y="64"/>
                  <a:pt x="277" y="64"/>
                </a:cubicBezTo>
                <a:cubicBezTo>
                  <a:pt x="277" y="65"/>
                  <a:pt x="279" y="67"/>
                  <a:pt x="280" y="68"/>
                </a:cubicBezTo>
                <a:cubicBezTo>
                  <a:pt x="281" y="69"/>
                  <a:pt x="281" y="70"/>
                  <a:pt x="283" y="70"/>
                </a:cubicBezTo>
                <a:cubicBezTo>
                  <a:pt x="285" y="71"/>
                  <a:pt x="279" y="66"/>
                  <a:pt x="279" y="66"/>
                </a:cubicBezTo>
                <a:cubicBezTo>
                  <a:pt x="279" y="64"/>
                  <a:pt x="279" y="62"/>
                  <a:pt x="279" y="61"/>
                </a:cubicBezTo>
                <a:cubicBezTo>
                  <a:pt x="279" y="61"/>
                  <a:pt x="283" y="58"/>
                  <a:pt x="282" y="59"/>
                </a:cubicBezTo>
                <a:cubicBezTo>
                  <a:pt x="283" y="59"/>
                  <a:pt x="283" y="59"/>
                  <a:pt x="284" y="59"/>
                </a:cubicBezTo>
                <a:cubicBezTo>
                  <a:pt x="285" y="59"/>
                  <a:pt x="285" y="61"/>
                  <a:pt x="286" y="62"/>
                </a:cubicBezTo>
                <a:cubicBezTo>
                  <a:pt x="287" y="62"/>
                  <a:pt x="287" y="61"/>
                  <a:pt x="288" y="62"/>
                </a:cubicBezTo>
                <a:cubicBezTo>
                  <a:pt x="287" y="60"/>
                  <a:pt x="287" y="58"/>
                  <a:pt x="287" y="56"/>
                </a:cubicBezTo>
                <a:cubicBezTo>
                  <a:pt x="286" y="56"/>
                  <a:pt x="284" y="57"/>
                  <a:pt x="283" y="56"/>
                </a:cubicBezTo>
                <a:cubicBezTo>
                  <a:pt x="285" y="55"/>
                  <a:pt x="286" y="53"/>
                  <a:pt x="288" y="52"/>
                </a:cubicBezTo>
                <a:cubicBezTo>
                  <a:pt x="286" y="51"/>
                  <a:pt x="289" y="51"/>
                  <a:pt x="286" y="50"/>
                </a:cubicBezTo>
                <a:cubicBezTo>
                  <a:pt x="286" y="49"/>
                  <a:pt x="286" y="49"/>
                  <a:pt x="286" y="49"/>
                </a:cubicBezTo>
                <a:cubicBezTo>
                  <a:pt x="285" y="50"/>
                  <a:pt x="283" y="51"/>
                  <a:pt x="283" y="52"/>
                </a:cubicBezTo>
                <a:cubicBezTo>
                  <a:pt x="282" y="52"/>
                  <a:pt x="283" y="53"/>
                  <a:pt x="283" y="54"/>
                </a:cubicBezTo>
                <a:cubicBezTo>
                  <a:pt x="281" y="54"/>
                  <a:pt x="281" y="54"/>
                  <a:pt x="281" y="54"/>
                </a:cubicBezTo>
                <a:cubicBezTo>
                  <a:pt x="282" y="50"/>
                  <a:pt x="283" y="46"/>
                  <a:pt x="281" y="45"/>
                </a:cubicBezTo>
                <a:cubicBezTo>
                  <a:pt x="281" y="45"/>
                  <a:pt x="282" y="42"/>
                  <a:pt x="282" y="43"/>
                </a:cubicBezTo>
                <a:cubicBezTo>
                  <a:pt x="283" y="42"/>
                  <a:pt x="283" y="42"/>
                  <a:pt x="283" y="42"/>
                </a:cubicBezTo>
                <a:cubicBezTo>
                  <a:pt x="282" y="41"/>
                  <a:pt x="282" y="41"/>
                  <a:pt x="282" y="40"/>
                </a:cubicBezTo>
                <a:lnTo>
                  <a:pt x="280" y="39"/>
                </a:lnTo>
                <a:close/>
                <a:moveTo>
                  <a:pt x="57" y="41"/>
                </a:moveTo>
                <a:cubicBezTo>
                  <a:pt x="57" y="41"/>
                  <a:pt x="57" y="43"/>
                  <a:pt x="57" y="43"/>
                </a:cubicBezTo>
                <a:cubicBezTo>
                  <a:pt x="58" y="43"/>
                  <a:pt x="58" y="43"/>
                  <a:pt x="59" y="44"/>
                </a:cubicBezTo>
                <a:cubicBezTo>
                  <a:pt x="58" y="42"/>
                  <a:pt x="60" y="41"/>
                  <a:pt x="57" y="41"/>
                </a:cubicBezTo>
                <a:close/>
                <a:moveTo>
                  <a:pt x="63" y="45"/>
                </a:moveTo>
                <a:cubicBezTo>
                  <a:pt x="63" y="45"/>
                  <a:pt x="63" y="47"/>
                  <a:pt x="63" y="47"/>
                </a:cubicBezTo>
                <a:cubicBezTo>
                  <a:pt x="64" y="47"/>
                  <a:pt x="64" y="47"/>
                  <a:pt x="65" y="48"/>
                </a:cubicBezTo>
                <a:cubicBezTo>
                  <a:pt x="68" y="48"/>
                  <a:pt x="63" y="45"/>
                  <a:pt x="63" y="45"/>
                </a:cubicBezTo>
                <a:close/>
                <a:moveTo>
                  <a:pt x="19" y="46"/>
                </a:moveTo>
                <a:cubicBezTo>
                  <a:pt x="19" y="48"/>
                  <a:pt x="19" y="48"/>
                  <a:pt x="19" y="48"/>
                </a:cubicBezTo>
                <a:cubicBezTo>
                  <a:pt x="19" y="49"/>
                  <a:pt x="21" y="49"/>
                  <a:pt x="21" y="50"/>
                </a:cubicBezTo>
                <a:cubicBezTo>
                  <a:pt x="22" y="50"/>
                  <a:pt x="24" y="54"/>
                  <a:pt x="25" y="55"/>
                </a:cubicBezTo>
                <a:cubicBezTo>
                  <a:pt x="26" y="55"/>
                  <a:pt x="26" y="52"/>
                  <a:pt x="25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3" y="50"/>
                  <a:pt x="23" y="48"/>
                  <a:pt x="22" y="48"/>
                </a:cubicBezTo>
                <a:cubicBezTo>
                  <a:pt x="21" y="48"/>
                  <a:pt x="21" y="48"/>
                  <a:pt x="21" y="48"/>
                </a:cubicBezTo>
                <a:cubicBezTo>
                  <a:pt x="21" y="46"/>
                  <a:pt x="21" y="46"/>
                  <a:pt x="21" y="46"/>
                </a:cubicBezTo>
                <a:cubicBezTo>
                  <a:pt x="21" y="46"/>
                  <a:pt x="20" y="47"/>
                  <a:pt x="19" y="46"/>
                </a:cubicBezTo>
                <a:close/>
                <a:moveTo>
                  <a:pt x="254" y="47"/>
                </a:moveTo>
                <a:cubicBezTo>
                  <a:pt x="254" y="47"/>
                  <a:pt x="254" y="49"/>
                  <a:pt x="253" y="50"/>
                </a:cubicBezTo>
                <a:cubicBezTo>
                  <a:pt x="253" y="50"/>
                  <a:pt x="251" y="50"/>
                  <a:pt x="251" y="50"/>
                </a:cubicBezTo>
                <a:cubicBezTo>
                  <a:pt x="251" y="50"/>
                  <a:pt x="251" y="52"/>
                  <a:pt x="251" y="52"/>
                </a:cubicBezTo>
                <a:cubicBezTo>
                  <a:pt x="249" y="53"/>
                  <a:pt x="246" y="55"/>
                  <a:pt x="245" y="55"/>
                </a:cubicBezTo>
                <a:cubicBezTo>
                  <a:pt x="239" y="56"/>
                  <a:pt x="234" y="55"/>
                  <a:pt x="228" y="55"/>
                </a:cubicBezTo>
                <a:cubicBezTo>
                  <a:pt x="227" y="54"/>
                  <a:pt x="227" y="54"/>
                  <a:pt x="227" y="54"/>
                </a:cubicBezTo>
                <a:cubicBezTo>
                  <a:pt x="226" y="53"/>
                  <a:pt x="227" y="55"/>
                  <a:pt x="225" y="54"/>
                </a:cubicBezTo>
                <a:cubicBezTo>
                  <a:pt x="225" y="52"/>
                  <a:pt x="225" y="52"/>
                  <a:pt x="225" y="52"/>
                </a:cubicBezTo>
                <a:cubicBezTo>
                  <a:pt x="221" y="51"/>
                  <a:pt x="218" y="53"/>
                  <a:pt x="216" y="54"/>
                </a:cubicBezTo>
                <a:cubicBezTo>
                  <a:pt x="216" y="55"/>
                  <a:pt x="216" y="55"/>
                  <a:pt x="216" y="55"/>
                </a:cubicBezTo>
                <a:cubicBezTo>
                  <a:pt x="215" y="55"/>
                  <a:pt x="215" y="54"/>
                  <a:pt x="214" y="54"/>
                </a:cubicBezTo>
                <a:cubicBezTo>
                  <a:pt x="213" y="56"/>
                  <a:pt x="212" y="57"/>
                  <a:pt x="211" y="58"/>
                </a:cubicBezTo>
                <a:cubicBezTo>
                  <a:pt x="212" y="58"/>
                  <a:pt x="210" y="60"/>
                  <a:pt x="210" y="60"/>
                </a:cubicBezTo>
                <a:cubicBezTo>
                  <a:pt x="210" y="61"/>
                  <a:pt x="211" y="62"/>
                  <a:pt x="211" y="62"/>
                </a:cubicBezTo>
                <a:cubicBezTo>
                  <a:pt x="211" y="66"/>
                  <a:pt x="211" y="72"/>
                  <a:pt x="209" y="75"/>
                </a:cubicBezTo>
                <a:cubicBezTo>
                  <a:pt x="208" y="75"/>
                  <a:pt x="208" y="75"/>
                  <a:pt x="208" y="75"/>
                </a:cubicBezTo>
                <a:cubicBezTo>
                  <a:pt x="207" y="78"/>
                  <a:pt x="207" y="81"/>
                  <a:pt x="207" y="86"/>
                </a:cubicBezTo>
                <a:cubicBezTo>
                  <a:pt x="207" y="87"/>
                  <a:pt x="206" y="91"/>
                  <a:pt x="205" y="91"/>
                </a:cubicBezTo>
                <a:cubicBezTo>
                  <a:pt x="204" y="92"/>
                  <a:pt x="204" y="92"/>
                  <a:pt x="204" y="92"/>
                </a:cubicBezTo>
                <a:cubicBezTo>
                  <a:pt x="203" y="96"/>
                  <a:pt x="204" y="99"/>
                  <a:pt x="204" y="103"/>
                </a:cubicBezTo>
                <a:cubicBezTo>
                  <a:pt x="205" y="103"/>
                  <a:pt x="207" y="103"/>
                  <a:pt x="208" y="103"/>
                </a:cubicBezTo>
                <a:cubicBezTo>
                  <a:pt x="209" y="105"/>
                  <a:pt x="209" y="105"/>
                  <a:pt x="209" y="105"/>
                </a:cubicBezTo>
                <a:cubicBezTo>
                  <a:pt x="209" y="105"/>
                  <a:pt x="208" y="106"/>
                  <a:pt x="208" y="107"/>
                </a:cubicBezTo>
                <a:cubicBezTo>
                  <a:pt x="209" y="109"/>
                  <a:pt x="209" y="109"/>
                  <a:pt x="209" y="109"/>
                </a:cubicBezTo>
                <a:cubicBezTo>
                  <a:pt x="209" y="111"/>
                  <a:pt x="206" y="113"/>
                  <a:pt x="206" y="114"/>
                </a:cubicBezTo>
                <a:cubicBezTo>
                  <a:pt x="205" y="117"/>
                  <a:pt x="206" y="121"/>
                  <a:pt x="206" y="123"/>
                </a:cubicBezTo>
                <a:cubicBezTo>
                  <a:pt x="209" y="123"/>
                  <a:pt x="213" y="123"/>
                  <a:pt x="217" y="123"/>
                </a:cubicBezTo>
                <a:cubicBezTo>
                  <a:pt x="216" y="122"/>
                  <a:pt x="217" y="120"/>
                  <a:pt x="217" y="119"/>
                </a:cubicBezTo>
                <a:cubicBezTo>
                  <a:pt x="217" y="119"/>
                  <a:pt x="215" y="119"/>
                  <a:pt x="215" y="118"/>
                </a:cubicBezTo>
                <a:cubicBezTo>
                  <a:pt x="215" y="118"/>
                  <a:pt x="218" y="115"/>
                  <a:pt x="217" y="115"/>
                </a:cubicBezTo>
                <a:cubicBezTo>
                  <a:pt x="217" y="114"/>
                  <a:pt x="215" y="110"/>
                  <a:pt x="215" y="109"/>
                </a:cubicBezTo>
                <a:cubicBezTo>
                  <a:pt x="216" y="109"/>
                  <a:pt x="218" y="108"/>
                  <a:pt x="218" y="107"/>
                </a:cubicBezTo>
                <a:cubicBezTo>
                  <a:pt x="219" y="105"/>
                  <a:pt x="218" y="102"/>
                  <a:pt x="217" y="100"/>
                </a:cubicBezTo>
                <a:cubicBezTo>
                  <a:pt x="220" y="99"/>
                  <a:pt x="221" y="100"/>
                  <a:pt x="223" y="99"/>
                </a:cubicBezTo>
                <a:cubicBezTo>
                  <a:pt x="224" y="103"/>
                  <a:pt x="225" y="107"/>
                  <a:pt x="225" y="109"/>
                </a:cubicBezTo>
                <a:cubicBezTo>
                  <a:pt x="226" y="112"/>
                  <a:pt x="227" y="114"/>
                  <a:pt x="227" y="118"/>
                </a:cubicBezTo>
                <a:cubicBezTo>
                  <a:pt x="228" y="118"/>
                  <a:pt x="230" y="119"/>
                  <a:pt x="232" y="119"/>
                </a:cubicBezTo>
                <a:cubicBezTo>
                  <a:pt x="232" y="119"/>
                  <a:pt x="232" y="119"/>
                  <a:pt x="232" y="119"/>
                </a:cubicBezTo>
                <a:cubicBezTo>
                  <a:pt x="234" y="117"/>
                  <a:pt x="233" y="116"/>
                  <a:pt x="233" y="115"/>
                </a:cubicBezTo>
                <a:cubicBezTo>
                  <a:pt x="233" y="114"/>
                  <a:pt x="233" y="114"/>
                  <a:pt x="233" y="114"/>
                </a:cubicBezTo>
                <a:cubicBezTo>
                  <a:pt x="234" y="113"/>
                  <a:pt x="237" y="113"/>
                  <a:pt x="239" y="113"/>
                </a:cubicBezTo>
                <a:cubicBezTo>
                  <a:pt x="240" y="111"/>
                  <a:pt x="240" y="111"/>
                  <a:pt x="240" y="111"/>
                </a:cubicBezTo>
                <a:cubicBezTo>
                  <a:pt x="239" y="111"/>
                  <a:pt x="239" y="111"/>
                  <a:pt x="239" y="111"/>
                </a:cubicBezTo>
                <a:cubicBezTo>
                  <a:pt x="238" y="110"/>
                  <a:pt x="237" y="108"/>
                  <a:pt x="236" y="107"/>
                </a:cubicBezTo>
                <a:cubicBezTo>
                  <a:pt x="234" y="104"/>
                  <a:pt x="235" y="104"/>
                  <a:pt x="235" y="101"/>
                </a:cubicBezTo>
                <a:cubicBezTo>
                  <a:pt x="234" y="101"/>
                  <a:pt x="234" y="101"/>
                  <a:pt x="234" y="101"/>
                </a:cubicBezTo>
                <a:cubicBezTo>
                  <a:pt x="234" y="101"/>
                  <a:pt x="234" y="99"/>
                  <a:pt x="234" y="99"/>
                </a:cubicBezTo>
                <a:cubicBezTo>
                  <a:pt x="233" y="98"/>
                  <a:pt x="231" y="98"/>
                  <a:pt x="230" y="97"/>
                </a:cubicBezTo>
                <a:cubicBezTo>
                  <a:pt x="229" y="96"/>
                  <a:pt x="230" y="93"/>
                  <a:pt x="229" y="91"/>
                </a:cubicBezTo>
                <a:cubicBezTo>
                  <a:pt x="229" y="91"/>
                  <a:pt x="223" y="89"/>
                  <a:pt x="223" y="89"/>
                </a:cubicBezTo>
                <a:cubicBezTo>
                  <a:pt x="224" y="88"/>
                  <a:pt x="224" y="88"/>
                  <a:pt x="225" y="87"/>
                </a:cubicBezTo>
                <a:cubicBezTo>
                  <a:pt x="225" y="87"/>
                  <a:pt x="227" y="87"/>
                  <a:pt x="229" y="87"/>
                </a:cubicBezTo>
                <a:cubicBezTo>
                  <a:pt x="235" y="84"/>
                  <a:pt x="235" y="79"/>
                  <a:pt x="241" y="78"/>
                </a:cubicBezTo>
                <a:cubicBezTo>
                  <a:pt x="242" y="76"/>
                  <a:pt x="241" y="76"/>
                  <a:pt x="242" y="75"/>
                </a:cubicBezTo>
                <a:cubicBezTo>
                  <a:pt x="235" y="75"/>
                  <a:pt x="232" y="75"/>
                  <a:pt x="226" y="74"/>
                </a:cubicBezTo>
                <a:cubicBezTo>
                  <a:pt x="226" y="75"/>
                  <a:pt x="226" y="76"/>
                  <a:pt x="225" y="77"/>
                </a:cubicBezTo>
                <a:cubicBezTo>
                  <a:pt x="225" y="78"/>
                  <a:pt x="223" y="77"/>
                  <a:pt x="222" y="78"/>
                </a:cubicBezTo>
                <a:cubicBezTo>
                  <a:pt x="222" y="78"/>
                  <a:pt x="221" y="75"/>
                  <a:pt x="221" y="75"/>
                </a:cubicBezTo>
                <a:cubicBezTo>
                  <a:pt x="220" y="74"/>
                  <a:pt x="218" y="75"/>
                  <a:pt x="217" y="74"/>
                </a:cubicBezTo>
                <a:cubicBezTo>
                  <a:pt x="217" y="74"/>
                  <a:pt x="216" y="72"/>
                  <a:pt x="216" y="72"/>
                </a:cubicBezTo>
                <a:cubicBezTo>
                  <a:pt x="215" y="70"/>
                  <a:pt x="217" y="67"/>
                  <a:pt x="217" y="66"/>
                </a:cubicBezTo>
                <a:cubicBezTo>
                  <a:pt x="217" y="63"/>
                  <a:pt x="217" y="62"/>
                  <a:pt x="217" y="60"/>
                </a:cubicBezTo>
                <a:cubicBezTo>
                  <a:pt x="219" y="60"/>
                  <a:pt x="219" y="61"/>
                  <a:pt x="220" y="61"/>
                </a:cubicBezTo>
                <a:cubicBezTo>
                  <a:pt x="221" y="61"/>
                  <a:pt x="224" y="59"/>
                  <a:pt x="225" y="60"/>
                </a:cubicBezTo>
                <a:cubicBezTo>
                  <a:pt x="226" y="60"/>
                  <a:pt x="227" y="61"/>
                  <a:pt x="229" y="61"/>
                </a:cubicBezTo>
                <a:cubicBezTo>
                  <a:pt x="230" y="61"/>
                  <a:pt x="235" y="60"/>
                  <a:pt x="237" y="60"/>
                </a:cubicBezTo>
                <a:cubicBezTo>
                  <a:pt x="240" y="61"/>
                  <a:pt x="244" y="63"/>
                  <a:pt x="248" y="62"/>
                </a:cubicBezTo>
                <a:cubicBezTo>
                  <a:pt x="248" y="61"/>
                  <a:pt x="248" y="61"/>
                  <a:pt x="248" y="61"/>
                </a:cubicBezTo>
                <a:cubicBezTo>
                  <a:pt x="249" y="60"/>
                  <a:pt x="250" y="61"/>
                  <a:pt x="251" y="60"/>
                </a:cubicBezTo>
                <a:cubicBezTo>
                  <a:pt x="252" y="59"/>
                  <a:pt x="252" y="56"/>
                  <a:pt x="253" y="55"/>
                </a:cubicBezTo>
                <a:cubicBezTo>
                  <a:pt x="254" y="54"/>
                  <a:pt x="255" y="54"/>
                  <a:pt x="255" y="54"/>
                </a:cubicBezTo>
                <a:cubicBezTo>
                  <a:pt x="257" y="53"/>
                  <a:pt x="257" y="53"/>
                  <a:pt x="257" y="53"/>
                </a:cubicBezTo>
                <a:cubicBezTo>
                  <a:pt x="257" y="52"/>
                  <a:pt x="257" y="49"/>
                  <a:pt x="257" y="48"/>
                </a:cubicBezTo>
                <a:cubicBezTo>
                  <a:pt x="257" y="48"/>
                  <a:pt x="256" y="48"/>
                  <a:pt x="256" y="47"/>
                </a:cubicBezTo>
                <a:cubicBezTo>
                  <a:pt x="255" y="47"/>
                  <a:pt x="254" y="47"/>
                  <a:pt x="254" y="47"/>
                </a:cubicBezTo>
                <a:close/>
                <a:moveTo>
                  <a:pt x="81" y="50"/>
                </a:moveTo>
                <a:cubicBezTo>
                  <a:pt x="81" y="51"/>
                  <a:pt x="81" y="51"/>
                  <a:pt x="81" y="51"/>
                </a:cubicBezTo>
                <a:cubicBezTo>
                  <a:pt x="83" y="51"/>
                  <a:pt x="83" y="50"/>
                  <a:pt x="81" y="50"/>
                </a:cubicBezTo>
                <a:close/>
                <a:moveTo>
                  <a:pt x="304" y="66"/>
                </a:moveTo>
                <a:cubicBezTo>
                  <a:pt x="303" y="67"/>
                  <a:pt x="303" y="67"/>
                  <a:pt x="303" y="67"/>
                </a:cubicBezTo>
                <a:cubicBezTo>
                  <a:pt x="294" y="69"/>
                  <a:pt x="305" y="69"/>
                  <a:pt x="309" y="69"/>
                </a:cubicBezTo>
                <a:cubicBezTo>
                  <a:pt x="309" y="69"/>
                  <a:pt x="310" y="68"/>
                  <a:pt x="310" y="67"/>
                </a:cubicBezTo>
                <a:cubicBezTo>
                  <a:pt x="309" y="67"/>
                  <a:pt x="304" y="65"/>
                  <a:pt x="304" y="66"/>
                </a:cubicBezTo>
                <a:close/>
                <a:moveTo>
                  <a:pt x="277" y="69"/>
                </a:moveTo>
                <a:cubicBezTo>
                  <a:pt x="277" y="71"/>
                  <a:pt x="277" y="73"/>
                  <a:pt x="277" y="74"/>
                </a:cubicBezTo>
                <a:cubicBezTo>
                  <a:pt x="281" y="72"/>
                  <a:pt x="279" y="73"/>
                  <a:pt x="277" y="69"/>
                </a:cubicBezTo>
                <a:close/>
                <a:moveTo>
                  <a:pt x="33" y="75"/>
                </a:moveTo>
                <a:cubicBezTo>
                  <a:pt x="33" y="76"/>
                  <a:pt x="32" y="76"/>
                  <a:pt x="32" y="77"/>
                </a:cubicBezTo>
                <a:cubicBezTo>
                  <a:pt x="32" y="78"/>
                  <a:pt x="34" y="82"/>
                  <a:pt x="34" y="83"/>
                </a:cubicBezTo>
                <a:cubicBezTo>
                  <a:pt x="34" y="83"/>
                  <a:pt x="37" y="84"/>
                  <a:pt x="38" y="84"/>
                </a:cubicBezTo>
                <a:cubicBezTo>
                  <a:pt x="38" y="83"/>
                  <a:pt x="39" y="83"/>
                  <a:pt x="37" y="83"/>
                </a:cubicBezTo>
                <a:cubicBezTo>
                  <a:pt x="36" y="80"/>
                  <a:pt x="36" y="78"/>
                  <a:pt x="35" y="75"/>
                </a:cubicBezTo>
                <a:cubicBezTo>
                  <a:pt x="35" y="75"/>
                  <a:pt x="33" y="76"/>
                  <a:pt x="33" y="75"/>
                </a:cubicBezTo>
                <a:close/>
                <a:moveTo>
                  <a:pt x="301" y="75"/>
                </a:moveTo>
                <a:cubicBezTo>
                  <a:pt x="300" y="76"/>
                  <a:pt x="302" y="77"/>
                  <a:pt x="302" y="77"/>
                </a:cubicBezTo>
                <a:cubicBezTo>
                  <a:pt x="303" y="77"/>
                  <a:pt x="304" y="75"/>
                  <a:pt x="301" y="75"/>
                </a:cubicBezTo>
                <a:close/>
                <a:moveTo>
                  <a:pt x="305" y="77"/>
                </a:moveTo>
                <a:cubicBezTo>
                  <a:pt x="304" y="78"/>
                  <a:pt x="304" y="78"/>
                  <a:pt x="304" y="78"/>
                </a:cubicBezTo>
                <a:cubicBezTo>
                  <a:pt x="304" y="79"/>
                  <a:pt x="304" y="80"/>
                  <a:pt x="304" y="80"/>
                </a:cubicBezTo>
                <a:cubicBezTo>
                  <a:pt x="304" y="80"/>
                  <a:pt x="306" y="80"/>
                  <a:pt x="307" y="81"/>
                </a:cubicBezTo>
                <a:cubicBezTo>
                  <a:pt x="306" y="80"/>
                  <a:pt x="309" y="79"/>
                  <a:pt x="305" y="77"/>
                </a:cubicBezTo>
                <a:close/>
                <a:moveTo>
                  <a:pt x="279" y="79"/>
                </a:moveTo>
                <a:cubicBezTo>
                  <a:pt x="277" y="79"/>
                  <a:pt x="280" y="80"/>
                  <a:pt x="281" y="80"/>
                </a:cubicBezTo>
                <a:cubicBezTo>
                  <a:pt x="280" y="80"/>
                  <a:pt x="281" y="78"/>
                  <a:pt x="279" y="79"/>
                </a:cubicBezTo>
                <a:close/>
                <a:moveTo>
                  <a:pt x="237" y="81"/>
                </a:moveTo>
                <a:cubicBezTo>
                  <a:pt x="237" y="81"/>
                  <a:pt x="237" y="82"/>
                  <a:pt x="237" y="82"/>
                </a:cubicBezTo>
                <a:cubicBezTo>
                  <a:pt x="236" y="81"/>
                  <a:pt x="236" y="83"/>
                  <a:pt x="236" y="83"/>
                </a:cubicBezTo>
                <a:cubicBezTo>
                  <a:pt x="237" y="85"/>
                  <a:pt x="237" y="85"/>
                  <a:pt x="237" y="85"/>
                </a:cubicBezTo>
                <a:cubicBezTo>
                  <a:pt x="238" y="84"/>
                  <a:pt x="239" y="84"/>
                  <a:pt x="239" y="84"/>
                </a:cubicBezTo>
                <a:cubicBezTo>
                  <a:pt x="241" y="84"/>
                  <a:pt x="241" y="85"/>
                  <a:pt x="241" y="85"/>
                </a:cubicBezTo>
                <a:cubicBezTo>
                  <a:pt x="241" y="85"/>
                  <a:pt x="242" y="84"/>
                  <a:pt x="242" y="83"/>
                </a:cubicBezTo>
                <a:cubicBezTo>
                  <a:pt x="244" y="84"/>
                  <a:pt x="243" y="82"/>
                  <a:pt x="243" y="82"/>
                </a:cubicBezTo>
                <a:cubicBezTo>
                  <a:pt x="242" y="82"/>
                  <a:pt x="239" y="81"/>
                  <a:pt x="237" y="81"/>
                </a:cubicBezTo>
                <a:close/>
                <a:moveTo>
                  <a:pt x="92" y="82"/>
                </a:moveTo>
                <a:cubicBezTo>
                  <a:pt x="90" y="84"/>
                  <a:pt x="90" y="84"/>
                  <a:pt x="90" y="87"/>
                </a:cubicBezTo>
                <a:cubicBezTo>
                  <a:pt x="92" y="88"/>
                  <a:pt x="93" y="88"/>
                  <a:pt x="94" y="88"/>
                </a:cubicBezTo>
                <a:cubicBezTo>
                  <a:pt x="94" y="90"/>
                  <a:pt x="93" y="90"/>
                  <a:pt x="94" y="93"/>
                </a:cubicBezTo>
                <a:cubicBezTo>
                  <a:pt x="94" y="94"/>
                  <a:pt x="96" y="95"/>
                  <a:pt x="97" y="95"/>
                </a:cubicBezTo>
                <a:cubicBezTo>
                  <a:pt x="98" y="96"/>
                  <a:pt x="98" y="97"/>
                  <a:pt x="98" y="97"/>
                </a:cubicBezTo>
                <a:cubicBezTo>
                  <a:pt x="100" y="97"/>
                  <a:pt x="100" y="97"/>
                  <a:pt x="100" y="97"/>
                </a:cubicBezTo>
                <a:cubicBezTo>
                  <a:pt x="99" y="91"/>
                  <a:pt x="99" y="90"/>
                  <a:pt x="96" y="86"/>
                </a:cubicBezTo>
                <a:cubicBezTo>
                  <a:pt x="95" y="84"/>
                  <a:pt x="94" y="83"/>
                  <a:pt x="92" y="82"/>
                </a:cubicBezTo>
                <a:close/>
                <a:moveTo>
                  <a:pt x="299" y="82"/>
                </a:moveTo>
                <a:cubicBezTo>
                  <a:pt x="298" y="85"/>
                  <a:pt x="298" y="85"/>
                  <a:pt x="298" y="85"/>
                </a:cubicBezTo>
                <a:cubicBezTo>
                  <a:pt x="299" y="85"/>
                  <a:pt x="300" y="85"/>
                  <a:pt x="301" y="85"/>
                </a:cubicBezTo>
                <a:cubicBezTo>
                  <a:pt x="301" y="85"/>
                  <a:pt x="301" y="83"/>
                  <a:pt x="301" y="83"/>
                </a:cubicBezTo>
                <a:cubicBezTo>
                  <a:pt x="301" y="83"/>
                  <a:pt x="300" y="82"/>
                  <a:pt x="299" y="82"/>
                </a:cubicBezTo>
                <a:close/>
                <a:moveTo>
                  <a:pt x="260" y="83"/>
                </a:moveTo>
                <a:cubicBezTo>
                  <a:pt x="260" y="83"/>
                  <a:pt x="259" y="84"/>
                  <a:pt x="259" y="84"/>
                </a:cubicBezTo>
                <a:cubicBezTo>
                  <a:pt x="266" y="84"/>
                  <a:pt x="269" y="83"/>
                  <a:pt x="260" y="83"/>
                </a:cubicBezTo>
                <a:close/>
                <a:moveTo>
                  <a:pt x="249" y="84"/>
                </a:moveTo>
                <a:cubicBezTo>
                  <a:pt x="249" y="84"/>
                  <a:pt x="249" y="87"/>
                  <a:pt x="249" y="87"/>
                </a:cubicBezTo>
                <a:cubicBezTo>
                  <a:pt x="258" y="86"/>
                  <a:pt x="258" y="85"/>
                  <a:pt x="249" y="84"/>
                </a:cubicBezTo>
                <a:close/>
                <a:moveTo>
                  <a:pt x="43" y="91"/>
                </a:moveTo>
                <a:cubicBezTo>
                  <a:pt x="43" y="94"/>
                  <a:pt x="43" y="94"/>
                  <a:pt x="43" y="94"/>
                </a:cubicBezTo>
                <a:cubicBezTo>
                  <a:pt x="45" y="95"/>
                  <a:pt x="44" y="92"/>
                  <a:pt x="43" y="91"/>
                </a:cubicBezTo>
                <a:close/>
                <a:moveTo>
                  <a:pt x="108" y="94"/>
                </a:moveTo>
                <a:cubicBezTo>
                  <a:pt x="106" y="101"/>
                  <a:pt x="108" y="100"/>
                  <a:pt x="114" y="98"/>
                </a:cubicBezTo>
                <a:cubicBezTo>
                  <a:pt x="114" y="96"/>
                  <a:pt x="114" y="95"/>
                  <a:pt x="114" y="94"/>
                </a:cubicBezTo>
                <a:cubicBezTo>
                  <a:pt x="112" y="94"/>
                  <a:pt x="110" y="94"/>
                  <a:pt x="108" y="94"/>
                </a:cubicBezTo>
                <a:close/>
                <a:moveTo>
                  <a:pt x="285" y="97"/>
                </a:moveTo>
                <a:cubicBezTo>
                  <a:pt x="285" y="97"/>
                  <a:pt x="284" y="98"/>
                  <a:pt x="284" y="98"/>
                </a:cubicBezTo>
                <a:cubicBezTo>
                  <a:pt x="283" y="98"/>
                  <a:pt x="282" y="98"/>
                  <a:pt x="282" y="98"/>
                </a:cubicBezTo>
                <a:cubicBezTo>
                  <a:pt x="281" y="100"/>
                  <a:pt x="281" y="100"/>
                  <a:pt x="281" y="100"/>
                </a:cubicBezTo>
                <a:cubicBezTo>
                  <a:pt x="282" y="100"/>
                  <a:pt x="283" y="100"/>
                  <a:pt x="284" y="100"/>
                </a:cubicBezTo>
                <a:cubicBezTo>
                  <a:pt x="284" y="100"/>
                  <a:pt x="285" y="102"/>
                  <a:pt x="285" y="102"/>
                </a:cubicBezTo>
                <a:cubicBezTo>
                  <a:pt x="288" y="102"/>
                  <a:pt x="287" y="100"/>
                  <a:pt x="288" y="100"/>
                </a:cubicBezTo>
                <a:cubicBezTo>
                  <a:pt x="290" y="99"/>
                  <a:pt x="291" y="102"/>
                  <a:pt x="293" y="102"/>
                </a:cubicBezTo>
                <a:cubicBezTo>
                  <a:pt x="294" y="102"/>
                  <a:pt x="295" y="101"/>
                  <a:pt x="296" y="101"/>
                </a:cubicBezTo>
                <a:cubicBezTo>
                  <a:pt x="298" y="101"/>
                  <a:pt x="301" y="103"/>
                  <a:pt x="304" y="103"/>
                </a:cubicBezTo>
                <a:cubicBezTo>
                  <a:pt x="304" y="103"/>
                  <a:pt x="305" y="102"/>
                  <a:pt x="305" y="101"/>
                </a:cubicBezTo>
                <a:cubicBezTo>
                  <a:pt x="304" y="100"/>
                  <a:pt x="303" y="100"/>
                  <a:pt x="303" y="99"/>
                </a:cubicBezTo>
                <a:cubicBezTo>
                  <a:pt x="299" y="98"/>
                  <a:pt x="296" y="98"/>
                  <a:pt x="293" y="98"/>
                </a:cubicBezTo>
                <a:cubicBezTo>
                  <a:pt x="291" y="97"/>
                  <a:pt x="291" y="97"/>
                  <a:pt x="291" y="97"/>
                </a:cubicBezTo>
                <a:cubicBezTo>
                  <a:pt x="291" y="97"/>
                  <a:pt x="285" y="97"/>
                  <a:pt x="285" y="97"/>
                </a:cubicBezTo>
                <a:close/>
                <a:moveTo>
                  <a:pt x="273" y="97"/>
                </a:moveTo>
                <a:cubicBezTo>
                  <a:pt x="271" y="97"/>
                  <a:pt x="265" y="98"/>
                  <a:pt x="263" y="99"/>
                </a:cubicBezTo>
                <a:cubicBezTo>
                  <a:pt x="263" y="99"/>
                  <a:pt x="263" y="101"/>
                  <a:pt x="263" y="101"/>
                </a:cubicBezTo>
                <a:cubicBezTo>
                  <a:pt x="265" y="101"/>
                  <a:pt x="267" y="101"/>
                  <a:pt x="268" y="102"/>
                </a:cubicBezTo>
                <a:cubicBezTo>
                  <a:pt x="268" y="102"/>
                  <a:pt x="268" y="104"/>
                  <a:pt x="269" y="104"/>
                </a:cubicBezTo>
                <a:cubicBezTo>
                  <a:pt x="271" y="104"/>
                  <a:pt x="274" y="103"/>
                  <a:pt x="276" y="103"/>
                </a:cubicBezTo>
                <a:cubicBezTo>
                  <a:pt x="276" y="102"/>
                  <a:pt x="276" y="100"/>
                  <a:pt x="277" y="100"/>
                </a:cubicBezTo>
                <a:cubicBezTo>
                  <a:pt x="276" y="100"/>
                  <a:pt x="275" y="100"/>
                  <a:pt x="275" y="100"/>
                </a:cubicBezTo>
                <a:cubicBezTo>
                  <a:pt x="273" y="98"/>
                  <a:pt x="276" y="98"/>
                  <a:pt x="273" y="97"/>
                </a:cubicBezTo>
                <a:close/>
                <a:moveTo>
                  <a:pt x="241" y="113"/>
                </a:moveTo>
                <a:cubicBezTo>
                  <a:pt x="241" y="115"/>
                  <a:pt x="241" y="114"/>
                  <a:pt x="240" y="114"/>
                </a:cubicBezTo>
                <a:cubicBezTo>
                  <a:pt x="240" y="115"/>
                  <a:pt x="240" y="117"/>
                  <a:pt x="240" y="118"/>
                </a:cubicBezTo>
                <a:cubicBezTo>
                  <a:pt x="240" y="118"/>
                  <a:pt x="238" y="121"/>
                  <a:pt x="239" y="118"/>
                </a:cubicBezTo>
                <a:cubicBezTo>
                  <a:pt x="238" y="118"/>
                  <a:pt x="238" y="117"/>
                  <a:pt x="238" y="117"/>
                </a:cubicBezTo>
                <a:cubicBezTo>
                  <a:pt x="238" y="117"/>
                  <a:pt x="236" y="117"/>
                  <a:pt x="236" y="117"/>
                </a:cubicBezTo>
                <a:cubicBezTo>
                  <a:pt x="235" y="119"/>
                  <a:pt x="236" y="120"/>
                  <a:pt x="235" y="121"/>
                </a:cubicBezTo>
                <a:cubicBezTo>
                  <a:pt x="239" y="123"/>
                  <a:pt x="237" y="120"/>
                  <a:pt x="239" y="125"/>
                </a:cubicBezTo>
                <a:cubicBezTo>
                  <a:pt x="239" y="125"/>
                  <a:pt x="241" y="126"/>
                  <a:pt x="241" y="125"/>
                </a:cubicBezTo>
                <a:cubicBezTo>
                  <a:pt x="241" y="125"/>
                  <a:pt x="244" y="122"/>
                  <a:pt x="244" y="122"/>
                </a:cubicBezTo>
                <a:cubicBezTo>
                  <a:pt x="244" y="121"/>
                  <a:pt x="242" y="120"/>
                  <a:pt x="242" y="119"/>
                </a:cubicBezTo>
                <a:cubicBezTo>
                  <a:pt x="241" y="116"/>
                  <a:pt x="245" y="115"/>
                  <a:pt x="241" y="113"/>
                </a:cubicBezTo>
                <a:close/>
                <a:moveTo>
                  <a:pt x="102" y="123"/>
                </a:moveTo>
                <a:cubicBezTo>
                  <a:pt x="101" y="125"/>
                  <a:pt x="101" y="125"/>
                  <a:pt x="101" y="125"/>
                </a:cubicBezTo>
                <a:cubicBezTo>
                  <a:pt x="97" y="124"/>
                  <a:pt x="95" y="124"/>
                  <a:pt x="91" y="124"/>
                </a:cubicBezTo>
                <a:cubicBezTo>
                  <a:pt x="90" y="130"/>
                  <a:pt x="89" y="130"/>
                  <a:pt x="87" y="134"/>
                </a:cubicBezTo>
                <a:cubicBezTo>
                  <a:pt x="87" y="134"/>
                  <a:pt x="87" y="135"/>
                  <a:pt x="87" y="135"/>
                </a:cubicBezTo>
                <a:cubicBezTo>
                  <a:pt x="91" y="135"/>
                  <a:pt x="92" y="135"/>
                  <a:pt x="96" y="135"/>
                </a:cubicBezTo>
                <a:cubicBezTo>
                  <a:pt x="95" y="137"/>
                  <a:pt x="97" y="136"/>
                  <a:pt x="94" y="137"/>
                </a:cubicBezTo>
                <a:cubicBezTo>
                  <a:pt x="95" y="138"/>
                  <a:pt x="95" y="140"/>
                  <a:pt x="95" y="140"/>
                </a:cubicBezTo>
                <a:cubicBezTo>
                  <a:pt x="99" y="140"/>
                  <a:pt x="103" y="139"/>
                  <a:pt x="106" y="141"/>
                </a:cubicBezTo>
                <a:cubicBezTo>
                  <a:pt x="107" y="142"/>
                  <a:pt x="108" y="144"/>
                  <a:pt x="108" y="145"/>
                </a:cubicBezTo>
                <a:cubicBezTo>
                  <a:pt x="121" y="145"/>
                  <a:pt x="121" y="145"/>
                  <a:pt x="121" y="145"/>
                </a:cubicBezTo>
                <a:cubicBezTo>
                  <a:pt x="121" y="145"/>
                  <a:pt x="122" y="143"/>
                  <a:pt x="123" y="143"/>
                </a:cubicBezTo>
                <a:cubicBezTo>
                  <a:pt x="125" y="145"/>
                  <a:pt x="125" y="145"/>
                  <a:pt x="125" y="145"/>
                </a:cubicBezTo>
                <a:cubicBezTo>
                  <a:pt x="129" y="146"/>
                  <a:pt x="131" y="146"/>
                  <a:pt x="135" y="147"/>
                </a:cubicBezTo>
                <a:cubicBezTo>
                  <a:pt x="136" y="147"/>
                  <a:pt x="138" y="149"/>
                  <a:pt x="139" y="149"/>
                </a:cubicBezTo>
                <a:cubicBezTo>
                  <a:pt x="141" y="150"/>
                  <a:pt x="142" y="148"/>
                  <a:pt x="144" y="149"/>
                </a:cubicBezTo>
                <a:cubicBezTo>
                  <a:pt x="146" y="149"/>
                  <a:pt x="150" y="152"/>
                  <a:pt x="153" y="151"/>
                </a:cubicBezTo>
                <a:cubicBezTo>
                  <a:pt x="154" y="151"/>
                  <a:pt x="155" y="149"/>
                  <a:pt x="157" y="150"/>
                </a:cubicBezTo>
                <a:cubicBezTo>
                  <a:pt x="159" y="150"/>
                  <a:pt x="159" y="153"/>
                  <a:pt x="160" y="153"/>
                </a:cubicBezTo>
                <a:cubicBezTo>
                  <a:pt x="162" y="155"/>
                  <a:pt x="164" y="154"/>
                  <a:pt x="166" y="155"/>
                </a:cubicBezTo>
                <a:cubicBezTo>
                  <a:pt x="167" y="155"/>
                  <a:pt x="168" y="156"/>
                  <a:pt x="169" y="157"/>
                </a:cubicBezTo>
                <a:cubicBezTo>
                  <a:pt x="168" y="155"/>
                  <a:pt x="169" y="153"/>
                  <a:pt x="168" y="151"/>
                </a:cubicBezTo>
                <a:cubicBezTo>
                  <a:pt x="167" y="151"/>
                  <a:pt x="166" y="150"/>
                  <a:pt x="166" y="150"/>
                </a:cubicBezTo>
                <a:cubicBezTo>
                  <a:pt x="165" y="149"/>
                  <a:pt x="166" y="145"/>
                  <a:pt x="167" y="144"/>
                </a:cubicBezTo>
                <a:cubicBezTo>
                  <a:pt x="162" y="142"/>
                  <a:pt x="159" y="142"/>
                  <a:pt x="153" y="142"/>
                </a:cubicBezTo>
                <a:cubicBezTo>
                  <a:pt x="153" y="142"/>
                  <a:pt x="153" y="136"/>
                  <a:pt x="153" y="136"/>
                </a:cubicBezTo>
                <a:cubicBezTo>
                  <a:pt x="153" y="136"/>
                  <a:pt x="152" y="135"/>
                  <a:pt x="152" y="135"/>
                </a:cubicBezTo>
                <a:cubicBezTo>
                  <a:pt x="151" y="134"/>
                  <a:pt x="152" y="132"/>
                  <a:pt x="152" y="131"/>
                </a:cubicBezTo>
                <a:cubicBezTo>
                  <a:pt x="150" y="132"/>
                  <a:pt x="147" y="133"/>
                  <a:pt x="146" y="133"/>
                </a:cubicBezTo>
                <a:cubicBezTo>
                  <a:pt x="146" y="133"/>
                  <a:pt x="146" y="131"/>
                  <a:pt x="146" y="131"/>
                </a:cubicBezTo>
                <a:cubicBezTo>
                  <a:pt x="145" y="130"/>
                  <a:pt x="144" y="131"/>
                  <a:pt x="143" y="131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38" y="129"/>
                  <a:pt x="138" y="130"/>
                  <a:pt x="134" y="128"/>
                </a:cubicBezTo>
                <a:cubicBezTo>
                  <a:pt x="134" y="129"/>
                  <a:pt x="134" y="130"/>
                  <a:pt x="133" y="131"/>
                </a:cubicBezTo>
                <a:cubicBezTo>
                  <a:pt x="130" y="131"/>
                  <a:pt x="127" y="132"/>
                  <a:pt x="124" y="131"/>
                </a:cubicBezTo>
                <a:cubicBezTo>
                  <a:pt x="122" y="130"/>
                  <a:pt x="122" y="130"/>
                  <a:pt x="122" y="130"/>
                </a:cubicBezTo>
                <a:cubicBezTo>
                  <a:pt x="116" y="129"/>
                  <a:pt x="116" y="129"/>
                  <a:pt x="114" y="125"/>
                </a:cubicBezTo>
                <a:cubicBezTo>
                  <a:pt x="114" y="125"/>
                  <a:pt x="109" y="126"/>
                  <a:pt x="108" y="125"/>
                </a:cubicBezTo>
                <a:cubicBezTo>
                  <a:pt x="107" y="124"/>
                  <a:pt x="107" y="124"/>
                  <a:pt x="107" y="124"/>
                </a:cubicBezTo>
                <a:cubicBezTo>
                  <a:pt x="105" y="123"/>
                  <a:pt x="104" y="123"/>
                  <a:pt x="102" y="123"/>
                </a:cubicBezTo>
                <a:close/>
                <a:moveTo>
                  <a:pt x="229" y="124"/>
                </a:moveTo>
                <a:cubicBezTo>
                  <a:pt x="230" y="125"/>
                  <a:pt x="230" y="125"/>
                  <a:pt x="230" y="125"/>
                </a:cubicBezTo>
                <a:cubicBezTo>
                  <a:pt x="230" y="124"/>
                  <a:pt x="231" y="124"/>
                  <a:pt x="229" y="124"/>
                </a:cubicBezTo>
                <a:close/>
                <a:moveTo>
                  <a:pt x="335" y="127"/>
                </a:moveTo>
                <a:cubicBezTo>
                  <a:pt x="335" y="128"/>
                  <a:pt x="334" y="128"/>
                  <a:pt x="334" y="129"/>
                </a:cubicBezTo>
                <a:cubicBezTo>
                  <a:pt x="337" y="130"/>
                  <a:pt x="336" y="133"/>
                  <a:pt x="336" y="137"/>
                </a:cubicBezTo>
                <a:cubicBezTo>
                  <a:pt x="335" y="137"/>
                  <a:pt x="334" y="137"/>
                  <a:pt x="333" y="138"/>
                </a:cubicBezTo>
                <a:cubicBezTo>
                  <a:pt x="333" y="138"/>
                  <a:pt x="335" y="140"/>
                  <a:pt x="335" y="141"/>
                </a:cubicBezTo>
                <a:cubicBezTo>
                  <a:pt x="333" y="141"/>
                  <a:pt x="336" y="143"/>
                  <a:pt x="336" y="143"/>
                </a:cubicBezTo>
                <a:cubicBezTo>
                  <a:pt x="338" y="137"/>
                  <a:pt x="336" y="139"/>
                  <a:pt x="340" y="136"/>
                </a:cubicBezTo>
                <a:cubicBezTo>
                  <a:pt x="340" y="136"/>
                  <a:pt x="340" y="134"/>
                  <a:pt x="340" y="134"/>
                </a:cubicBezTo>
                <a:cubicBezTo>
                  <a:pt x="337" y="135"/>
                  <a:pt x="341" y="130"/>
                  <a:pt x="339" y="129"/>
                </a:cubicBezTo>
                <a:cubicBezTo>
                  <a:pt x="338" y="128"/>
                  <a:pt x="337" y="128"/>
                  <a:pt x="335" y="127"/>
                </a:cubicBezTo>
                <a:close/>
                <a:moveTo>
                  <a:pt x="155" y="133"/>
                </a:moveTo>
                <a:cubicBezTo>
                  <a:pt x="155" y="133"/>
                  <a:pt x="153" y="135"/>
                  <a:pt x="156" y="136"/>
                </a:cubicBezTo>
                <a:cubicBezTo>
                  <a:pt x="157" y="137"/>
                  <a:pt x="161" y="135"/>
                  <a:pt x="161" y="135"/>
                </a:cubicBezTo>
                <a:cubicBezTo>
                  <a:pt x="164" y="136"/>
                  <a:pt x="162" y="133"/>
                  <a:pt x="162" y="133"/>
                </a:cubicBezTo>
                <a:cubicBezTo>
                  <a:pt x="159" y="133"/>
                  <a:pt x="158" y="133"/>
                  <a:pt x="155" y="133"/>
                </a:cubicBezTo>
                <a:close/>
                <a:moveTo>
                  <a:pt x="370" y="143"/>
                </a:moveTo>
                <a:cubicBezTo>
                  <a:pt x="370" y="145"/>
                  <a:pt x="370" y="145"/>
                  <a:pt x="370" y="145"/>
                </a:cubicBezTo>
                <a:cubicBezTo>
                  <a:pt x="370" y="145"/>
                  <a:pt x="371" y="145"/>
                  <a:pt x="372" y="145"/>
                </a:cubicBezTo>
                <a:cubicBezTo>
                  <a:pt x="371" y="144"/>
                  <a:pt x="372" y="142"/>
                  <a:pt x="370" y="143"/>
                </a:cubicBezTo>
                <a:close/>
                <a:moveTo>
                  <a:pt x="309" y="147"/>
                </a:moveTo>
                <a:cubicBezTo>
                  <a:pt x="308" y="147"/>
                  <a:pt x="309" y="149"/>
                  <a:pt x="308" y="150"/>
                </a:cubicBezTo>
                <a:cubicBezTo>
                  <a:pt x="307" y="151"/>
                  <a:pt x="303" y="153"/>
                  <a:pt x="307" y="155"/>
                </a:cubicBezTo>
                <a:cubicBezTo>
                  <a:pt x="307" y="154"/>
                  <a:pt x="313" y="145"/>
                  <a:pt x="309" y="147"/>
                </a:cubicBezTo>
                <a:close/>
                <a:moveTo>
                  <a:pt x="169" y="149"/>
                </a:moveTo>
                <a:cubicBezTo>
                  <a:pt x="169" y="150"/>
                  <a:pt x="169" y="152"/>
                  <a:pt x="169" y="153"/>
                </a:cubicBezTo>
                <a:cubicBezTo>
                  <a:pt x="169" y="153"/>
                  <a:pt x="170" y="153"/>
                  <a:pt x="171" y="153"/>
                </a:cubicBezTo>
                <a:cubicBezTo>
                  <a:pt x="172" y="154"/>
                  <a:pt x="172" y="156"/>
                  <a:pt x="172" y="158"/>
                </a:cubicBezTo>
                <a:cubicBezTo>
                  <a:pt x="172" y="158"/>
                  <a:pt x="174" y="157"/>
                  <a:pt x="174" y="157"/>
                </a:cubicBezTo>
                <a:cubicBezTo>
                  <a:pt x="174" y="156"/>
                  <a:pt x="176" y="154"/>
                  <a:pt x="176" y="153"/>
                </a:cubicBezTo>
                <a:cubicBezTo>
                  <a:pt x="176" y="152"/>
                  <a:pt x="175" y="151"/>
                  <a:pt x="176" y="151"/>
                </a:cubicBezTo>
                <a:cubicBezTo>
                  <a:pt x="172" y="151"/>
                  <a:pt x="172" y="151"/>
                  <a:pt x="169" y="149"/>
                </a:cubicBezTo>
                <a:close/>
                <a:moveTo>
                  <a:pt x="263" y="152"/>
                </a:moveTo>
                <a:cubicBezTo>
                  <a:pt x="263" y="152"/>
                  <a:pt x="263" y="154"/>
                  <a:pt x="263" y="155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71" y="154"/>
                  <a:pt x="271" y="152"/>
                  <a:pt x="271" y="152"/>
                </a:cubicBezTo>
                <a:cubicBezTo>
                  <a:pt x="267" y="152"/>
                  <a:pt x="267" y="152"/>
                  <a:pt x="263" y="152"/>
                </a:cubicBezTo>
                <a:close/>
                <a:moveTo>
                  <a:pt x="182" y="154"/>
                </a:moveTo>
                <a:cubicBezTo>
                  <a:pt x="182" y="156"/>
                  <a:pt x="181" y="158"/>
                  <a:pt x="180" y="160"/>
                </a:cubicBezTo>
                <a:cubicBezTo>
                  <a:pt x="186" y="160"/>
                  <a:pt x="184" y="161"/>
                  <a:pt x="186" y="155"/>
                </a:cubicBezTo>
                <a:cubicBezTo>
                  <a:pt x="185" y="155"/>
                  <a:pt x="183" y="154"/>
                  <a:pt x="182" y="154"/>
                </a:cubicBezTo>
                <a:close/>
                <a:moveTo>
                  <a:pt x="194" y="155"/>
                </a:moveTo>
                <a:cubicBezTo>
                  <a:pt x="194" y="155"/>
                  <a:pt x="194" y="157"/>
                  <a:pt x="194" y="158"/>
                </a:cubicBezTo>
                <a:cubicBezTo>
                  <a:pt x="194" y="158"/>
                  <a:pt x="196" y="158"/>
                  <a:pt x="196" y="158"/>
                </a:cubicBezTo>
                <a:cubicBezTo>
                  <a:pt x="195" y="159"/>
                  <a:pt x="198" y="161"/>
                  <a:pt x="193" y="161"/>
                </a:cubicBezTo>
                <a:cubicBezTo>
                  <a:pt x="191" y="160"/>
                  <a:pt x="190" y="158"/>
                  <a:pt x="189" y="158"/>
                </a:cubicBezTo>
                <a:cubicBezTo>
                  <a:pt x="188" y="158"/>
                  <a:pt x="189" y="159"/>
                  <a:pt x="187" y="159"/>
                </a:cubicBezTo>
                <a:cubicBezTo>
                  <a:pt x="186" y="160"/>
                  <a:pt x="186" y="162"/>
                  <a:pt x="186" y="165"/>
                </a:cubicBezTo>
                <a:cubicBezTo>
                  <a:pt x="187" y="164"/>
                  <a:pt x="188" y="164"/>
                  <a:pt x="190" y="164"/>
                </a:cubicBezTo>
                <a:cubicBezTo>
                  <a:pt x="190" y="164"/>
                  <a:pt x="191" y="165"/>
                  <a:pt x="192" y="165"/>
                </a:cubicBezTo>
                <a:cubicBezTo>
                  <a:pt x="194" y="164"/>
                  <a:pt x="194" y="164"/>
                  <a:pt x="194" y="164"/>
                </a:cubicBezTo>
                <a:cubicBezTo>
                  <a:pt x="197" y="163"/>
                  <a:pt x="204" y="163"/>
                  <a:pt x="205" y="163"/>
                </a:cubicBezTo>
                <a:cubicBezTo>
                  <a:pt x="205" y="161"/>
                  <a:pt x="205" y="160"/>
                  <a:pt x="204" y="159"/>
                </a:cubicBezTo>
                <a:cubicBezTo>
                  <a:pt x="199" y="158"/>
                  <a:pt x="198" y="157"/>
                  <a:pt x="194" y="155"/>
                </a:cubicBezTo>
                <a:close/>
                <a:moveTo>
                  <a:pt x="282" y="156"/>
                </a:moveTo>
                <a:cubicBezTo>
                  <a:pt x="282" y="157"/>
                  <a:pt x="282" y="157"/>
                  <a:pt x="282" y="157"/>
                </a:cubicBezTo>
                <a:cubicBezTo>
                  <a:pt x="283" y="157"/>
                  <a:pt x="283" y="157"/>
                  <a:pt x="283" y="157"/>
                </a:cubicBezTo>
                <a:cubicBezTo>
                  <a:pt x="282" y="157"/>
                  <a:pt x="284" y="156"/>
                  <a:pt x="282" y="156"/>
                </a:cubicBezTo>
                <a:close/>
                <a:moveTo>
                  <a:pt x="215" y="157"/>
                </a:moveTo>
                <a:cubicBezTo>
                  <a:pt x="214" y="157"/>
                  <a:pt x="212" y="157"/>
                  <a:pt x="211" y="158"/>
                </a:cubicBezTo>
                <a:cubicBezTo>
                  <a:pt x="211" y="158"/>
                  <a:pt x="212" y="161"/>
                  <a:pt x="211" y="161"/>
                </a:cubicBezTo>
                <a:cubicBezTo>
                  <a:pt x="217" y="162"/>
                  <a:pt x="220" y="163"/>
                  <a:pt x="225" y="163"/>
                </a:cubicBezTo>
                <a:cubicBezTo>
                  <a:pt x="225" y="164"/>
                  <a:pt x="225" y="164"/>
                  <a:pt x="225" y="164"/>
                </a:cubicBezTo>
                <a:cubicBezTo>
                  <a:pt x="229" y="164"/>
                  <a:pt x="233" y="160"/>
                  <a:pt x="236" y="161"/>
                </a:cubicBezTo>
                <a:cubicBezTo>
                  <a:pt x="236" y="161"/>
                  <a:pt x="237" y="162"/>
                  <a:pt x="238" y="163"/>
                </a:cubicBezTo>
                <a:cubicBezTo>
                  <a:pt x="239" y="161"/>
                  <a:pt x="239" y="159"/>
                  <a:pt x="239" y="159"/>
                </a:cubicBezTo>
                <a:cubicBezTo>
                  <a:pt x="239" y="159"/>
                  <a:pt x="237" y="158"/>
                  <a:pt x="235" y="158"/>
                </a:cubicBezTo>
                <a:cubicBezTo>
                  <a:pt x="234" y="158"/>
                  <a:pt x="233" y="159"/>
                  <a:pt x="231" y="159"/>
                </a:cubicBezTo>
                <a:cubicBezTo>
                  <a:pt x="231" y="159"/>
                  <a:pt x="228" y="157"/>
                  <a:pt x="227" y="157"/>
                </a:cubicBezTo>
                <a:cubicBezTo>
                  <a:pt x="225" y="157"/>
                  <a:pt x="225" y="158"/>
                  <a:pt x="222" y="158"/>
                </a:cubicBezTo>
                <a:cubicBezTo>
                  <a:pt x="221" y="158"/>
                  <a:pt x="217" y="156"/>
                  <a:pt x="215" y="157"/>
                </a:cubicBezTo>
                <a:close/>
                <a:moveTo>
                  <a:pt x="251" y="158"/>
                </a:moveTo>
                <a:cubicBezTo>
                  <a:pt x="251" y="159"/>
                  <a:pt x="251" y="159"/>
                  <a:pt x="251" y="159"/>
                </a:cubicBezTo>
                <a:cubicBezTo>
                  <a:pt x="253" y="159"/>
                  <a:pt x="254" y="159"/>
                  <a:pt x="255" y="159"/>
                </a:cubicBezTo>
                <a:cubicBezTo>
                  <a:pt x="255" y="159"/>
                  <a:pt x="255" y="158"/>
                  <a:pt x="253" y="158"/>
                </a:cubicBezTo>
                <a:cubicBezTo>
                  <a:pt x="254" y="158"/>
                  <a:pt x="252" y="158"/>
                  <a:pt x="251" y="158"/>
                </a:cubicBezTo>
                <a:close/>
                <a:moveTo>
                  <a:pt x="243" y="159"/>
                </a:moveTo>
                <a:cubicBezTo>
                  <a:pt x="242" y="159"/>
                  <a:pt x="244" y="160"/>
                  <a:pt x="244" y="160"/>
                </a:cubicBezTo>
                <a:cubicBezTo>
                  <a:pt x="244" y="160"/>
                  <a:pt x="246" y="158"/>
                  <a:pt x="243" y="159"/>
                </a:cubicBezTo>
                <a:close/>
                <a:moveTo>
                  <a:pt x="248" y="159"/>
                </a:moveTo>
                <a:cubicBezTo>
                  <a:pt x="247" y="159"/>
                  <a:pt x="247" y="160"/>
                  <a:pt x="249" y="161"/>
                </a:cubicBezTo>
                <a:cubicBezTo>
                  <a:pt x="249" y="161"/>
                  <a:pt x="250" y="158"/>
                  <a:pt x="248" y="159"/>
                </a:cubicBezTo>
                <a:close/>
                <a:moveTo>
                  <a:pt x="271" y="159"/>
                </a:moveTo>
                <a:cubicBezTo>
                  <a:pt x="269" y="160"/>
                  <a:pt x="269" y="160"/>
                  <a:pt x="269" y="160"/>
                </a:cubicBezTo>
                <a:cubicBezTo>
                  <a:pt x="268" y="160"/>
                  <a:pt x="266" y="159"/>
                  <a:pt x="265" y="160"/>
                </a:cubicBezTo>
                <a:cubicBezTo>
                  <a:pt x="264" y="160"/>
                  <a:pt x="264" y="162"/>
                  <a:pt x="263" y="162"/>
                </a:cubicBezTo>
                <a:cubicBezTo>
                  <a:pt x="261" y="162"/>
                  <a:pt x="257" y="161"/>
                  <a:pt x="255" y="163"/>
                </a:cubicBezTo>
                <a:cubicBezTo>
                  <a:pt x="254" y="163"/>
                  <a:pt x="255" y="165"/>
                  <a:pt x="254" y="166"/>
                </a:cubicBezTo>
                <a:cubicBezTo>
                  <a:pt x="253" y="167"/>
                  <a:pt x="251" y="166"/>
                  <a:pt x="250" y="167"/>
                </a:cubicBezTo>
                <a:cubicBezTo>
                  <a:pt x="249" y="168"/>
                  <a:pt x="250" y="169"/>
                  <a:pt x="249" y="170"/>
                </a:cubicBezTo>
                <a:cubicBezTo>
                  <a:pt x="249" y="171"/>
                  <a:pt x="244" y="173"/>
                  <a:pt x="242" y="174"/>
                </a:cubicBezTo>
                <a:cubicBezTo>
                  <a:pt x="242" y="175"/>
                  <a:pt x="243" y="176"/>
                  <a:pt x="243" y="177"/>
                </a:cubicBezTo>
                <a:cubicBezTo>
                  <a:pt x="240" y="179"/>
                  <a:pt x="239" y="180"/>
                  <a:pt x="235" y="181"/>
                </a:cubicBezTo>
                <a:cubicBezTo>
                  <a:pt x="235" y="182"/>
                  <a:pt x="234" y="182"/>
                  <a:pt x="234" y="183"/>
                </a:cubicBezTo>
                <a:cubicBezTo>
                  <a:pt x="235" y="183"/>
                  <a:pt x="235" y="184"/>
                  <a:pt x="235" y="184"/>
                </a:cubicBezTo>
                <a:cubicBezTo>
                  <a:pt x="237" y="185"/>
                  <a:pt x="240" y="184"/>
                  <a:pt x="241" y="183"/>
                </a:cubicBezTo>
                <a:cubicBezTo>
                  <a:pt x="242" y="183"/>
                  <a:pt x="241" y="182"/>
                  <a:pt x="241" y="181"/>
                </a:cubicBezTo>
                <a:cubicBezTo>
                  <a:pt x="241" y="181"/>
                  <a:pt x="245" y="178"/>
                  <a:pt x="245" y="178"/>
                </a:cubicBezTo>
                <a:cubicBezTo>
                  <a:pt x="248" y="176"/>
                  <a:pt x="250" y="178"/>
                  <a:pt x="253" y="177"/>
                </a:cubicBezTo>
                <a:cubicBezTo>
                  <a:pt x="255" y="176"/>
                  <a:pt x="256" y="173"/>
                  <a:pt x="257" y="171"/>
                </a:cubicBezTo>
                <a:cubicBezTo>
                  <a:pt x="258" y="171"/>
                  <a:pt x="259" y="171"/>
                  <a:pt x="259" y="171"/>
                </a:cubicBezTo>
                <a:cubicBezTo>
                  <a:pt x="260" y="171"/>
                  <a:pt x="260" y="170"/>
                  <a:pt x="260" y="169"/>
                </a:cubicBezTo>
                <a:cubicBezTo>
                  <a:pt x="261" y="168"/>
                  <a:pt x="263" y="169"/>
                  <a:pt x="264" y="168"/>
                </a:cubicBezTo>
                <a:cubicBezTo>
                  <a:pt x="265" y="167"/>
                  <a:pt x="265" y="166"/>
                  <a:pt x="265" y="165"/>
                </a:cubicBezTo>
                <a:cubicBezTo>
                  <a:pt x="267" y="164"/>
                  <a:pt x="268" y="165"/>
                  <a:pt x="270" y="164"/>
                </a:cubicBezTo>
                <a:cubicBezTo>
                  <a:pt x="270" y="164"/>
                  <a:pt x="271" y="162"/>
                  <a:pt x="271" y="162"/>
                </a:cubicBezTo>
                <a:cubicBezTo>
                  <a:pt x="273" y="161"/>
                  <a:pt x="276" y="158"/>
                  <a:pt x="271" y="159"/>
                </a:cubicBezTo>
                <a:close/>
                <a:moveTo>
                  <a:pt x="207" y="171"/>
                </a:moveTo>
                <a:cubicBezTo>
                  <a:pt x="205" y="174"/>
                  <a:pt x="205" y="174"/>
                  <a:pt x="205" y="174"/>
                </a:cubicBezTo>
                <a:cubicBezTo>
                  <a:pt x="211" y="176"/>
                  <a:pt x="212" y="179"/>
                  <a:pt x="220" y="179"/>
                </a:cubicBezTo>
                <a:cubicBezTo>
                  <a:pt x="220" y="178"/>
                  <a:pt x="221" y="174"/>
                  <a:pt x="219" y="175"/>
                </a:cubicBezTo>
                <a:cubicBezTo>
                  <a:pt x="219" y="174"/>
                  <a:pt x="219" y="174"/>
                  <a:pt x="219" y="174"/>
                </a:cubicBezTo>
                <a:cubicBezTo>
                  <a:pt x="215" y="172"/>
                  <a:pt x="212" y="172"/>
                  <a:pt x="207" y="171"/>
                </a:cubicBezTo>
                <a:close/>
                <a:moveTo>
                  <a:pt x="63" y="50"/>
                </a:moveTo>
                <a:cubicBezTo>
                  <a:pt x="63" y="50"/>
                  <a:pt x="63" y="52"/>
                  <a:pt x="63" y="52"/>
                </a:cubicBezTo>
                <a:cubicBezTo>
                  <a:pt x="63" y="52"/>
                  <a:pt x="65" y="53"/>
                  <a:pt x="66" y="53"/>
                </a:cubicBezTo>
                <a:cubicBezTo>
                  <a:pt x="66" y="52"/>
                  <a:pt x="66" y="51"/>
                  <a:pt x="66" y="51"/>
                </a:cubicBezTo>
                <a:lnTo>
                  <a:pt x="63" y="50"/>
                </a:lnTo>
                <a:close/>
                <a:moveTo>
                  <a:pt x="75" y="68"/>
                </a:moveTo>
                <a:cubicBezTo>
                  <a:pt x="75" y="70"/>
                  <a:pt x="75" y="70"/>
                  <a:pt x="75" y="70"/>
                </a:cubicBezTo>
                <a:cubicBezTo>
                  <a:pt x="77" y="70"/>
                  <a:pt x="77" y="68"/>
                  <a:pt x="75" y="68"/>
                </a:cubicBezTo>
                <a:close/>
                <a:moveTo>
                  <a:pt x="127" y="42"/>
                </a:moveTo>
                <a:cubicBezTo>
                  <a:pt x="127" y="42"/>
                  <a:pt x="127" y="42"/>
                  <a:pt x="126" y="42"/>
                </a:cubicBezTo>
                <a:cubicBezTo>
                  <a:pt x="126" y="41"/>
                  <a:pt x="125" y="42"/>
                  <a:pt x="124" y="42"/>
                </a:cubicBezTo>
                <a:cubicBezTo>
                  <a:pt x="124" y="42"/>
                  <a:pt x="124" y="44"/>
                  <a:pt x="124" y="45"/>
                </a:cubicBezTo>
                <a:cubicBezTo>
                  <a:pt x="123" y="45"/>
                  <a:pt x="122" y="45"/>
                  <a:pt x="122" y="46"/>
                </a:cubicBezTo>
                <a:cubicBezTo>
                  <a:pt x="120" y="47"/>
                  <a:pt x="121" y="49"/>
                  <a:pt x="120" y="51"/>
                </a:cubicBezTo>
                <a:cubicBezTo>
                  <a:pt x="118" y="52"/>
                  <a:pt x="118" y="52"/>
                  <a:pt x="118" y="52"/>
                </a:cubicBezTo>
                <a:cubicBezTo>
                  <a:pt x="118" y="53"/>
                  <a:pt x="118" y="61"/>
                  <a:pt x="118" y="62"/>
                </a:cubicBezTo>
                <a:cubicBezTo>
                  <a:pt x="119" y="62"/>
                  <a:pt x="121" y="64"/>
                  <a:pt x="121" y="65"/>
                </a:cubicBezTo>
                <a:cubicBezTo>
                  <a:pt x="121" y="66"/>
                  <a:pt x="120" y="68"/>
                  <a:pt x="120" y="69"/>
                </a:cubicBezTo>
                <a:cubicBezTo>
                  <a:pt x="120" y="69"/>
                  <a:pt x="122" y="71"/>
                  <a:pt x="122" y="71"/>
                </a:cubicBezTo>
                <a:cubicBezTo>
                  <a:pt x="123" y="72"/>
                  <a:pt x="122" y="73"/>
                  <a:pt x="122" y="74"/>
                </a:cubicBezTo>
                <a:cubicBezTo>
                  <a:pt x="122" y="74"/>
                  <a:pt x="123" y="74"/>
                  <a:pt x="124" y="75"/>
                </a:cubicBezTo>
                <a:cubicBezTo>
                  <a:pt x="123" y="77"/>
                  <a:pt x="123" y="77"/>
                  <a:pt x="122" y="79"/>
                </a:cubicBezTo>
                <a:cubicBezTo>
                  <a:pt x="123" y="78"/>
                  <a:pt x="124" y="79"/>
                  <a:pt x="124" y="79"/>
                </a:cubicBezTo>
                <a:cubicBezTo>
                  <a:pt x="125" y="79"/>
                  <a:pt x="126" y="77"/>
                  <a:pt x="126" y="77"/>
                </a:cubicBezTo>
                <a:cubicBezTo>
                  <a:pt x="128" y="77"/>
                  <a:pt x="127" y="78"/>
                  <a:pt x="128" y="77"/>
                </a:cubicBezTo>
                <a:cubicBezTo>
                  <a:pt x="129" y="81"/>
                  <a:pt x="129" y="84"/>
                  <a:pt x="130" y="88"/>
                </a:cubicBezTo>
                <a:cubicBezTo>
                  <a:pt x="131" y="89"/>
                  <a:pt x="132" y="90"/>
                  <a:pt x="132" y="91"/>
                </a:cubicBezTo>
                <a:cubicBezTo>
                  <a:pt x="133" y="93"/>
                  <a:pt x="133" y="94"/>
                  <a:pt x="133" y="96"/>
                </a:cubicBezTo>
                <a:cubicBezTo>
                  <a:pt x="135" y="97"/>
                  <a:pt x="138" y="98"/>
                  <a:pt x="140" y="97"/>
                </a:cubicBezTo>
                <a:cubicBezTo>
                  <a:pt x="141" y="97"/>
                  <a:pt x="140" y="95"/>
                  <a:pt x="143" y="95"/>
                </a:cubicBezTo>
                <a:cubicBezTo>
                  <a:pt x="143" y="96"/>
                  <a:pt x="143" y="96"/>
                  <a:pt x="143" y="96"/>
                </a:cubicBezTo>
                <a:cubicBezTo>
                  <a:pt x="144" y="97"/>
                  <a:pt x="144" y="96"/>
                  <a:pt x="146" y="97"/>
                </a:cubicBezTo>
                <a:cubicBezTo>
                  <a:pt x="146" y="97"/>
                  <a:pt x="146" y="100"/>
                  <a:pt x="146" y="100"/>
                </a:cubicBezTo>
                <a:cubicBezTo>
                  <a:pt x="147" y="101"/>
                  <a:pt x="148" y="99"/>
                  <a:pt x="148" y="101"/>
                </a:cubicBezTo>
                <a:cubicBezTo>
                  <a:pt x="152" y="101"/>
                  <a:pt x="152" y="100"/>
                  <a:pt x="156" y="100"/>
                </a:cubicBezTo>
                <a:cubicBezTo>
                  <a:pt x="156" y="98"/>
                  <a:pt x="156" y="98"/>
                  <a:pt x="156" y="98"/>
                </a:cubicBezTo>
                <a:cubicBezTo>
                  <a:pt x="157" y="98"/>
                  <a:pt x="158" y="98"/>
                  <a:pt x="158" y="98"/>
                </a:cubicBezTo>
                <a:cubicBezTo>
                  <a:pt x="160" y="99"/>
                  <a:pt x="161" y="102"/>
                  <a:pt x="164" y="100"/>
                </a:cubicBezTo>
                <a:cubicBezTo>
                  <a:pt x="164" y="100"/>
                  <a:pt x="164" y="99"/>
                  <a:pt x="165" y="99"/>
                </a:cubicBezTo>
                <a:cubicBezTo>
                  <a:pt x="166" y="100"/>
                  <a:pt x="166" y="100"/>
                  <a:pt x="166" y="100"/>
                </a:cubicBezTo>
                <a:cubicBezTo>
                  <a:pt x="170" y="101"/>
                  <a:pt x="168" y="101"/>
                  <a:pt x="170" y="102"/>
                </a:cubicBezTo>
                <a:cubicBezTo>
                  <a:pt x="170" y="103"/>
                  <a:pt x="170" y="103"/>
                  <a:pt x="170" y="103"/>
                </a:cubicBezTo>
                <a:cubicBezTo>
                  <a:pt x="171" y="103"/>
                  <a:pt x="171" y="104"/>
                  <a:pt x="172" y="103"/>
                </a:cubicBezTo>
                <a:cubicBezTo>
                  <a:pt x="172" y="103"/>
                  <a:pt x="174" y="102"/>
                  <a:pt x="174" y="101"/>
                </a:cubicBezTo>
                <a:cubicBezTo>
                  <a:pt x="177" y="100"/>
                  <a:pt x="179" y="100"/>
                  <a:pt x="182" y="99"/>
                </a:cubicBezTo>
                <a:cubicBezTo>
                  <a:pt x="183" y="94"/>
                  <a:pt x="186" y="90"/>
                  <a:pt x="190" y="88"/>
                </a:cubicBezTo>
                <a:cubicBezTo>
                  <a:pt x="189" y="86"/>
                  <a:pt x="188" y="85"/>
                  <a:pt x="187" y="83"/>
                </a:cubicBezTo>
                <a:cubicBezTo>
                  <a:pt x="189" y="81"/>
                  <a:pt x="191" y="79"/>
                  <a:pt x="193" y="76"/>
                </a:cubicBezTo>
                <a:cubicBezTo>
                  <a:pt x="193" y="75"/>
                  <a:pt x="193" y="74"/>
                  <a:pt x="193" y="73"/>
                </a:cubicBezTo>
                <a:cubicBezTo>
                  <a:pt x="193" y="73"/>
                  <a:pt x="190" y="72"/>
                  <a:pt x="191" y="71"/>
                </a:cubicBezTo>
                <a:cubicBezTo>
                  <a:pt x="192" y="71"/>
                  <a:pt x="192" y="72"/>
                  <a:pt x="193" y="71"/>
                </a:cubicBezTo>
                <a:cubicBezTo>
                  <a:pt x="195" y="68"/>
                  <a:pt x="194" y="62"/>
                  <a:pt x="194" y="58"/>
                </a:cubicBezTo>
                <a:cubicBezTo>
                  <a:pt x="197" y="56"/>
                  <a:pt x="199" y="55"/>
                  <a:pt x="204" y="54"/>
                </a:cubicBezTo>
                <a:cubicBezTo>
                  <a:pt x="203" y="54"/>
                  <a:pt x="204" y="52"/>
                  <a:pt x="203" y="52"/>
                </a:cubicBezTo>
                <a:cubicBezTo>
                  <a:pt x="200" y="50"/>
                  <a:pt x="196" y="49"/>
                  <a:pt x="195" y="46"/>
                </a:cubicBezTo>
                <a:cubicBezTo>
                  <a:pt x="194" y="44"/>
                  <a:pt x="196" y="42"/>
                  <a:pt x="196" y="41"/>
                </a:cubicBezTo>
                <a:cubicBezTo>
                  <a:pt x="197" y="37"/>
                  <a:pt x="194" y="33"/>
                  <a:pt x="192" y="30"/>
                </a:cubicBezTo>
                <a:cubicBezTo>
                  <a:pt x="192" y="30"/>
                  <a:pt x="191" y="28"/>
                  <a:pt x="192" y="28"/>
                </a:cubicBezTo>
                <a:cubicBezTo>
                  <a:pt x="192" y="27"/>
                  <a:pt x="193" y="27"/>
                  <a:pt x="193" y="26"/>
                </a:cubicBezTo>
                <a:cubicBezTo>
                  <a:pt x="194" y="27"/>
                  <a:pt x="193" y="26"/>
                  <a:pt x="194" y="26"/>
                </a:cubicBezTo>
                <a:cubicBezTo>
                  <a:pt x="195" y="26"/>
                  <a:pt x="194" y="24"/>
                  <a:pt x="194" y="24"/>
                </a:cubicBezTo>
                <a:cubicBezTo>
                  <a:pt x="194" y="23"/>
                  <a:pt x="192" y="23"/>
                  <a:pt x="192" y="23"/>
                </a:cubicBezTo>
                <a:cubicBezTo>
                  <a:pt x="191" y="23"/>
                  <a:pt x="191" y="22"/>
                  <a:pt x="191" y="22"/>
                </a:cubicBezTo>
                <a:cubicBezTo>
                  <a:pt x="186" y="22"/>
                  <a:pt x="186" y="22"/>
                  <a:pt x="186" y="22"/>
                </a:cubicBezTo>
                <a:cubicBezTo>
                  <a:pt x="180" y="21"/>
                  <a:pt x="180" y="21"/>
                  <a:pt x="180" y="21"/>
                </a:cubicBezTo>
                <a:cubicBezTo>
                  <a:pt x="178" y="24"/>
                  <a:pt x="178" y="24"/>
                  <a:pt x="178" y="24"/>
                </a:cubicBezTo>
                <a:cubicBezTo>
                  <a:pt x="177" y="30"/>
                  <a:pt x="177" y="30"/>
                  <a:pt x="177" y="30"/>
                </a:cubicBezTo>
                <a:cubicBezTo>
                  <a:pt x="175" y="33"/>
                  <a:pt x="175" y="33"/>
                  <a:pt x="175" y="33"/>
                </a:cubicBezTo>
                <a:cubicBezTo>
                  <a:pt x="173" y="35"/>
                  <a:pt x="173" y="35"/>
                  <a:pt x="173" y="35"/>
                </a:cubicBezTo>
                <a:cubicBezTo>
                  <a:pt x="171" y="38"/>
                  <a:pt x="171" y="38"/>
                  <a:pt x="171" y="38"/>
                </a:cubicBezTo>
                <a:cubicBezTo>
                  <a:pt x="169" y="39"/>
                  <a:pt x="169" y="39"/>
                  <a:pt x="169" y="39"/>
                </a:cubicBezTo>
                <a:cubicBezTo>
                  <a:pt x="168" y="42"/>
                  <a:pt x="168" y="42"/>
                  <a:pt x="168" y="42"/>
                </a:cubicBezTo>
                <a:cubicBezTo>
                  <a:pt x="166" y="47"/>
                  <a:pt x="166" y="47"/>
                  <a:pt x="166" y="47"/>
                </a:cubicBezTo>
                <a:cubicBezTo>
                  <a:pt x="165" y="49"/>
                  <a:pt x="165" y="49"/>
                  <a:pt x="165" y="49"/>
                </a:cubicBezTo>
                <a:cubicBezTo>
                  <a:pt x="161" y="51"/>
                  <a:pt x="161" y="51"/>
                  <a:pt x="161" y="51"/>
                </a:cubicBezTo>
                <a:cubicBezTo>
                  <a:pt x="156" y="51"/>
                  <a:pt x="156" y="51"/>
                  <a:pt x="156" y="51"/>
                </a:cubicBezTo>
                <a:cubicBezTo>
                  <a:pt x="154" y="50"/>
                  <a:pt x="154" y="50"/>
                  <a:pt x="154" y="50"/>
                </a:cubicBezTo>
                <a:cubicBezTo>
                  <a:pt x="149" y="51"/>
                  <a:pt x="149" y="51"/>
                  <a:pt x="149" y="51"/>
                </a:cubicBezTo>
                <a:cubicBezTo>
                  <a:pt x="147" y="53"/>
                  <a:pt x="147" y="53"/>
                  <a:pt x="147" y="53"/>
                </a:cubicBezTo>
                <a:cubicBezTo>
                  <a:pt x="143" y="54"/>
                  <a:pt x="143" y="54"/>
                  <a:pt x="143" y="54"/>
                </a:cubicBezTo>
                <a:cubicBezTo>
                  <a:pt x="138" y="55"/>
                  <a:pt x="138" y="55"/>
                  <a:pt x="138" y="55"/>
                </a:cubicBezTo>
                <a:cubicBezTo>
                  <a:pt x="134" y="54"/>
                  <a:pt x="134" y="54"/>
                  <a:pt x="134" y="54"/>
                </a:cubicBezTo>
                <a:cubicBezTo>
                  <a:pt x="131" y="52"/>
                  <a:pt x="131" y="52"/>
                  <a:pt x="131" y="52"/>
                </a:cubicBezTo>
                <a:cubicBezTo>
                  <a:pt x="128" y="51"/>
                  <a:pt x="128" y="51"/>
                  <a:pt x="128" y="51"/>
                </a:cubicBezTo>
                <a:cubicBezTo>
                  <a:pt x="127" y="47"/>
                  <a:pt x="127" y="47"/>
                  <a:pt x="127" y="47"/>
                </a:cubicBezTo>
                <a:lnTo>
                  <a:pt x="127" y="42"/>
                </a:lnTo>
                <a:close/>
                <a:moveTo>
                  <a:pt x="314" y="75"/>
                </a:moveTo>
                <a:cubicBezTo>
                  <a:pt x="314" y="76"/>
                  <a:pt x="309" y="76"/>
                  <a:pt x="309" y="76"/>
                </a:cubicBezTo>
                <a:cubicBezTo>
                  <a:pt x="309" y="75"/>
                  <a:pt x="309" y="81"/>
                  <a:pt x="309" y="81"/>
                </a:cubicBezTo>
                <a:cubicBezTo>
                  <a:pt x="307" y="81"/>
                  <a:pt x="308" y="83"/>
                  <a:pt x="309" y="83"/>
                </a:cubicBezTo>
                <a:cubicBezTo>
                  <a:pt x="310" y="84"/>
                  <a:pt x="313" y="83"/>
                  <a:pt x="314" y="83"/>
                </a:cubicBezTo>
                <a:cubicBezTo>
                  <a:pt x="315" y="84"/>
                  <a:pt x="316" y="84"/>
                  <a:pt x="316" y="85"/>
                </a:cubicBezTo>
                <a:cubicBezTo>
                  <a:pt x="316" y="85"/>
                  <a:pt x="317" y="88"/>
                  <a:pt x="317" y="88"/>
                </a:cubicBezTo>
                <a:cubicBezTo>
                  <a:pt x="317" y="88"/>
                  <a:pt x="314" y="88"/>
                  <a:pt x="316" y="89"/>
                </a:cubicBezTo>
                <a:cubicBezTo>
                  <a:pt x="318" y="90"/>
                  <a:pt x="323" y="88"/>
                  <a:pt x="326" y="89"/>
                </a:cubicBezTo>
                <a:cubicBezTo>
                  <a:pt x="327" y="89"/>
                  <a:pt x="330" y="90"/>
                  <a:pt x="332" y="90"/>
                </a:cubicBezTo>
                <a:cubicBezTo>
                  <a:pt x="332" y="91"/>
                  <a:pt x="332" y="91"/>
                  <a:pt x="332" y="91"/>
                </a:cubicBezTo>
                <a:cubicBezTo>
                  <a:pt x="329" y="92"/>
                  <a:pt x="327" y="92"/>
                  <a:pt x="325" y="92"/>
                </a:cubicBezTo>
                <a:cubicBezTo>
                  <a:pt x="324" y="93"/>
                  <a:pt x="324" y="93"/>
                  <a:pt x="324" y="93"/>
                </a:cubicBezTo>
                <a:cubicBezTo>
                  <a:pt x="321" y="94"/>
                  <a:pt x="316" y="94"/>
                  <a:pt x="314" y="94"/>
                </a:cubicBezTo>
                <a:cubicBezTo>
                  <a:pt x="315" y="96"/>
                  <a:pt x="315" y="96"/>
                  <a:pt x="315" y="96"/>
                </a:cubicBezTo>
                <a:cubicBezTo>
                  <a:pt x="317" y="96"/>
                  <a:pt x="318" y="96"/>
                  <a:pt x="319" y="95"/>
                </a:cubicBezTo>
                <a:cubicBezTo>
                  <a:pt x="321" y="101"/>
                  <a:pt x="319" y="99"/>
                  <a:pt x="323" y="101"/>
                </a:cubicBezTo>
                <a:cubicBezTo>
                  <a:pt x="323" y="102"/>
                  <a:pt x="322" y="102"/>
                  <a:pt x="322" y="104"/>
                </a:cubicBezTo>
                <a:cubicBezTo>
                  <a:pt x="322" y="104"/>
                  <a:pt x="324" y="106"/>
                  <a:pt x="324" y="106"/>
                </a:cubicBezTo>
                <a:cubicBezTo>
                  <a:pt x="324" y="106"/>
                  <a:pt x="326" y="106"/>
                  <a:pt x="326" y="106"/>
                </a:cubicBezTo>
                <a:cubicBezTo>
                  <a:pt x="326" y="105"/>
                  <a:pt x="327" y="102"/>
                  <a:pt x="328" y="101"/>
                </a:cubicBezTo>
                <a:cubicBezTo>
                  <a:pt x="328" y="101"/>
                  <a:pt x="329" y="100"/>
                  <a:pt x="329" y="100"/>
                </a:cubicBezTo>
                <a:cubicBezTo>
                  <a:pt x="329" y="100"/>
                  <a:pt x="329" y="102"/>
                  <a:pt x="329" y="102"/>
                </a:cubicBezTo>
                <a:cubicBezTo>
                  <a:pt x="333" y="104"/>
                  <a:pt x="333" y="104"/>
                  <a:pt x="333" y="104"/>
                </a:cubicBezTo>
                <a:cubicBezTo>
                  <a:pt x="333" y="105"/>
                  <a:pt x="333" y="105"/>
                  <a:pt x="333" y="105"/>
                </a:cubicBezTo>
                <a:cubicBezTo>
                  <a:pt x="337" y="106"/>
                  <a:pt x="338" y="105"/>
                  <a:pt x="338" y="105"/>
                </a:cubicBezTo>
                <a:cubicBezTo>
                  <a:pt x="338" y="105"/>
                  <a:pt x="336" y="111"/>
                  <a:pt x="340" y="112"/>
                </a:cubicBezTo>
                <a:cubicBezTo>
                  <a:pt x="342" y="112"/>
                  <a:pt x="342" y="111"/>
                  <a:pt x="344" y="111"/>
                </a:cubicBezTo>
                <a:cubicBezTo>
                  <a:pt x="346" y="113"/>
                  <a:pt x="346" y="113"/>
                  <a:pt x="346" y="113"/>
                </a:cubicBezTo>
                <a:cubicBezTo>
                  <a:pt x="348" y="113"/>
                  <a:pt x="348" y="111"/>
                  <a:pt x="350" y="112"/>
                </a:cubicBezTo>
                <a:cubicBezTo>
                  <a:pt x="350" y="113"/>
                  <a:pt x="350" y="113"/>
                  <a:pt x="350" y="113"/>
                </a:cubicBezTo>
                <a:cubicBezTo>
                  <a:pt x="354" y="115"/>
                  <a:pt x="355" y="116"/>
                  <a:pt x="357" y="120"/>
                </a:cubicBezTo>
                <a:cubicBezTo>
                  <a:pt x="363" y="119"/>
                  <a:pt x="360" y="120"/>
                  <a:pt x="364" y="121"/>
                </a:cubicBezTo>
                <a:cubicBezTo>
                  <a:pt x="366" y="122"/>
                  <a:pt x="367" y="121"/>
                  <a:pt x="368" y="122"/>
                </a:cubicBezTo>
                <a:cubicBezTo>
                  <a:pt x="370" y="127"/>
                  <a:pt x="370" y="127"/>
                  <a:pt x="370" y="127"/>
                </a:cubicBezTo>
                <a:cubicBezTo>
                  <a:pt x="370" y="133"/>
                  <a:pt x="370" y="133"/>
                  <a:pt x="370" y="133"/>
                </a:cubicBezTo>
                <a:cubicBezTo>
                  <a:pt x="370" y="134"/>
                  <a:pt x="369" y="134"/>
                  <a:pt x="370" y="135"/>
                </a:cubicBezTo>
                <a:cubicBezTo>
                  <a:pt x="370" y="136"/>
                  <a:pt x="371" y="136"/>
                  <a:pt x="372" y="137"/>
                </a:cubicBezTo>
                <a:cubicBezTo>
                  <a:pt x="372" y="138"/>
                  <a:pt x="372" y="139"/>
                  <a:pt x="372" y="141"/>
                </a:cubicBezTo>
                <a:cubicBezTo>
                  <a:pt x="372" y="141"/>
                  <a:pt x="374" y="143"/>
                  <a:pt x="374" y="143"/>
                </a:cubicBezTo>
                <a:cubicBezTo>
                  <a:pt x="375" y="147"/>
                  <a:pt x="374" y="147"/>
                  <a:pt x="375" y="151"/>
                </a:cubicBezTo>
                <a:cubicBezTo>
                  <a:pt x="374" y="151"/>
                  <a:pt x="373" y="149"/>
                  <a:pt x="372" y="149"/>
                </a:cubicBezTo>
                <a:cubicBezTo>
                  <a:pt x="371" y="149"/>
                  <a:pt x="370" y="148"/>
                  <a:pt x="368" y="149"/>
                </a:cubicBezTo>
                <a:cubicBezTo>
                  <a:pt x="368" y="149"/>
                  <a:pt x="364" y="155"/>
                  <a:pt x="364" y="156"/>
                </a:cubicBezTo>
                <a:cubicBezTo>
                  <a:pt x="367" y="155"/>
                  <a:pt x="370" y="155"/>
                  <a:pt x="373" y="155"/>
                </a:cubicBezTo>
                <a:cubicBezTo>
                  <a:pt x="373" y="154"/>
                  <a:pt x="374" y="152"/>
                  <a:pt x="374" y="152"/>
                </a:cubicBezTo>
                <a:cubicBezTo>
                  <a:pt x="375" y="152"/>
                  <a:pt x="375" y="153"/>
                  <a:pt x="375" y="153"/>
                </a:cubicBezTo>
                <a:cubicBezTo>
                  <a:pt x="378" y="154"/>
                  <a:pt x="380" y="152"/>
                  <a:pt x="382" y="153"/>
                </a:cubicBezTo>
                <a:cubicBezTo>
                  <a:pt x="384" y="153"/>
                  <a:pt x="387" y="157"/>
                  <a:pt x="387" y="159"/>
                </a:cubicBezTo>
                <a:cubicBezTo>
                  <a:pt x="387" y="159"/>
                  <a:pt x="387" y="161"/>
                  <a:pt x="387" y="161"/>
                </a:cubicBezTo>
                <a:cubicBezTo>
                  <a:pt x="388" y="161"/>
                  <a:pt x="388" y="161"/>
                  <a:pt x="388" y="161"/>
                </a:cubicBezTo>
                <a:cubicBezTo>
                  <a:pt x="389" y="161"/>
                  <a:pt x="389" y="163"/>
                  <a:pt x="390" y="163"/>
                </a:cubicBezTo>
                <a:cubicBezTo>
                  <a:pt x="390" y="164"/>
                  <a:pt x="391" y="164"/>
                  <a:pt x="392" y="164"/>
                </a:cubicBezTo>
                <a:cubicBezTo>
                  <a:pt x="392" y="141"/>
                  <a:pt x="392" y="141"/>
                  <a:pt x="392" y="141"/>
                </a:cubicBezTo>
                <a:cubicBezTo>
                  <a:pt x="390" y="137"/>
                  <a:pt x="390" y="137"/>
                  <a:pt x="390" y="137"/>
                </a:cubicBezTo>
                <a:cubicBezTo>
                  <a:pt x="392" y="134"/>
                  <a:pt x="392" y="134"/>
                  <a:pt x="392" y="134"/>
                </a:cubicBezTo>
                <a:cubicBezTo>
                  <a:pt x="391" y="95"/>
                  <a:pt x="391" y="95"/>
                  <a:pt x="391" y="95"/>
                </a:cubicBezTo>
                <a:cubicBezTo>
                  <a:pt x="391" y="95"/>
                  <a:pt x="391" y="95"/>
                  <a:pt x="390" y="95"/>
                </a:cubicBezTo>
                <a:cubicBezTo>
                  <a:pt x="390" y="95"/>
                  <a:pt x="389" y="92"/>
                  <a:pt x="388" y="91"/>
                </a:cubicBezTo>
                <a:cubicBezTo>
                  <a:pt x="386" y="91"/>
                  <a:pt x="385" y="92"/>
                  <a:pt x="384" y="92"/>
                </a:cubicBezTo>
                <a:cubicBezTo>
                  <a:pt x="381" y="92"/>
                  <a:pt x="376" y="90"/>
                  <a:pt x="374" y="89"/>
                </a:cubicBezTo>
                <a:cubicBezTo>
                  <a:pt x="372" y="88"/>
                  <a:pt x="366" y="83"/>
                  <a:pt x="363" y="83"/>
                </a:cubicBezTo>
                <a:cubicBezTo>
                  <a:pt x="363" y="85"/>
                  <a:pt x="363" y="85"/>
                  <a:pt x="363" y="85"/>
                </a:cubicBezTo>
                <a:cubicBezTo>
                  <a:pt x="362" y="85"/>
                  <a:pt x="361" y="85"/>
                  <a:pt x="360" y="85"/>
                </a:cubicBezTo>
                <a:cubicBezTo>
                  <a:pt x="359" y="86"/>
                  <a:pt x="358" y="89"/>
                  <a:pt x="357" y="89"/>
                </a:cubicBezTo>
                <a:cubicBezTo>
                  <a:pt x="356" y="90"/>
                  <a:pt x="353" y="90"/>
                  <a:pt x="352" y="91"/>
                </a:cubicBezTo>
                <a:cubicBezTo>
                  <a:pt x="351" y="93"/>
                  <a:pt x="350" y="97"/>
                  <a:pt x="348" y="99"/>
                </a:cubicBezTo>
                <a:cubicBezTo>
                  <a:pt x="347" y="100"/>
                  <a:pt x="345" y="100"/>
                  <a:pt x="343" y="101"/>
                </a:cubicBezTo>
                <a:cubicBezTo>
                  <a:pt x="343" y="100"/>
                  <a:pt x="343" y="101"/>
                  <a:pt x="342" y="101"/>
                </a:cubicBezTo>
                <a:cubicBezTo>
                  <a:pt x="341" y="99"/>
                  <a:pt x="341" y="98"/>
                  <a:pt x="341" y="97"/>
                </a:cubicBezTo>
                <a:cubicBezTo>
                  <a:pt x="339" y="98"/>
                  <a:pt x="339" y="98"/>
                  <a:pt x="339" y="98"/>
                </a:cubicBezTo>
                <a:cubicBezTo>
                  <a:pt x="339" y="97"/>
                  <a:pt x="339" y="95"/>
                  <a:pt x="339" y="93"/>
                </a:cubicBezTo>
                <a:cubicBezTo>
                  <a:pt x="337" y="93"/>
                  <a:pt x="337" y="93"/>
                  <a:pt x="337" y="93"/>
                </a:cubicBezTo>
                <a:cubicBezTo>
                  <a:pt x="336" y="94"/>
                  <a:pt x="337" y="94"/>
                  <a:pt x="336" y="95"/>
                </a:cubicBezTo>
                <a:cubicBezTo>
                  <a:pt x="335" y="90"/>
                  <a:pt x="333" y="87"/>
                  <a:pt x="334" y="82"/>
                </a:cubicBezTo>
                <a:cubicBezTo>
                  <a:pt x="335" y="81"/>
                  <a:pt x="336" y="81"/>
                  <a:pt x="336" y="79"/>
                </a:cubicBezTo>
                <a:cubicBezTo>
                  <a:pt x="336" y="78"/>
                  <a:pt x="334" y="74"/>
                  <a:pt x="332" y="73"/>
                </a:cubicBezTo>
                <a:cubicBezTo>
                  <a:pt x="331" y="73"/>
                  <a:pt x="331" y="73"/>
                  <a:pt x="331" y="73"/>
                </a:cubicBezTo>
                <a:cubicBezTo>
                  <a:pt x="332" y="74"/>
                  <a:pt x="330" y="74"/>
                  <a:pt x="329" y="74"/>
                </a:cubicBezTo>
                <a:cubicBezTo>
                  <a:pt x="329" y="74"/>
                  <a:pt x="329" y="72"/>
                  <a:pt x="327" y="73"/>
                </a:cubicBezTo>
                <a:cubicBezTo>
                  <a:pt x="327" y="73"/>
                  <a:pt x="328" y="74"/>
                  <a:pt x="326" y="74"/>
                </a:cubicBezTo>
                <a:cubicBezTo>
                  <a:pt x="324" y="74"/>
                  <a:pt x="321" y="71"/>
                  <a:pt x="319" y="71"/>
                </a:cubicBezTo>
                <a:cubicBezTo>
                  <a:pt x="315" y="72"/>
                  <a:pt x="315" y="75"/>
                  <a:pt x="314" y="75"/>
                </a:cubicBezTo>
                <a:close/>
                <a:moveTo>
                  <a:pt x="110" y="19"/>
                </a:moveTo>
                <a:cubicBezTo>
                  <a:pt x="111" y="19"/>
                  <a:pt x="110" y="22"/>
                  <a:pt x="110" y="23"/>
                </a:cubicBezTo>
                <a:cubicBezTo>
                  <a:pt x="110" y="23"/>
                  <a:pt x="113" y="22"/>
                  <a:pt x="113" y="22"/>
                </a:cubicBezTo>
                <a:cubicBezTo>
                  <a:pt x="113" y="22"/>
                  <a:pt x="113" y="18"/>
                  <a:pt x="112" y="20"/>
                </a:cubicBezTo>
                <a:lnTo>
                  <a:pt x="110" y="19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0" name="Google Shape;530;p102"/>
          <p:cNvSpPr/>
          <p:nvPr/>
        </p:nvSpPr>
        <p:spPr>
          <a:xfrm>
            <a:off x="7946791" y="3609411"/>
            <a:ext cx="715083" cy="903736"/>
          </a:xfrm>
          <a:custGeom>
            <a:avLst/>
            <a:gdLst/>
            <a:ahLst/>
            <a:cxnLst/>
            <a:rect l="l" t="t" r="r" b="b"/>
            <a:pathLst>
              <a:path w="251" h="324" extrusionOk="0">
                <a:moveTo>
                  <a:pt x="213" y="262"/>
                </a:moveTo>
                <a:cubicBezTo>
                  <a:pt x="213" y="263"/>
                  <a:pt x="213" y="263"/>
                  <a:pt x="213" y="263"/>
                </a:cubicBezTo>
                <a:cubicBezTo>
                  <a:pt x="213" y="262"/>
                  <a:pt x="214" y="262"/>
                  <a:pt x="213" y="262"/>
                </a:cubicBezTo>
                <a:close/>
                <a:moveTo>
                  <a:pt x="213" y="266"/>
                </a:moveTo>
                <a:cubicBezTo>
                  <a:pt x="213" y="266"/>
                  <a:pt x="213" y="268"/>
                  <a:pt x="213" y="268"/>
                </a:cubicBezTo>
                <a:cubicBezTo>
                  <a:pt x="215" y="269"/>
                  <a:pt x="214" y="266"/>
                  <a:pt x="213" y="266"/>
                </a:cubicBezTo>
                <a:close/>
                <a:moveTo>
                  <a:pt x="211" y="272"/>
                </a:moveTo>
                <a:cubicBezTo>
                  <a:pt x="211" y="272"/>
                  <a:pt x="212" y="273"/>
                  <a:pt x="212" y="274"/>
                </a:cubicBezTo>
                <a:cubicBezTo>
                  <a:pt x="213" y="274"/>
                  <a:pt x="213" y="272"/>
                  <a:pt x="211" y="272"/>
                </a:cubicBezTo>
                <a:close/>
                <a:moveTo>
                  <a:pt x="209" y="285"/>
                </a:moveTo>
                <a:cubicBezTo>
                  <a:pt x="209" y="286"/>
                  <a:pt x="209" y="286"/>
                  <a:pt x="209" y="286"/>
                </a:cubicBezTo>
                <a:cubicBezTo>
                  <a:pt x="212" y="287"/>
                  <a:pt x="211" y="285"/>
                  <a:pt x="209" y="285"/>
                </a:cubicBezTo>
                <a:close/>
                <a:moveTo>
                  <a:pt x="218" y="322"/>
                </a:moveTo>
                <a:cubicBezTo>
                  <a:pt x="219" y="324"/>
                  <a:pt x="219" y="324"/>
                  <a:pt x="219" y="324"/>
                </a:cubicBezTo>
                <a:cubicBezTo>
                  <a:pt x="221" y="324"/>
                  <a:pt x="220" y="323"/>
                  <a:pt x="220" y="322"/>
                </a:cubicBezTo>
                <a:cubicBezTo>
                  <a:pt x="220" y="322"/>
                  <a:pt x="219" y="322"/>
                  <a:pt x="218" y="322"/>
                </a:cubicBezTo>
                <a:close/>
                <a:moveTo>
                  <a:pt x="0" y="141"/>
                </a:moveTo>
                <a:cubicBezTo>
                  <a:pt x="1" y="141"/>
                  <a:pt x="1" y="141"/>
                  <a:pt x="1" y="141"/>
                </a:cubicBezTo>
                <a:cubicBezTo>
                  <a:pt x="1" y="142"/>
                  <a:pt x="1" y="141"/>
                  <a:pt x="0" y="142"/>
                </a:cubicBezTo>
                <a:cubicBezTo>
                  <a:pt x="1" y="145"/>
                  <a:pt x="1" y="147"/>
                  <a:pt x="1" y="149"/>
                </a:cubicBezTo>
                <a:cubicBezTo>
                  <a:pt x="4" y="150"/>
                  <a:pt x="10" y="154"/>
                  <a:pt x="16" y="152"/>
                </a:cubicBezTo>
                <a:cubicBezTo>
                  <a:pt x="18" y="151"/>
                  <a:pt x="18" y="148"/>
                  <a:pt x="19" y="147"/>
                </a:cubicBezTo>
                <a:cubicBezTo>
                  <a:pt x="20" y="147"/>
                  <a:pt x="21" y="148"/>
                  <a:pt x="21" y="147"/>
                </a:cubicBezTo>
                <a:cubicBezTo>
                  <a:pt x="20" y="149"/>
                  <a:pt x="20" y="151"/>
                  <a:pt x="19" y="153"/>
                </a:cubicBezTo>
                <a:cubicBezTo>
                  <a:pt x="18" y="153"/>
                  <a:pt x="17" y="153"/>
                  <a:pt x="16" y="154"/>
                </a:cubicBezTo>
                <a:cubicBezTo>
                  <a:pt x="15" y="155"/>
                  <a:pt x="16" y="157"/>
                  <a:pt x="15" y="157"/>
                </a:cubicBezTo>
                <a:cubicBezTo>
                  <a:pt x="14" y="158"/>
                  <a:pt x="12" y="157"/>
                  <a:pt x="11" y="157"/>
                </a:cubicBezTo>
                <a:cubicBezTo>
                  <a:pt x="11" y="157"/>
                  <a:pt x="10" y="159"/>
                  <a:pt x="9" y="159"/>
                </a:cubicBezTo>
                <a:cubicBezTo>
                  <a:pt x="8" y="160"/>
                  <a:pt x="8" y="158"/>
                  <a:pt x="7" y="159"/>
                </a:cubicBezTo>
                <a:cubicBezTo>
                  <a:pt x="6" y="159"/>
                  <a:pt x="6" y="160"/>
                  <a:pt x="5" y="160"/>
                </a:cubicBezTo>
                <a:cubicBezTo>
                  <a:pt x="6" y="161"/>
                  <a:pt x="7" y="163"/>
                  <a:pt x="7" y="164"/>
                </a:cubicBezTo>
                <a:cubicBezTo>
                  <a:pt x="11" y="169"/>
                  <a:pt x="15" y="172"/>
                  <a:pt x="18" y="177"/>
                </a:cubicBezTo>
                <a:cubicBezTo>
                  <a:pt x="19" y="177"/>
                  <a:pt x="20" y="177"/>
                  <a:pt x="21" y="177"/>
                </a:cubicBezTo>
                <a:cubicBezTo>
                  <a:pt x="22" y="177"/>
                  <a:pt x="23" y="175"/>
                  <a:pt x="23" y="175"/>
                </a:cubicBezTo>
                <a:cubicBezTo>
                  <a:pt x="27" y="173"/>
                  <a:pt x="31" y="172"/>
                  <a:pt x="32" y="167"/>
                </a:cubicBezTo>
                <a:cubicBezTo>
                  <a:pt x="33" y="163"/>
                  <a:pt x="31" y="161"/>
                  <a:pt x="33" y="157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34" y="158"/>
                  <a:pt x="34" y="158"/>
                  <a:pt x="35" y="158"/>
                </a:cubicBezTo>
                <a:cubicBezTo>
                  <a:pt x="35" y="159"/>
                  <a:pt x="35" y="159"/>
                  <a:pt x="35" y="160"/>
                </a:cubicBezTo>
                <a:cubicBezTo>
                  <a:pt x="35" y="159"/>
                  <a:pt x="36" y="161"/>
                  <a:pt x="36" y="161"/>
                </a:cubicBezTo>
                <a:cubicBezTo>
                  <a:pt x="36" y="162"/>
                  <a:pt x="35" y="162"/>
                  <a:pt x="35" y="164"/>
                </a:cubicBezTo>
                <a:cubicBezTo>
                  <a:pt x="37" y="165"/>
                  <a:pt x="37" y="166"/>
                  <a:pt x="36" y="166"/>
                </a:cubicBezTo>
                <a:cubicBezTo>
                  <a:pt x="36" y="166"/>
                  <a:pt x="37" y="167"/>
                  <a:pt x="35" y="167"/>
                </a:cubicBezTo>
                <a:cubicBezTo>
                  <a:pt x="35" y="167"/>
                  <a:pt x="35" y="169"/>
                  <a:pt x="36" y="168"/>
                </a:cubicBezTo>
                <a:cubicBezTo>
                  <a:pt x="36" y="170"/>
                  <a:pt x="36" y="170"/>
                  <a:pt x="36" y="170"/>
                </a:cubicBezTo>
                <a:cubicBezTo>
                  <a:pt x="37" y="172"/>
                  <a:pt x="39" y="172"/>
                  <a:pt x="39" y="175"/>
                </a:cubicBezTo>
                <a:cubicBezTo>
                  <a:pt x="37" y="176"/>
                  <a:pt x="37" y="176"/>
                  <a:pt x="37" y="176"/>
                </a:cubicBezTo>
                <a:cubicBezTo>
                  <a:pt x="37" y="177"/>
                  <a:pt x="34" y="187"/>
                  <a:pt x="34" y="187"/>
                </a:cubicBezTo>
                <a:cubicBezTo>
                  <a:pt x="34" y="188"/>
                  <a:pt x="37" y="190"/>
                  <a:pt x="37" y="191"/>
                </a:cubicBezTo>
                <a:cubicBezTo>
                  <a:pt x="38" y="192"/>
                  <a:pt x="36" y="193"/>
                  <a:pt x="37" y="193"/>
                </a:cubicBezTo>
                <a:cubicBezTo>
                  <a:pt x="39" y="194"/>
                  <a:pt x="37" y="198"/>
                  <a:pt x="37" y="200"/>
                </a:cubicBezTo>
                <a:cubicBezTo>
                  <a:pt x="38" y="200"/>
                  <a:pt x="38" y="200"/>
                  <a:pt x="38" y="200"/>
                </a:cubicBezTo>
                <a:cubicBezTo>
                  <a:pt x="38" y="203"/>
                  <a:pt x="37" y="209"/>
                  <a:pt x="39" y="210"/>
                </a:cubicBezTo>
                <a:cubicBezTo>
                  <a:pt x="39" y="210"/>
                  <a:pt x="38" y="211"/>
                  <a:pt x="39" y="212"/>
                </a:cubicBezTo>
                <a:cubicBezTo>
                  <a:pt x="39" y="212"/>
                  <a:pt x="40" y="214"/>
                  <a:pt x="41" y="215"/>
                </a:cubicBezTo>
                <a:cubicBezTo>
                  <a:pt x="41" y="218"/>
                  <a:pt x="41" y="220"/>
                  <a:pt x="41" y="224"/>
                </a:cubicBezTo>
                <a:cubicBezTo>
                  <a:pt x="43" y="231"/>
                  <a:pt x="48" y="237"/>
                  <a:pt x="49" y="244"/>
                </a:cubicBezTo>
                <a:cubicBezTo>
                  <a:pt x="51" y="250"/>
                  <a:pt x="50" y="253"/>
                  <a:pt x="51" y="260"/>
                </a:cubicBezTo>
                <a:cubicBezTo>
                  <a:pt x="51" y="260"/>
                  <a:pt x="53" y="262"/>
                  <a:pt x="53" y="263"/>
                </a:cubicBezTo>
                <a:cubicBezTo>
                  <a:pt x="54" y="265"/>
                  <a:pt x="53" y="266"/>
                  <a:pt x="54" y="268"/>
                </a:cubicBezTo>
                <a:cubicBezTo>
                  <a:pt x="55" y="269"/>
                  <a:pt x="57" y="269"/>
                  <a:pt x="57" y="270"/>
                </a:cubicBezTo>
                <a:cubicBezTo>
                  <a:pt x="58" y="272"/>
                  <a:pt x="57" y="273"/>
                  <a:pt x="58" y="274"/>
                </a:cubicBezTo>
                <a:cubicBezTo>
                  <a:pt x="59" y="276"/>
                  <a:pt x="61" y="277"/>
                  <a:pt x="61" y="279"/>
                </a:cubicBezTo>
                <a:cubicBezTo>
                  <a:pt x="62" y="281"/>
                  <a:pt x="62" y="283"/>
                  <a:pt x="63" y="285"/>
                </a:cubicBezTo>
                <a:cubicBezTo>
                  <a:pt x="63" y="287"/>
                  <a:pt x="67" y="289"/>
                  <a:pt x="67" y="291"/>
                </a:cubicBezTo>
                <a:cubicBezTo>
                  <a:pt x="67" y="293"/>
                  <a:pt x="66" y="294"/>
                  <a:pt x="65" y="295"/>
                </a:cubicBezTo>
                <a:cubicBezTo>
                  <a:pt x="68" y="300"/>
                  <a:pt x="72" y="306"/>
                  <a:pt x="75" y="311"/>
                </a:cubicBezTo>
                <a:cubicBezTo>
                  <a:pt x="77" y="311"/>
                  <a:pt x="78" y="312"/>
                  <a:pt x="79" y="311"/>
                </a:cubicBezTo>
                <a:cubicBezTo>
                  <a:pt x="82" y="309"/>
                  <a:pt x="81" y="305"/>
                  <a:pt x="83" y="303"/>
                </a:cubicBezTo>
                <a:cubicBezTo>
                  <a:pt x="84" y="303"/>
                  <a:pt x="86" y="303"/>
                  <a:pt x="87" y="302"/>
                </a:cubicBezTo>
                <a:cubicBezTo>
                  <a:pt x="87" y="302"/>
                  <a:pt x="86" y="300"/>
                  <a:pt x="87" y="300"/>
                </a:cubicBezTo>
                <a:cubicBezTo>
                  <a:pt x="87" y="300"/>
                  <a:pt x="92" y="291"/>
                  <a:pt x="92" y="291"/>
                </a:cubicBezTo>
                <a:cubicBezTo>
                  <a:pt x="93" y="291"/>
                  <a:pt x="95" y="291"/>
                  <a:pt x="96" y="291"/>
                </a:cubicBezTo>
                <a:cubicBezTo>
                  <a:pt x="95" y="286"/>
                  <a:pt x="93" y="279"/>
                  <a:pt x="94" y="276"/>
                </a:cubicBezTo>
                <a:cubicBezTo>
                  <a:pt x="95" y="274"/>
                  <a:pt x="97" y="273"/>
                  <a:pt x="98" y="272"/>
                </a:cubicBezTo>
                <a:cubicBezTo>
                  <a:pt x="99" y="270"/>
                  <a:pt x="98" y="268"/>
                  <a:pt x="98" y="266"/>
                </a:cubicBezTo>
                <a:cubicBezTo>
                  <a:pt x="100" y="266"/>
                  <a:pt x="100" y="266"/>
                  <a:pt x="100" y="266"/>
                </a:cubicBezTo>
                <a:cubicBezTo>
                  <a:pt x="100" y="263"/>
                  <a:pt x="99" y="261"/>
                  <a:pt x="98" y="260"/>
                </a:cubicBezTo>
                <a:cubicBezTo>
                  <a:pt x="98" y="254"/>
                  <a:pt x="97" y="250"/>
                  <a:pt x="98" y="244"/>
                </a:cubicBezTo>
                <a:cubicBezTo>
                  <a:pt x="98" y="242"/>
                  <a:pt x="100" y="240"/>
                  <a:pt x="100" y="238"/>
                </a:cubicBezTo>
                <a:cubicBezTo>
                  <a:pt x="99" y="238"/>
                  <a:pt x="99" y="238"/>
                  <a:pt x="99" y="238"/>
                </a:cubicBezTo>
                <a:cubicBezTo>
                  <a:pt x="99" y="236"/>
                  <a:pt x="98" y="234"/>
                  <a:pt x="98" y="232"/>
                </a:cubicBezTo>
                <a:cubicBezTo>
                  <a:pt x="99" y="231"/>
                  <a:pt x="100" y="230"/>
                  <a:pt x="100" y="230"/>
                </a:cubicBezTo>
                <a:cubicBezTo>
                  <a:pt x="103" y="228"/>
                  <a:pt x="103" y="229"/>
                  <a:pt x="106" y="228"/>
                </a:cubicBezTo>
                <a:cubicBezTo>
                  <a:pt x="108" y="228"/>
                  <a:pt x="108" y="225"/>
                  <a:pt x="109" y="224"/>
                </a:cubicBezTo>
                <a:cubicBezTo>
                  <a:pt x="111" y="223"/>
                  <a:pt x="114" y="224"/>
                  <a:pt x="115" y="222"/>
                </a:cubicBezTo>
                <a:cubicBezTo>
                  <a:pt x="117" y="220"/>
                  <a:pt x="116" y="215"/>
                  <a:pt x="119" y="213"/>
                </a:cubicBezTo>
                <a:cubicBezTo>
                  <a:pt x="121" y="212"/>
                  <a:pt x="123" y="213"/>
                  <a:pt x="126" y="212"/>
                </a:cubicBezTo>
                <a:cubicBezTo>
                  <a:pt x="126" y="211"/>
                  <a:pt x="126" y="211"/>
                  <a:pt x="126" y="211"/>
                </a:cubicBezTo>
                <a:cubicBezTo>
                  <a:pt x="127" y="210"/>
                  <a:pt x="127" y="209"/>
                  <a:pt x="128" y="208"/>
                </a:cubicBezTo>
                <a:cubicBezTo>
                  <a:pt x="130" y="207"/>
                  <a:pt x="132" y="208"/>
                  <a:pt x="134" y="207"/>
                </a:cubicBezTo>
                <a:cubicBezTo>
                  <a:pt x="135" y="206"/>
                  <a:pt x="134" y="204"/>
                  <a:pt x="135" y="203"/>
                </a:cubicBezTo>
                <a:cubicBezTo>
                  <a:pt x="136" y="202"/>
                  <a:pt x="138" y="201"/>
                  <a:pt x="138" y="200"/>
                </a:cubicBezTo>
                <a:cubicBezTo>
                  <a:pt x="139" y="199"/>
                  <a:pt x="139" y="198"/>
                  <a:pt x="140" y="196"/>
                </a:cubicBezTo>
                <a:cubicBezTo>
                  <a:pt x="141" y="196"/>
                  <a:pt x="141" y="196"/>
                  <a:pt x="141" y="196"/>
                </a:cubicBezTo>
                <a:cubicBezTo>
                  <a:pt x="141" y="195"/>
                  <a:pt x="141" y="195"/>
                  <a:pt x="141" y="195"/>
                </a:cubicBezTo>
                <a:cubicBezTo>
                  <a:pt x="141" y="194"/>
                  <a:pt x="144" y="194"/>
                  <a:pt x="144" y="193"/>
                </a:cubicBezTo>
                <a:cubicBezTo>
                  <a:pt x="146" y="189"/>
                  <a:pt x="146" y="189"/>
                  <a:pt x="146" y="189"/>
                </a:cubicBezTo>
                <a:cubicBezTo>
                  <a:pt x="147" y="189"/>
                  <a:pt x="149" y="190"/>
                  <a:pt x="150" y="189"/>
                </a:cubicBezTo>
                <a:cubicBezTo>
                  <a:pt x="151" y="189"/>
                  <a:pt x="153" y="186"/>
                  <a:pt x="154" y="186"/>
                </a:cubicBezTo>
                <a:cubicBezTo>
                  <a:pt x="155" y="185"/>
                  <a:pt x="156" y="186"/>
                  <a:pt x="157" y="185"/>
                </a:cubicBezTo>
                <a:cubicBezTo>
                  <a:pt x="162" y="181"/>
                  <a:pt x="159" y="180"/>
                  <a:pt x="160" y="174"/>
                </a:cubicBezTo>
                <a:cubicBezTo>
                  <a:pt x="160" y="174"/>
                  <a:pt x="163" y="172"/>
                  <a:pt x="163" y="171"/>
                </a:cubicBezTo>
                <a:cubicBezTo>
                  <a:pt x="163" y="171"/>
                  <a:pt x="163" y="169"/>
                  <a:pt x="163" y="169"/>
                </a:cubicBezTo>
                <a:cubicBezTo>
                  <a:pt x="164" y="168"/>
                  <a:pt x="166" y="169"/>
                  <a:pt x="167" y="169"/>
                </a:cubicBezTo>
                <a:cubicBezTo>
                  <a:pt x="168" y="168"/>
                  <a:pt x="169" y="166"/>
                  <a:pt x="169" y="166"/>
                </a:cubicBezTo>
                <a:cubicBezTo>
                  <a:pt x="170" y="166"/>
                  <a:pt x="169" y="166"/>
                  <a:pt x="170" y="167"/>
                </a:cubicBezTo>
                <a:cubicBezTo>
                  <a:pt x="172" y="167"/>
                  <a:pt x="172" y="167"/>
                  <a:pt x="174" y="167"/>
                </a:cubicBezTo>
                <a:cubicBezTo>
                  <a:pt x="174" y="164"/>
                  <a:pt x="174" y="164"/>
                  <a:pt x="174" y="164"/>
                </a:cubicBezTo>
                <a:cubicBezTo>
                  <a:pt x="176" y="161"/>
                  <a:pt x="176" y="161"/>
                  <a:pt x="176" y="161"/>
                </a:cubicBezTo>
                <a:cubicBezTo>
                  <a:pt x="176" y="155"/>
                  <a:pt x="176" y="155"/>
                  <a:pt x="176" y="155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5" y="145"/>
                  <a:pt x="175" y="145"/>
                  <a:pt x="175" y="145"/>
                </a:cubicBezTo>
                <a:cubicBezTo>
                  <a:pt x="173" y="142"/>
                  <a:pt x="173" y="142"/>
                  <a:pt x="173" y="142"/>
                </a:cubicBezTo>
                <a:cubicBezTo>
                  <a:pt x="167" y="139"/>
                  <a:pt x="167" y="139"/>
                  <a:pt x="167" y="139"/>
                </a:cubicBezTo>
                <a:cubicBezTo>
                  <a:pt x="167" y="137"/>
                  <a:pt x="167" y="137"/>
                  <a:pt x="167" y="137"/>
                </a:cubicBezTo>
                <a:cubicBezTo>
                  <a:pt x="166" y="130"/>
                  <a:pt x="166" y="130"/>
                  <a:pt x="166" y="130"/>
                </a:cubicBezTo>
                <a:cubicBezTo>
                  <a:pt x="169" y="128"/>
                  <a:pt x="169" y="128"/>
                  <a:pt x="169" y="128"/>
                </a:cubicBezTo>
                <a:cubicBezTo>
                  <a:pt x="173" y="126"/>
                  <a:pt x="173" y="126"/>
                  <a:pt x="173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1" y="118"/>
                  <a:pt x="171" y="118"/>
                  <a:pt x="171" y="118"/>
                </a:cubicBezTo>
                <a:cubicBezTo>
                  <a:pt x="173" y="114"/>
                  <a:pt x="173" y="114"/>
                  <a:pt x="173" y="114"/>
                </a:cubicBezTo>
                <a:cubicBezTo>
                  <a:pt x="178" y="118"/>
                  <a:pt x="178" y="118"/>
                  <a:pt x="178" y="118"/>
                </a:cubicBezTo>
                <a:cubicBezTo>
                  <a:pt x="182" y="117"/>
                  <a:pt x="182" y="117"/>
                  <a:pt x="182" y="117"/>
                </a:cubicBezTo>
                <a:cubicBezTo>
                  <a:pt x="186" y="119"/>
                  <a:pt x="186" y="119"/>
                  <a:pt x="186" y="119"/>
                </a:cubicBezTo>
                <a:cubicBezTo>
                  <a:pt x="185" y="125"/>
                  <a:pt x="185" y="125"/>
                  <a:pt x="185" y="125"/>
                </a:cubicBezTo>
                <a:cubicBezTo>
                  <a:pt x="185" y="132"/>
                  <a:pt x="185" y="132"/>
                  <a:pt x="185" y="132"/>
                </a:cubicBezTo>
                <a:cubicBezTo>
                  <a:pt x="188" y="132"/>
                  <a:pt x="188" y="132"/>
                  <a:pt x="188" y="132"/>
                </a:cubicBezTo>
                <a:cubicBezTo>
                  <a:pt x="194" y="132"/>
                  <a:pt x="194" y="132"/>
                  <a:pt x="194" y="132"/>
                </a:cubicBezTo>
                <a:cubicBezTo>
                  <a:pt x="199" y="131"/>
                  <a:pt x="199" y="131"/>
                  <a:pt x="199" y="131"/>
                </a:cubicBezTo>
                <a:cubicBezTo>
                  <a:pt x="204" y="130"/>
                  <a:pt x="204" y="130"/>
                  <a:pt x="204" y="130"/>
                </a:cubicBezTo>
                <a:cubicBezTo>
                  <a:pt x="210" y="130"/>
                  <a:pt x="210" y="130"/>
                  <a:pt x="210" y="130"/>
                </a:cubicBezTo>
                <a:cubicBezTo>
                  <a:pt x="205" y="133"/>
                  <a:pt x="205" y="133"/>
                  <a:pt x="205" y="133"/>
                </a:cubicBezTo>
                <a:cubicBezTo>
                  <a:pt x="206" y="137"/>
                  <a:pt x="206" y="137"/>
                  <a:pt x="206" y="137"/>
                </a:cubicBezTo>
                <a:cubicBezTo>
                  <a:pt x="205" y="138"/>
                  <a:pt x="204" y="142"/>
                  <a:pt x="204" y="142"/>
                </a:cubicBezTo>
                <a:cubicBezTo>
                  <a:pt x="202" y="146"/>
                  <a:pt x="202" y="146"/>
                  <a:pt x="202" y="146"/>
                </a:cubicBezTo>
                <a:cubicBezTo>
                  <a:pt x="200" y="152"/>
                  <a:pt x="200" y="152"/>
                  <a:pt x="200" y="152"/>
                </a:cubicBezTo>
                <a:cubicBezTo>
                  <a:pt x="201" y="155"/>
                  <a:pt x="201" y="155"/>
                  <a:pt x="201" y="155"/>
                </a:cubicBezTo>
                <a:cubicBezTo>
                  <a:pt x="205" y="155"/>
                  <a:pt x="205" y="155"/>
                  <a:pt x="205" y="155"/>
                </a:cubicBezTo>
                <a:cubicBezTo>
                  <a:pt x="206" y="151"/>
                  <a:pt x="206" y="151"/>
                  <a:pt x="206" y="151"/>
                </a:cubicBezTo>
                <a:cubicBezTo>
                  <a:pt x="210" y="157"/>
                  <a:pt x="210" y="157"/>
                  <a:pt x="210" y="157"/>
                </a:cubicBezTo>
                <a:cubicBezTo>
                  <a:pt x="210" y="162"/>
                  <a:pt x="210" y="162"/>
                  <a:pt x="210" y="162"/>
                </a:cubicBezTo>
                <a:cubicBezTo>
                  <a:pt x="211" y="166"/>
                  <a:pt x="211" y="166"/>
                  <a:pt x="211" y="166"/>
                </a:cubicBezTo>
                <a:cubicBezTo>
                  <a:pt x="214" y="165"/>
                  <a:pt x="214" y="165"/>
                  <a:pt x="214" y="165"/>
                </a:cubicBezTo>
                <a:cubicBezTo>
                  <a:pt x="216" y="167"/>
                  <a:pt x="216" y="167"/>
                  <a:pt x="216" y="167"/>
                </a:cubicBezTo>
                <a:cubicBezTo>
                  <a:pt x="218" y="165"/>
                  <a:pt x="218" y="165"/>
                  <a:pt x="218" y="165"/>
                </a:cubicBezTo>
                <a:cubicBezTo>
                  <a:pt x="219" y="163"/>
                  <a:pt x="219" y="163"/>
                  <a:pt x="219" y="163"/>
                </a:cubicBezTo>
                <a:cubicBezTo>
                  <a:pt x="220" y="161"/>
                  <a:pt x="220" y="161"/>
                  <a:pt x="220" y="161"/>
                </a:cubicBezTo>
                <a:cubicBezTo>
                  <a:pt x="219" y="156"/>
                  <a:pt x="219" y="156"/>
                  <a:pt x="219" y="156"/>
                </a:cubicBezTo>
                <a:cubicBezTo>
                  <a:pt x="218" y="153"/>
                  <a:pt x="218" y="153"/>
                  <a:pt x="218" y="153"/>
                </a:cubicBezTo>
                <a:cubicBezTo>
                  <a:pt x="218" y="144"/>
                  <a:pt x="218" y="144"/>
                  <a:pt x="218" y="144"/>
                </a:cubicBezTo>
                <a:cubicBezTo>
                  <a:pt x="223" y="148"/>
                  <a:pt x="223" y="148"/>
                  <a:pt x="223" y="148"/>
                </a:cubicBezTo>
                <a:cubicBezTo>
                  <a:pt x="225" y="142"/>
                  <a:pt x="225" y="142"/>
                  <a:pt x="225" y="142"/>
                </a:cubicBezTo>
                <a:cubicBezTo>
                  <a:pt x="228" y="137"/>
                  <a:pt x="228" y="137"/>
                  <a:pt x="228" y="137"/>
                </a:cubicBezTo>
                <a:cubicBezTo>
                  <a:pt x="228" y="135"/>
                  <a:pt x="228" y="135"/>
                  <a:pt x="228" y="135"/>
                </a:cubicBezTo>
                <a:cubicBezTo>
                  <a:pt x="226" y="133"/>
                  <a:pt x="226" y="133"/>
                  <a:pt x="226" y="133"/>
                </a:cubicBezTo>
                <a:cubicBezTo>
                  <a:pt x="227" y="132"/>
                  <a:pt x="227" y="132"/>
                  <a:pt x="227" y="132"/>
                </a:cubicBezTo>
                <a:cubicBezTo>
                  <a:pt x="231" y="130"/>
                  <a:pt x="231" y="130"/>
                  <a:pt x="231" y="130"/>
                </a:cubicBezTo>
                <a:cubicBezTo>
                  <a:pt x="233" y="126"/>
                  <a:pt x="233" y="126"/>
                  <a:pt x="233" y="126"/>
                </a:cubicBezTo>
                <a:cubicBezTo>
                  <a:pt x="237" y="123"/>
                  <a:pt x="237" y="123"/>
                  <a:pt x="237" y="123"/>
                </a:cubicBezTo>
                <a:cubicBezTo>
                  <a:pt x="237" y="120"/>
                  <a:pt x="237" y="120"/>
                  <a:pt x="237" y="120"/>
                </a:cubicBezTo>
                <a:cubicBezTo>
                  <a:pt x="240" y="115"/>
                  <a:pt x="240" y="115"/>
                  <a:pt x="240" y="115"/>
                </a:cubicBezTo>
                <a:cubicBezTo>
                  <a:pt x="245" y="114"/>
                  <a:pt x="245" y="114"/>
                  <a:pt x="245" y="114"/>
                </a:cubicBezTo>
                <a:cubicBezTo>
                  <a:pt x="248" y="115"/>
                  <a:pt x="248" y="115"/>
                  <a:pt x="248" y="115"/>
                </a:cubicBezTo>
                <a:cubicBezTo>
                  <a:pt x="251" y="109"/>
                  <a:pt x="251" y="109"/>
                  <a:pt x="251" y="109"/>
                </a:cubicBezTo>
                <a:cubicBezTo>
                  <a:pt x="251" y="104"/>
                  <a:pt x="251" y="104"/>
                  <a:pt x="251" y="104"/>
                </a:cubicBezTo>
                <a:cubicBezTo>
                  <a:pt x="250" y="101"/>
                  <a:pt x="250" y="101"/>
                  <a:pt x="250" y="101"/>
                </a:cubicBezTo>
                <a:cubicBezTo>
                  <a:pt x="249" y="98"/>
                  <a:pt x="249" y="98"/>
                  <a:pt x="249" y="98"/>
                </a:cubicBezTo>
                <a:cubicBezTo>
                  <a:pt x="246" y="97"/>
                  <a:pt x="246" y="97"/>
                  <a:pt x="246" y="97"/>
                </a:cubicBezTo>
                <a:cubicBezTo>
                  <a:pt x="243" y="96"/>
                  <a:pt x="243" y="96"/>
                  <a:pt x="243" y="96"/>
                </a:cubicBezTo>
                <a:cubicBezTo>
                  <a:pt x="241" y="95"/>
                  <a:pt x="241" y="95"/>
                  <a:pt x="241" y="95"/>
                </a:cubicBezTo>
                <a:cubicBezTo>
                  <a:pt x="238" y="96"/>
                  <a:pt x="238" y="96"/>
                  <a:pt x="238" y="96"/>
                </a:cubicBezTo>
                <a:cubicBezTo>
                  <a:pt x="236" y="94"/>
                  <a:pt x="236" y="94"/>
                  <a:pt x="236" y="94"/>
                </a:cubicBezTo>
                <a:cubicBezTo>
                  <a:pt x="236" y="89"/>
                  <a:pt x="236" y="89"/>
                  <a:pt x="236" y="89"/>
                </a:cubicBezTo>
                <a:cubicBezTo>
                  <a:pt x="231" y="87"/>
                  <a:pt x="231" y="87"/>
                  <a:pt x="231" y="87"/>
                </a:cubicBezTo>
                <a:cubicBezTo>
                  <a:pt x="228" y="87"/>
                  <a:pt x="228" y="87"/>
                  <a:pt x="228" y="87"/>
                </a:cubicBezTo>
                <a:cubicBezTo>
                  <a:pt x="224" y="90"/>
                  <a:pt x="224" y="90"/>
                  <a:pt x="224" y="90"/>
                </a:cubicBezTo>
                <a:cubicBezTo>
                  <a:pt x="221" y="89"/>
                  <a:pt x="221" y="89"/>
                  <a:pt x="221" y="89"/>
                </a:cubicBezTo>
                <a:cubicBezTo>
                  <a:pt x="217" y="89"/>
                  <a:pt x="217" y="89"/>
                  <a:pt x="217" y="89"/>
                </a:cubicBezTo>
                <a:cubicBezTo>
                  <a:pt x="214" y="91"/>
                  <a:pt x="214" y="91"/>
                  <a:pt x="214" y="91"/>
                </a:cubicBezTo>
                <a:cubicBezTo>
                  <a:pt x="209" y="94"/>
                  <a:pt x="209" y="94"/>
                  <a:pt x="209" y="94"/>
                </a:cubicBezTo>
                <a:cubicBezTo>
                  <a:pt x="205" y="95"/>
                  <a:pt x="205" y="95"/>
                  <a:pt x="205" y="95"/>
                </a:cubicBezTo>
                <a:cubicBezTo>
                  <a:pt x="206" y="101"/>
                  <a:pt x="206" y="101"/>
                  <a:pt x="206" y="101"/>
                </a:cubicBezTo>
                <a:cubicBezTo>
                  <a:pt x="206" y="105"/>
                  <a:pt x="206" y="105"/>
                  <a:pt x="206" y="105"/>
                </a:cubicBezTo>
                <a:cubicBezTo>
                  <a:pt x="204" y="106"/>
                  <a:pt x="204" y="106"/>
                  <a:pt x="204" y="106"/>
                </a:cubicBezTo>
                <a:cubicBezTo>
                  <a:pt x="196" y="107"/>
                  <a:pt x="196" y="107"/>
                  <a:pt x="196" y="107"/>
                </a:cubicBezTo>
                <a:cubicBezTo>
                  <a:pt x="191" y="105"/>
                  <a:pt x="191" y="105"/>
                  <a:pt x="191" y="105"/>
                </a:cubicBezTo>
                <a:cubicBezTo>
                  <a:pt x="187" y="106"/>
                  <a:pt x="187" y="106"/>
                  <a:pt x="187" y="106"/>
                </a:cubicBezTo>
                <a:cubicBezTo>
                  <a:pt x="183" y="107"/>
                  <a:pt x="183" y="107"/>
                  <a:pt x="183" y="107"/>
                </a:cubicBezTo>
                <a:cubicBezTo>
                  <a:pt x="180" y="103"/>
                  <a:pt x="180" y="103"/>
                  <a:pt x="180" y="103"/>
                </a:cubicBezTo>
                <a:cubicBezTo>
                  <a:pt x="181" y="99"/>
                  <a:pt x="181" y="99"/>
                  <a:pt x="181" y="99"/>
                </a:cubicBezTo>
                <a:cubicBezTo>
                  <a:pt x="179" y="101"/>
                  <a:pt x="179" y="101"/>
                  <a:pt x="179" y="101"/>
                </a:cubicBezTo>
                <a:cubicBezTo>
                  <a:pt x="177" y="97"/>
                  <a:pt x="177" y="97"/>
                  <a:pt x="177" y="97"/>
                </a:cubicBezTo>
                <a:cubicBezTo>
                  <a:pt x="173" y="96"/>
                  <a:pt x="173" y="96"/>
                  <a:pt x="173" y="96"/>
                </a:cubicBezTo>
                <a:cubicBezTo>
                  <a:pt x="170" y="98"/>
                  <a:pt x="170" y="98"/>
                  <a:pt x="170" y="98"/>
                </a:cubicBezTo>
                <a:cubicBezTo>
                  <a:pt x="171" y="98"/>
                  <a:pt x="171" y="98"/>
                  <a:pt x="171" y="98"/>
                </a:cubicBezTo>
                <a:cubicBezTo>
                  <a:pt x="170" y="103"/>
                  <a:pt x="170" y="103"/>
                  <a:pt x="170" y="103"/>
                </a:cubicBezTo>
                <a:cubicBezTo>
                  <a:pt x="169" y="106"/>
                  <a:pt x="169" y="106"/>
                  <a:pt x="169" y="106"/>
                </a:cubicBezTo>
                <a:cubicBezTo>
                  <a:pt x="171" y="108"/>
                  <a:pt x="171" y="108"/>
                  <a:pt x="171" y="108"/>
                </a:cubicBezTo>
                <a:cubicBezTo>
                  <a:pt x="171" y="111"/>
                  <a:pt x="171" y="111"/>
                  <a:pt x="171" y="111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165" y="114"/>
                  <a:pt x="165" y="114"/>
                  <a:pt x="165" y="114"/>
                </a:cubicBezTo>
                <a:cubicBezTo>
                  <a:pt x="161" y="112"/>
                  <a:pt x="161" y="112"/>
                  <a:pt x="161" y="112"/>
                </a:cubicBezTo>
                <a:cubicBezTo>
                  <a:pt x="156" y="112"/>
                  <a:pt x="156" y="112"/>
                  <a:pt x="156" y="112"/>
                </a:cubicBezTo>
                <a:cubicBezTo>
                  <a:pt x="149" y="108"/>
                  <a:pt x="149" y="108"/>
                  <a:pt x="149" y="108"/>
                </a:cubicBezTo>
                <a:cubicBezTo>
                  <a:pt x="142" y="108"/>
                  <a:pt x="142" y="108"/>
                  <a:pt x="142" y="108"/>
                </a:cubicBezTo>
                <a:cubicBezTo>
                  <a:pt x="138" y="104"/>
                  <a:pt x="138" y="104"/>
                  <a:pt x="138" y="104"/>
                </a:cubicBezTo>
                <a:cubicBezTo>
                  <a:pt x="134" y="104"/>
                  <a:pt x="134" y="104"/>
                  <a:pt x="134" y="104"/>
                </a:cubicBezTo>
                <a:cubicBezTo>
                  <a:pt x="132" y="101"/>
                  <a:pt x="132" y="101"/>
                  <a:pt x="132" y="101"/>
                </a:cubicBezTo>
                <a:cubicBezTo>
                  <a:pt x="128" y="98"/>
                  <a:pt x="128" y="98"/>
                  <a:pt x="128" y="98"/>
                </a:cubicBezTo>
                <a:cubicBezTo>
                  <a:pt x="123" y="98"/>
                  <a:pt x="123" y="98"/>
                  <a:pt x="123" y="98"/>
                </a:cubicBezTo>
                <a:cubicBezTo>
                  <a:pt x="117" y="95"/>
                  <a:pt x="117" y="95"/>
                  <a:pt x="117" y="95"/>
                </a:cubicBezTo>
                <a:cubicBezTo>
                  <a:pt x="112" y="93"/>
                  <a:pt x="112" y="93"/>
                  <a:pt x="112" y="93"/>
                </a:cubicBezTo>
                <a:cubicBezTo>
                  <a:pt x="108" y="91"/>
                  <a:pt x="108" y="91"/>
                  <a:pt x="108" y="91"/>
                </a:cubicBezTo>
                <a:cubicBezTo>
                  <a:pt x="106" y="88"/>
                  <a:pt x="106" y="88"/>
                  <a:pt x="106" y="88"/>
                </a:cubicBezTo>
                <a:cubicBezTo>
                  <a:pt x="101" y="86"/>
                  <a:pt x="101" y="86"/>
                  <a:pt x="101" y="86"/>
                </a:cubicBezTo>
                <a:cubicBezTo>
                  <a:pt x="100" y="81"/>
                  <a:pt x="100" y="81"/>
                  <a:pt x="100" y="81"/>
                </a:cubicBezTo>
                <a:cubicBezTo>
                  <a:pt x="104" y="75"/>
                  <a:pt x="104" y="75"/>
                  <a:pt x="104" y="75"/>
                </a:cubicBezTo>
                <a:cubicBezTo>
                  <a:pt x="109" y="72"/>
                  <a:pt x="109" y="72"/>
                  <a:pt x="109" y="72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3" y="66"/>
                  <a:pt x="103" y="66"/>
                  <a:pt x="103" y="66"/>
                </a:cubicBezTo>
                <a:cubicBezTo>
                  <a:pt x="98" y="65"/>
                  <a:pt x="98" y="65"/>
                  <a:pt x="98" y="65"/>
                </a:cubicBezTo>
                <a:cubicBezTo>
                  <a:pt x="95" y="63"/>
                  <a:pt x="95" y="63"/>
                  <a:pt x="95" y="63"/>
                </a:cubicBezTo>
                <a:cubicBezTo>
                  <a:pt x="90" y="61"/>
                  <a:pt x="90" y="61"/>
                  <a:pt x="90" y="61"/>
                </a:cubicBezTo>
                <a:cubicBezTo>
                  <a:pt x="89" y="57"/>
                  <a:pt x="89" y="57"/>
                  <a:pt x="89" y="57"/>
                </a:cubicBezTo>
                <a:cubicBezTo>
                  <a:pt x="91" y="55"/>
                  <a:pt x="91" y="55"/>
                  <a:pt x="91" y="55"/>
                </a:cubicBezTo>
                <a:cubicBezTo>
                  <a:pt x="90" y="53"/>
                  <a:pt x="90" y="53"/>
                  <a:pt x="90" y="53"/>
                </a:cubicBezTo>
                <a:cubicBezTo>
                  <a:pt x="91" y="48"/>
                  <a:pt x="91" y="48"/>
                  <a:pt x="91" y="48"/>
                </a:cubicBezTo>
                <a:cubicBezTo>
                  <a:pt x="91" y="45"/>
                  <a:pt x="91" y="45"/>
                  <a:pt x="91" y="45"/>
                </a:cubicBezTo>
                <a:cubicBezTo>
                  <a:pt x="89" y="45"/>
                  <a:pt x="89" y="45"/>
                  <a:pt x="89" y="45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38"/>
                  <a:pt x="87" y="38"/>
                  <a:pt x="87" y="38"/>
                </a:cubicBezTo>
                <a:cubicBezTo>
                  <a:pt x="85" y="35"/>
                  <a:pt x="85" y="35"/>
                  <a:pt x="85" y="35"/>
                </a:cubicBezTo>
                <a:cubicBezTo>
                  <a:pt x="81" y="32"/>
                  <a:pt x="81" y="32"/>
                  <a:pt x="81" y="32"/>
                </a:cubicBezTo>
                <a:cubicBezTo>
                  <a:pt x="83" y="28"/>
                  <a:pt x="83" y="28"/>
                  <a:pt x="83" y="28"/>
                </a:cubicBezTo>
                <a:cubicBezTo>
                  <a:pt x="85" y="26"/>
                  <a:pt x="85" y="26"/>
                  <a:pt x="85" y="26"/>
                </a:cubicBezTo>
                <a:cubicBezTo>
                  <a:pt x="87" y="22"/>
                  <a:pt x="87" y="22"/>
                  <a:pt x="87" y="22"/>
                </a:cubicBezTo>
                <a:cubicBezTo>
                  <a:pt x="89" y="20"/>
                  <a:pt x="89" y="20"/>
                  <a:pt x="89" y="20"/>
                </a:cubicBezTo>
                <a:cubicBezTo>
                  <a:pt x="91" y="17"/>
                  <a:pt x="91" y="17"/>
                  <a:pt x="91" y="17"/>
                </a:cubicBezTo>
                <a:cubicBezTo>
                  <a:pt x="91" y="14"/>
                  <a:pt x="91" y="14"/>
                  <a:pt x="91" y="14"/>
                </a:cubicBezTo>
                <a:cubicBezTo>
                  <a:pt x="94" y="12"/>
                  <a:pt x="94" y="12"/>
                  <a:pt x="94" y="12"/>
                </a:cubicBezTo>
                <a:cubicBezTo>
                  <a:pt x="92" y="8"/>
                  <a:pt x="92" y="8"/>
                  <a:pt x="92" y="8"/>
                </a:cubicBezTo>
                <a:cubicBezTo>
                  <a:pt x="90" y="5"/>
                  <a:pt x="90" y="5"/>
                  <a:pt x="90" y="5"/>
                </a:cubicBezTo>
                <a:cubicBezTo>
                  <a:pt x="88" y="2"/>
                  <a:pt x="88" y="2"/>
                  <a:pt x="88" y="2"/>
                </a:cubicBezTo>
                <a:cubicBezTo>
                  <a:pt x="84" y="1"/>
                  <a:pt x="84" y="1"/>
                  <a:pt x="84" y="1"/>
                </a:cubicBezTo>
                <a:cubicBezTo>
                  <a:pt x="80" y="0"/>
                  <a:pt x="80" y="0"/>
                  <a:pt x="80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4" y="2"/>
                  <a:pt x="74" y="2"/>
                  <a:pt x="74" y="2"/>
                </a:cubicBezTo>
                <a:cubicBezTo>
                  <a:pt x="70" y="5"/>
                  <a:pt x="70" y="5"/>
                  <a:pt x="70" y="5"/>
                </a:cubicBezTo>
                <a:cubicBezTo>
                  <a:pt x="68" y="10"/>
                  <a:pt x="68" y="10"/>
                  <a:pt x="68" y="10"/>
                </a:cubicBezTo>
                <a:cubicBezTo>
                  <a:pt x="65" y="13"/>
                  <a:pt x="65" y="13"/>
                  <a:pt x="65" y="13"/>
                </a:cubicBezTo>
                <a:cubicBezTo>
                  <a:pt x="64" y="15"/>
                  <a:pt x="64" y="15"/>
                  <a:pt x="64" y="15"/>
                </a:cubicBezTo>
                <a:cubicBezTo>
                  <a:pt x="59" y="19"/>
                  <a:pt x="59" y="19"/>
                  <a:pt x="59" y="19"/>
                </a:cubicBezTo>
                <a:cubicBezTo>
                  <a:pt x="53" y="20"/>
                  <a:pt x="53" y="20"/>
                  <a:pt x="53" y="20"/>
                </a:cubicBezTo>
                <a:cubicBezTo>
                  <a:pt x="50" y="22"/>
                  <a:pt x="50" y="22"/>
                  <a:pt x="50" y="22"/>
                </a:cubicBezTo>
                <a:cubicBezTo>
                  <a:pt x="49" y="24"/>
                  <a:pt x="49" y="24"/>
                  <a:pt x="49" y="24"/>
                </a:cubicBezTo>
                <a:cubicBezTo>
                  <a:pt x="47" y="26"/>
                  <a:pt x="47" y="26"/>
                  <a:pt x="47" y="26"/>
                </a:cubicBezTo>
                <a:cubicBezTo>
                  <a:pt x="44" y="24"/>
                  <a:pt x="44" y="24"/>
                  <a:pt x="44" y="24"/>
                </a:cubicBezTo>
                <a:cubicBezTo>
                  <a:pt x="40" y="26"/>
                  <a:pt x="40" y="26"/>
                  <a:pt x="40" y="26"/>
                </a:cubicBezTo>
                <a:cubicBezTo>
                  <a:pt x="37" y="27"/>
                  <a:pt x="37" y="27"/>
                  <a:pt x="37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9" y="34"/>
                  <a:pt x="39" y="34"/>
                  <a:pt x="39" y="34"/>
                </a:cubicBezTo>
                <a:cubicBezTo>
                  <a:pt x="41" y="42"/>
                  <a:pt x="41" y="42"/>
                  <a:pt x="41" y="42"/>
                </a:cubicBezTo>
                <a:cubicBezTo>
                  <a:pt x="42" y="45"/>
                  <a:pt x="42" y="45"/>
                  <a:pt x="42" y="45"/>
                </a:cubicBezTo>
                <a:cubicBezTo>
                  <a:pt x="45" y="47"/>
                  <a:pt x="45" y="47"/>
                  <a:pt x="45" y="47"/>
                </a:cubicBezTo>
                <a:cubicBezTo>
                  <a:pt x="49" y="51"/>
                  <a:pt x="49" y="51"/>
                  <a:pt x="49" y="51"/>
                </a:cubicBezTo>
                <a:cubicBezTo>
                  <a:pt x="49" y="56"/>
                  <a:pt x="49" y="56"/>
                  <a:pt x="49" y="56"/>
                </a:cubicBezTo>
                <a:cubicBezTo>
                  <a:pt x="47" y="60"/>
                  <a:pt x="47" y="60"/>
                  <a:pt x="47" y="60"/>
                </a:cubicBezTo>
                <a:cubicBezTo>
                  <a:pt x="44" y="64"/>
                  <a:pt x="44" y="64"/>
                  <a:pt x="44" y="64"/>
                </a:cubicBezTo>
                <a:cubicBezTo>
                  <a:pt x="43" y="70"/>
                  <a:pt x="43" y="70"/>
                  <a:pt x="43" y="70"/>
                </a:cubicBezTo>
                <a:cubicBezTo>
                  <a:pt x="43" y="75"/>
                  <a:pt x="43" y="75"/>
                  <a:pt x="43" y="75"/>
                </a:cubicBezTo>
                <a:cubicBezTo>
                  <a:pt x="39" y="78"/>
                  <a:pt x="39" y="78"/>
                  <a:pt x="39" y="78"/>
                </a:cubicBezTo>
                <a:cubicBezTo>
                  <a:pt x="36" y="81"/>
                  <a:pt x="36" y="81"/>
                  <a:pt x="36" y="81"/>
                </a:cubicBezTo>
                <a:cubicBezTo>
                  <a:pt x="33" y="84"/>
                  <a:pt x="33" y="84"/>
                  <a:pt x="33" y="84"/>
                </a:cubicBezTo>
                <a:cubicBezTo>
                  <a:pt x="28" y="87"/>
                  <a:pt x="28" y="87"/>
                  <a:pt x="28" y="87"/>
                </a:cubicBezTo>
                <a:cubicBezTo>
                  <a:pt x="24" y="93"/>
                  <a:pt x="24" y="93"/>
                  <a:pt x="24" y="93"/>
                </a:cubicBezTo>
                <a:cubicBezTo>
                  <a:pt x="21" y="98"/>
                  <a:pt x="21" y="98"/>
                  <a:pt x="21" y="98"/>
                </a:cubicBezTo>
                <a:cubicBezTo>
                  <a:pt x="17" y="99"/>
                  <a:pt x="17" y="99"/>
                  <a:pt x="17" y="99"/>
                </a:cubicBezTo>
                <a:cubicBezTo>
                  <a:pt x="15" y="96"/>
                  <a:pt x="15" y="96"/>
                  <a:pt x="15" y="96"/>
                </a:cubicBezTo>
                <a:cubicBezTo>
                  <a:pt x="13" y="101"/>
                  <a:pt x="13" y="101"/>
                  <a:pt x="13" y="101"/>
                </a:cubicBezTo>
                <a:cubicBezTo>
                  <a:pt x="10" y="104"/>
                  <a:pt x="10" y="104"/>
                  <a:pt x="10" y="104"/>
                </a:cubicBezTo>
                <a:cubicBezTo>
                  <a:pt x="8" y="109"/>
                  <a:pt x="8" y="109"/>
                  <a:pt x="8" y="109"/>
                </a:cubicBezTo>
                <a:cubicBezTo>
                  <a:pt x="10" y="111"/>
                  <a:pt x="10" y="111"/>
                  <a:pt x="10" y="111"/>
                </a:cubicBezTo>
                <a:cubicBezTo>
                  <a:pt x="11" y="113"/>
                  <a:pt x="11" y="113"/>
                  <a:pt x="11" y="113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10" y="120"/>
                  <a:pt x="10" y="120"/>
                  <a:pt x="10" y="120"/>
                </a:cubicBezTo>
                <a:cubicBezTo>
                  <a:pt x="14" y="121"/>
                  <a:pt x="14" y="121"/>
                  <a:pt x="14" y="121"/>
                </a:cubicBezTo>
                <a:cubicBezTo>
                  <a:pt x="15" y="125"/>
                  <a:pt x="15" y="125"/>
                  <a:pt x="15" y="125"/>
                </a:cubicBezTo>
                <a:cubicBezTo>
                  <a:pt x="16" y="136"/>
                  <a:pt x="16" y="136"/>
                  <a:pt x="16" y="136"/>
                </a:cubicBezTo>
                <a:cubicBezTo>
                  <a:pt x="13" y="135"/>
                  <a:pt x="13" y="135"/>
                  <a:pt x="13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5" y="135"/>
                  <a:pt x="5" y="135"/>
                  <a:pt x="5" y="135"/>
                </a:cubicBezTo>
                <a:cubicBezTo>
                  <a:pt x="1" y="137"/>
                  <a:pt x="1" y="137"/>
                  <a:pt x="1" y="137"/>
                </a:cubicBezTo>
                <a:lnTo>
                  <a:pt x="0" y="141"/>
                </a:lnTo>
                <a:close/>
                <a:moveTo>
                  <a:pt x="213" y="252"/>
                </a:moveTo>
                <a:cubicBezTo>
                  <a:pt x="213" y="252"/>
                  <a:pt x="212" y="256"/>
                  <a:pt x="213" y="255"/>
                </a:cubicBezTo>
                <a:cubicBezTo>
                  <a:pt x="214" y="255"/>
                  <a:pt x="215" y="252"/>
                  <a:pt x="213" y="252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1" name="Google Shape;531;p102"/>
          <p:cNvSpPr/>
          <p:nvPr/>
        </p:nvSpPr>
        <p:spPr>
          <a:xfrm>
            <a:off x="5650966" y="2475941"/>
            <a:ext cx="259448" cy="133452"/>
          </a:xfrm>
          <a:custGeom>
            <a:avLst/>
            <a:gdLst/>
            <a:ahLst/>
            <a:cxnLst/>
            <a:rect l="l" t="t" r="r" b="b"/>
            <a:pathLst>
              <a:path w="90" h="48" extrusionOk="0">
                <a:moveTo>
                  <a:pt x="69" y="1"/>
                </a:moveTo>
                <a:cubicBezTo>
                  <a:pt x="68" y="2"/>
                  <a:pt x="68" y="2"/>
                  <a:pt x="66" y="2"/>
                </a:cubicBezTo>
                <a:cubicBezTo>
                  <a:pt x="66" y="4"/>
                  <a:pt x="66" y="6"/>
                  <a:pt x="66" y="7"/>
                </a:cubicBezTo>
                <a:cubicBezTo>
                  <a:pt x="64" y="7"/>
                  <a:pt x="63" y="8"/>
                  <a:pt x="62" y="8"/>
                </a:cubicBezTo>
                <a:cubicBezTo>
                  <a:pt x="62" y="8"/>
                  <a:pt x="62" y="5"/>
                  <a:pt x="60" y="6"/>
                </a:cubicBezTo>
                <a:cubicBezTo>
                  <a:pt x="59" y="6"/>
                  <a:pt x="59" y="8"/>
                  <a:pt x="59" y="8"/>
                </a:cubicBezTo>
                <a:cubicBezTo>
                  <a:pt x="58" y="8"/>
                  <a:pt x="57" y="8"/>
                  <a:pt x="56" y="8"/>
                </a:cubicBezTo>
                <a:cubicBezTo>
                  <a:pt x="55" y="9"/>
                  <a:pt x="55" y="9"/>
                  <a:pt x="55" y="9"/>
                </a:cubicBezTo>
                <a:cubicBezTo>
                  <a:pt x="53" y="10"/>
                  <a:pt x="51" y="7"/>
                  <a:pt x="50" y="6"/>
                </a:cubicBezTo>
                <a:cubicBezTo>
                  <a:pt x="50" y="8"/>
                  <a:pt x="49" y="10"/>
                  <a:pt x="50" y="12"/>
                </a:cubicBezTo>
                <a:cubicBezTo>
                  <a:pt x="49" y="11"/>
                  <a:pt x="47" y="11"/>
                  <a:pt x="46" y="8"/>
                </a:cubicBezTo>
                <a:cubicBezTo>
                  <a:pt x="46" y="8"/>
                  <a:pt x="47" y="6"/>
                  <a:pt x="47" y="7"/>
                </a:cubicBezTo>
                <a:cubicBezTo>
                  <a:pt x="47" y="7"/>
                  <a:pt x="47" y="5"/>
                  <a:pt x="47" y="5"/>
                </a:cubicBezTo>
                <a:cubicBezTo>
                  <a:pt x="47" y="5"/>
                  <a:pt x="45" y="5"/>
                  <a:pt x="44" y="5"/>
                </a:cubicBezTo>
                <a:cubicBezTo>
                  <a:pt x="44" y="5"/>
                  <a:pt x="44" y="7"/>
                  <a:pt x="44" y="7"/>
                </a:cubicBezTo>
                <a:cubicBezTo>
                  <a:pt x="42" y="8"/>
                  <a:pt x="39" y="7"/>
                  <a:pt x="38" y="9"/>
                </a:cubicBezTo>
                <a:cubicBezTo>
                  <a:pt x="39" y="12"/>
                  <a:pt x="39" y="12"/>
                  <a:pt x="39" y="12"/>
                </a:cubicBezTo>
                <a:cubicBezTo>
                  <a:pt x="38" y="13"/>
                  <a:pt x="38" y="12"/>
                  <a:pt x="38" y="13"/>
                </a:cubicBezTo>
                <a:cubicBezTo>
                  <a:pt x="37" y="12"/>
                  <a:pt x="36" y="11"/>
                  <a:pt x="36" y="10"/>
                </a:cubicBezTo>
                <a:cubicBezTo>
                  <a:pt x="35" y="9"/>
                  <a:pt x="35" y="8"/>
                  <a:pt x="35" y="7"/>
                </a:cubicBezTo>
                <a:cubicBezTo>
                  <a:pt x="34" y="8"/>
                  <a:pt x="33" y="8"/>
                  <a:pt x="32" y="8"/>
                </a:cubicBezTo>
                <a:cubicBezTo>
                  <a:pt x="32" y="10"/>
                  <a:pt x="33" y="15"/>
                  <a:pt x="32" y="16"/>
                </a:cubicBezTo>
                <a:cubicBezTo>
                  <a:pt x="31" y="16"/>
                  <a:pt x="28" y="14"/>
                  <a:pt x="29" y="15"/>
                </a:cubicBezTo>
                <a:cubicBezTo>
                  <a:pt x="28" y="15"/>
                  <a:pt x="28" y="15"/>
                  <a:pt x="28" y="15"/>
                </a:cubicBezTo>
                <a:cubicBezTo>
                  <a:pt x="27" y="17"/>
                  <a:pt x="28" y="18"/>
                  <a:pt x="27" y="19"/>
                </a:cubicBezTo>
                <a:cubicBezTo>
                  <a:pt x="27" y="19"/>
                  <a:pt x="25" y="20"/>
                  <a:pt x="24" y="20"/>
                </a:cubicBezTo>
                <a:cubicBezTo>
                  <a:pt x="24" y="20"/>
                  <a:pt x="23" y="18"/>
                  <a:pt x="23" y="18"/>
                </a:cubicBezTo>
                <a:cubicBezTo>
                  <a:pt x="23" y="15"/>
                  <a:pt x="26" y="12"/>
                  <a:pt x="23" y="12"/>
                </a:cubicBezTo>
                <a:cubicBezTo>
                  <a:pt x="23" y="12"/>
                  <a:pt x="24" y="11"/>
                  <a:pt x="24" y="10"/>
                </a:cubicBezTo>
                <a:cubicBezTo>
                  <a:pt x="22" y="10"/>
                  <a:pt x="22" y="10"/>
                  <a:pt x="22" y="10"/>
                </a:cubicBezTo>
                <a:cubicBezTo>
                  <a:pt x="22" y="9"/>
                  <a:pt x="23" y="8"/>
                  <a:pt x="22" y="8"/>
                </a:cubicBezTo>
                <a:cubicBezTo>
                  <a:pt x="22" y="7"/>
                  <a:pt x="20" y="6"/>
                  <a:pt x="20" y="5"/>
                </a:cubicBezTo>
                <a:cubicBezTo>
                  <a:pt x="19" y="5"/>
                  <a:pt x="15" y="5"/>
                  <a:pt x="14" y="5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7"/>
                  <a:pt x="16" y="8"/>
                  <a:pt x="17" y="8"/>
                </a:cubicBezTo>
                <a:cubicBezTo>
                  <a:pt x="17" y="9"/>
                  <a:pt x="20" y="13"/>
                  <a:pt x="16" y="12"/>
                </a:cubicBezTo>
                <a:cubicBezTo>
                  <a:pt x="16" y="12"/>
                  <a:pt x="16" y="11"/>
                  <a:pt x="15" y="11"/>
                </a:cubicBezTo>
                <a:cubicBezTo>
                  <a:pt x="12" y="10"/>
                  <a:pt x="11" y="9"/>
                  <a:pt x="10" y="7"/>
                </a:cubicBezTo>
                <a:cubicBezTo>
                  <a:pt x="12" y="6"/>
                  <a:pt x="8" y="6"/>
                  <a:pt x="8" y="6"/>
                </a:cubicBezTo>
                <a:cubicBezTo>
                  <a:pt x="8" y="8"/>
                  <a:pt x="8" y="8"/>
                  <a:pt x="8" y="8"/>
                </a:cubicBezTo>
                <a:cubicBezTo>
                  <a:pt x="8" y="8"/>
                  <a:pt x="9" y="8"/>
                  <a:pt x="9" y="8"/>
                </a:cubicBezTo>
                <a:cubicBezTo>
                  <a:pt x="9" y="8"/>
                  <a:pt x="7" y="8"/>
                  <a:pt x="8" y="8"/>
                </a:cubicBezTo>
                <a:cubicBezTo>
                  <a:pt x="7" y="8"/>
                  <a:pt x="6" y="9"/>
                  <a:pt x="5" y="9"/>
                </a:cubicBezTo>
                <a:cubicBezTo>
                  <a:pt x="6" y="10"/>
                  <a:pt x="6" y="9"/>
                  <a:pt x="8" y="10"/>
                </a:cubicBezTo>
                <a:cubicBezTo>
                  <a:pt x="7" y="11"/>
                  <a:pt x="8" y="13"/>
                  <a:pt x="8" y="14"/>
                </a:cubicBezTo>
                <a:cubicBezTo>
                  <a:pt x="6" y="14"/>
                  <a:pt x="6" y="14"/>
                  <a:pt x="6" y="14"/>
                </a:cubicBezTo>
                <a:cubicBezTo>
                  <a:pt x="5" y="15"/>
                  <a:pt x="4" y="17"/>
                  <a:pt x="3" y="18"/>
                </a:cubicBezTo>
                <a:cubicBezTo>
                  <a:pt x="2" y="18"/>
                  <a:pt x="1" y="17"/>
                  <a:pt x="0" y="17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2" y="19"/>
                  <a:pt x="2" y="19"/>
                </a:cubicBezTo>
                <a:cubicBezTo>
                  <a:pt x="1" y="19"/>
                  <a:pt x="5" y="20"/>
                  <a:pt x="5" y="20"/>
                </a:cubicBezTo>
                <a:cubicBezTo>
                  <a:pt x="5" y="19"/>
                  <a:pt x="6" y="18"/>
                  <a:pt x="6" y="18"/>
                </a:cubicBezTo>
                <a:cubicBezTo>
                  <a:pt x="9" y="17"/>
                  <a:pt x="11" y="17"/>
                  <a:pt x="14" y="16"/>
                </a:cubicBezTo>
                <a:cubicBezTo>
                  <a:pt x="13" y="15"/>
                  <a:pt x="15" y="16"/>
                  <a:pt x="16" y="16"/>
                </a:cubicBezTo>
                <a:cubicBezTo>
                  <a:pt x="18" y="18"/>
                  <a:pt x="16" y="18"/>
                  <a:pt x="14" y="18"/>
                </a:cubicBezTo>
                <a:cubicBezTo>
                  <a:pt x="14" y="19"/>
                  <a:pt x="15" y="22"/>
                  <a:pt x="14" y="22"/>
                </a:cubicBezTo>
                <a:cubicBezTo>
                  <a:pt x="15" y="22"/>
                  <a:pt x="16" y="21"/>
                  <a:pt x="16" y="21"/>
                </a:cubicBezTo>
                <a:cubicBezTo>
                  <a:pt x="19" y="21"/>
                  <a:pt x="17" y="23"/>
                  <a:pt x="17" y="23"/>
                </a:cubicBezTo>
                <a:cubicBezTo>
                  <a:pt x="15" y="23"/>
                  <a:pt x="12" y="22"/>
                  <a:pt x="11" y="22"/>
                </a:cubicBezTo>
                <a:cubicBezTo>
                  <a:pt x="10" y="23"/>
                  <a:pt x="9" y="25"/>
                  <a:pt x="7" y="26"/>
                </a:cubicBezTo>
                <a:cubicBezTo>
                  <a:pt x="6" y="26"/>
                  <a:pt x="4" y="26"/>
                  <a:pt x="3" y="26"/>
                </a:cubicBezTo>
                <a:cubicBezTo>
                  <a:pt x="2" y="27"/>
                  <a:pt x="2" y="28"/>
                  <a:pt x="3" y="28"/>
                </a:cubicBezTo>
                <a:cubicBezTo>
                  <a:pt x="3" y="28"/>
                  <a:pt x="5" y="29"/>
                  <a:pt x="6" y="29"/>
                </a:cubicBezTo>
                <a:cubicBezTo>
                  <a:pt x="8" y="28"/>
                  <a:pt x="8" y="28"/>
                  <a:pt x="8" y="28"/>
                </a:cubicBezTo>
                <a:cubicBezTo>
                  <a:pt x="9" y="28"/>
                  <a:pt x="13" y="28"/>
                  <a:pt x="15" y="28"/>
                </a:cubicBezTo>
                <a:cubicBezTo>
                  <a:pt x="16" y="30"/>
                  <a:pt x="16" y="31"/>
                  <a:pt x="16" y="32"/>
                </a:cubicBezTo>
                <a:cubicBezTo>
                  <a:pt x="17" y="32"/>
                  <a:pt x="18" y="31"/>
                  <a:pt x="19" y="31"/>
                </a:cubicBezTo>
                <a:cubicBezTo>
                  <a:pt x="19" y="31"/>
                  <a:pt x="19" y="33"/>
                  <a:pt x="19" y="34"/>
                </a:cubicBezTo>
                <a:cubicBezTo>
                  <a:pt x="19" y="35"/>
                  <a:pt x="19" y="35"/>
                  <a:pt x="19" y="35"/>
                </a:cubicBezTo>
                <a:cubicBezTo>
                  <a:pt x="18" y="35"/>
                  <a:pt x="19" y="36"/>
                  <a:pt x="18" y="37"/>
                </a:cubicBezTo>
                <a:cubicBezTo>
                  <a:pt x="15" y="37"/>
                  <a:pt x="15" y="37"/>
                  <a:pt x="12" y="38"/>
                </a:cubicBezTo>
                <a:cubicBezTo>
                  <a:pt x="12" y="40"/>
                  <a:pt x="12" y="40"/>
                  <a:pt x="12" y="40"/>
                </a:cubicBezTo>
                <a:cubicBezTo>
                  <a:pt x="17" y="41"/>
                  <a:pt x="20" y="40"/>
                  <a:pt x="25" y="39"/>
                </a:cubicBezTo>
                <a:cubicBezTo>
                  <a:pt x="26" y="40"/>
                  <a:pt x="26" y="40"/>
                  <a:pt x="26" y="40"/>
                </a:cubicBezTo>
                <a:cubicBezTo>
                  <a:pt x="27" y="41"/>
                  <a:pt x="28" y="40"/>
                  <a:pt x="29" y="40"/>
                </a:cubicBezTo>
                <a:cubicBezTo>
                  <a:pt x="30" y="41"/>
                  <a:pt x="30" y="41"/>
                  <a:pt x="30" y="41"/>
                </a:cubicBezTo>
                <a:cubicBezTo>
                  <a:pt x="32" y="42"/>
                  <a:pt x="33" y="42"/>
                  <a:pt x="34" y="42"/>
                </a:cubicBezTo>
                <a:cubicBezTo>
                  <a:pt x="36" y="42"/>
                  <a:pt x="36" y="42"/>
                  <a:pt x="36" y="42"/>
                </a:cubicBezTo>
                <a:cubicBezTo>
                  <a:pt x="34" y="44"/>
                  <a:pt x="34" y="45"/>
                  <a:pt x="32" y="46"/>
                </a:cubicBezTo>
                <a:cubicBezTo>
                  <a:pt x="34" y="46"/>
                  <a:pt x="34" y="46"/>
                  <a:pt x="36" y="46"/>
                </a:cubicBezTo>
                <a:cubicBezTo>
                  <a:pt x="38" y="46"/>
                  <a:pt x="43" y="48"/>
                  <a:pt x="46" y="47"/>
                </a:cubicBezTo>
                <a:cubicBezTo>
                  <a:pt x="47" y="47"/>
                  <a:pt x="48" y="45"/>
                  <a:pt x="48" y="45"/>
                </a:cubicBezTo>
                <a:cubicBezTo>
                  <a:pt x="48" y="45"/>
                  <a:pt x="49" y="46"/>
                  <a:pt x="49" y="47"/>
                </a:cubicBezTo>
                <a:cubicBezTo>
                  <a:pt x="50" y="47"/>
                  <a:pt x="50" y="47"/>
                  <a:pt x="50" y="47"/>
                </a:cubicBezTo>
                <a:cubicBezTo>
                  <a:pt x="51" y="47"/>
                  <a:pt x="51" y="46"/>
                  <a:pt x="51" y="45"/>
                </a:cubicBezTo>
                <a:cubicBezTo>
                  <a:pt x="52" y="43"/>
                  <a:pt x="54" y="43"/>
                  <a:pt x="51" y="42"/>
                </a:cubicBezTo>
                <a:cubicBezTo>
                  <a:pt x="51" y="41"/>
                  <a:pt x="51" y="40"/>
                  <a:pt x="51" y="39"/>
                </a:cubicBezTo>
                <a:cubicBezTo>
                  <a:pt x="56" y="40"/>
                  <a:pt x="55" y="40"/>
                  <a:pt x="58" y="42"/>
                </a:cubicBezTo>
                <a:cubicBezTo>
                  <a:pt x="59" y="41"/>
                  <a:pt x="60" y="41"/>
                  <a:pt x="61" y="41"/>
                </a:cubicBezTo>
                <a:cubicBezTo>
                  <a:pt x="61" y="40"/>
                  <a:pt x="61" y="39"/>
                  <a:pt x="62" y="38"/>
                </a:cubicBezTo>
                <a:cubicBezTo>
                  <a:pt x="62" y="38"/>
                  <a:pt x="64" y="40"/>
                  <a:pt x="65" y="40"/>
                </a:cubicBezTo>
                <a:cubicBezTo>
                  <a:pt x="66" y="39"/>
                  <a:pt x="67" y="37"/>
                  <a:pt x="69" y="36"/>
                </a:cubicBezTo>
                <a:cubicBezTo>
                  <a:pt x="71" y="35"/>
                  <a:pt x="73" y="36"/>
                  <a:pt x="76" y="35"/>
                </a:cubicBezTo>
                <a:cubicBezTo>
                  <a:pt x="76" y="35"/>
                  <a:pt x="78" y="33"/>
                  <a:pt x="78" y="33"/>
                </a:cubicBezTo>
                <a:cubicBezTo>
                  <a:pt x="78" y="33"/>
                  <a:pt x="79" y="33"/>
                  <a:pt x="80" y="33"/>
                </a:cubicBezTo>
                <a:cubicBezTo>
                  <a:pt x="80" y="33"/>
                  <a:pt x="81" y="29"/>
                  <a:pt x="81" y="28"/>
                </a:cubicBezTo>
                <a:cubicBezTo>
                  <a:pt x="83" y="27"/>
                  <a:pt x="83" y="28"/>
                  <a:pt x="84" y="27"/>
                </a:cubicBezTo>
                <a:cubicBezTo>
                  <a:pt x="84" y="26"/>
                  <a:pt x="84" y="26"/>
                  <a:pt x="84" y="26"/>
                </a:cubicBezTo>
                <a:cubicBezTo>
                  <a:pt x="84" y="25"/>
                  <a:pt x="84" y="25"/>
                  <a:pt x="84" y="25"/>
                </a:cubicBezTo>
                <a:cubicBezTo>
                  <a:pt x="84" y="25"/>
                  <a:pt x="87" y="25"/>
                  <a:pt x="86" y="26"/>
                </a:cubicBezTo>
                <a:cubicBezTo>
                  <a:pt x="87" y="25"/>
                  <a:pt x="87" y="27"/>
                  <a:pt x="89" y="26"/>
                </a:cubicBezTo>
                <a:cubicBezTo>
                  <a:pt x="90" y="26"/>
                  <a:pt x="90" y="23"/>
                  <a:pt x="89" y="23"/>
                </a:cubicBezTo>
                <a:cubicBezTo>
                  <a:pt x="90" y="22"/>
                  <a:pt x="90" y="22"/>
                  <a:pt x="90" y="22"/>
                </a:cubicBezTo>
                <a:cubicBezTo>
                  <a:pt x="89" y="22"/>
                  <a:pt x="88" y="22"/>
                  <a:pt x="88" y="22"/>
                </a:cubicBezTo>
                <a:cubicBezTo>
                  <a:pt x="88" y="20"/>
                  <a:pt x="88" y="20"/>
                  <a:pt x="88" y="20"/>
                </a:cubicBezTo>
                <a:cubicBezTo>
                  <a:pt x="88" y="21"/>
                  <a:pt x="89" y="19"/>
                  <a:pt x="89" y="18"/>
                </a:cubicBezTo>
                <a:cubicBezTo>
                  <a:pt x="88" y="18"/>
                  <a:pt x="88" y="16"/>
                  <a:pt x="87" y="16"/>
                </a:cubicBezTo>
                <a:cubicBezTo>
                  <a:pt x="86" y="15"/>
                  <a:pt x="86" y="17"/>
                  <a:pt x="85" y="16"/>
                </a:cubicBezTo>
                <a:cubicBezTo>
                  <a:pt x="84" y="15"/>
                  <a:pt x="84" y="15"/>
                  <a:pt x="84" y="15"/>
                </a:cubicBezTo>
                <a:cubicBezTo>
                  <a:pt x="83" y="15"/>
                  <a:pt x="83" y="14"/>
                  <a:pt x="82" y="14"/>
                </a:cubicBezTo>
                <a:cubicBezTo>
                  <a:pt x="81" y="15"/>
                  <a:pt x="80" y="16"/>
                  <a:pt x="79" y="16"/>
                </a:cubicBezTo>
                <a:cubicBezTo>
                  <a:pt x="79" y="14"/>
                  <a:pt x="80" y="12"/>
                  <a:pt x="80" y="10"/>
                </a:cubicBezTo>
                <a:cubicBezTo>
                  <a:pt x="80" y="10"/>
                  <a:pt x="79" y="10"/>
                  <a:pt x="78" y="10"/>
                </a:cubicBezTo>
                <a:cubicBezTo>
                  <a:pt x="78" y="9"/>
                  <a:pt x="79" y="8"/>
                  <a:pt x="78" y="7"/>
                </a:cubicBezTo>
                <a:cubicBezTo>
                  <a:pt x="79" y="7"/>
                  <a:pt x="80" y="6"/>
                  <a:pt x="82" y="6"/>
                </a:cubicBezTo>
                <a:cubicBezTo>
                  <a:pt x="82" y="6"/>
                  <a:pt x="82" y="4"/>
                  <a:pt x="83" y="4"/>
                </a:cubicBezTo>
                <a:cubicBezTo>
                  <a:pt x="80" y="5"/>
                  <a:pt x="79" y="5"/>
                  <a:pt x="76" y="6"/>
                </a:cubicBezTo>
                <a:cubicBezTo>
                  <a:pt x="77" y="6"/>
                  <a:pt x="74" y="6"/>
                  <a:pt x="74" y="6"/>
                </a:cubicBezTo>
                <a:cubicBezTo>
                  <a:pt x="74" y="6"/>
                  <a:pt x="71" y="1"/>
                  <a:pt x="71" y="1"/>
                </a:cubicBezTo>
                <a:cubicBezTo>
                  <a:pt x="70" y="1"/>
                  <a:pt x="69" y="1"/>
                  <a:pt x="69" y="1"/>
                </a:cubicBezTo>
                <a:close/>
                <a:moveTo>
                  <a:pt x="10" y="0"/>
                </a:moveTo>
                <a:cubicBezTo>
                  <a:pt x="10" y="1"/>
                  <a:pt x="10" y="2"/>
                  <a:pt x="10" y="2"/>
                </a:cubicBezTo>
                <a:cubicBezTo>
                  <a:pt x="9" y="2"/>
                  <a:pt x="9" y="2"/>
                  <a:pt x="9" y="3"/>
                </a:cubicBezTo>
                <a:cubicBezTo>
                  <a:pt x="13" y="3"/>
                  <a:pt x="15" y="3"/>
                  <a:pt x="18" y="3"/>
                </a:cubicBezTo>
                <a:cubicBezTo>
                  <a:pt x="18" y="3"/>
                  <a:pt x="18" y="2"/>
                  <a:pt x="17" y="1"/>
                </a:cubicBezTo>
                <a:cubicBezTo>
                  <a:pt x="16" y="0"/>
                  <a:pt x="12" y="0"/>
                  <a:pt x="10" y="0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2" name="Google Shape;532;p102"/>
          <p:cNvSpPr/>
          <p:nvPr/>
        </p:nvSpPr>
        <p:spPr>
          <a:xfrm>
            <a:off x="6647519" y="3185763"/>
            <a:ext cx="175256" cy="119586"/>
          </a:xfrm>
          <a:custGeom>
            <a:avLst/>
            <a:gdLst/>
            <a:ahLst/>
            <a:cxnLst/>
            <a:rect l="l" t="t" r="r" b="b"/>
            <a:pathLst>
              <a:path w="61" h="43" extrusionOk="0">
                <a:moveTo>
                  <a:pt x="27" y="42"/>
                </a:moveTo>
                <a:cubicBezTo>
                  <a:pt x="27" y="42"/>
                  <a:pt x="23" y="43"/>
                  <a:pt x="21" y="41"/>
                </a:cubicBezTo>
                <a:cubicBezTo>
                  <a:pt x="19" y="40"/>
                  <a:pt x="16" y="40"/>
                  <a:pt x="13" y="37"/>
                </a:cubicBezTo>
                <a:cubicBezTo>
                  <a:pt x="10" y="35"/>
                  <a:pt x="8" y="32"/>
                  <a:pt x="7" y="29"/>
                </a:cubicBezTo>
                <a:cubicBezTo>
                  <a:pt x="7" y="26"/>
                  <a:pt x="2" y="23"/>
                  <a:pt x="2" y="23"/>
                </a:cubicBezTo>
                <a:cubicBezTo>
                  <a:pt x="2" y="23"/>
                  <a:pt x="3" y="22"/>
                  <a:pt x="2" y="20"/>
                </a:cubicBezTo>
                <a:cubicBezTo>
                  <a:pt x="2" y="18"/>
                  <a:pt x="0" y="17"/>
                  <a:pt x="0" y="17"/>
                </a:cubicBezTo>
                <a:cubicBezTo>
                  <a:pt x="0" y="17"/>
                  <a:pt x="1" y="13"/>
                  <a:pt x="3" y="14"/>
                </a:cubicBezTo>
                <a:cubicBezTo>
                  <a:pt x="5" y="15"/>
                  <a:pt x="5" y="8"/>
                  <a:pt x="5" y="8"/>
                </a:cubicBezTo>
                <a:cubicBezTo>
                  <a:pt x="5" y="8"/>
                  <a:pt x="4" y="4"/>
                  <a:pt x="7" y="5"/>
                </a:cubicBezTo>
                <a:cubicBezTo>
                  <a:pt x="7" y="5"/>
                  <a:pt x="11" y="8"/>
                  <a:pt x="13" y="8"/>
                </a:cubicBezTo>
                <a:cubicBezTo>
                  <a:pt x="16" y="8"/>
                  <a:pt x="16" y="7"/>
                  <a:pt x="21" y="8"/>
                </a:cubicBezTo>
                <a:cubicBezTo>
                  <a:pt x="26" y="10"/>
                  <a:pt x="26" y="9"/>
                  <a:pt x="26" y="9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6"/>
                  <a:pt x="30" y="5"/>
                </a:cubicBezTo>
                <a:cubicBezTo>
                  <a:pt x="34" y="3"/>
                  <a:pt x="34" y="2"/>
                  <a:pt x="36" y="4"/>
                </a:cubicBezTo>
                <a:cubicBezTo>
                  <a:pt x="38" y="6"/>
                  <a:pt x="40" y="5"/>
                  <a:pt x="40" y="5"/>
                </a:cubicBezTo>
                <a:cubicBezTo>
                  <a:pt x="40" y="5"/>
                  <a:pt x="40" y="4"/>
                  <a:pt x="43" y="3"/>
                </a:cubicBezTo>
                <a:cubicBezTo>
                  <a:pt x="47" y="2"/>
                  <a:pt x="47" y="1"/>
                  <a:pt x="51" y="2"/>
                </a:cubicBezTo>
                <a:cubicBezTo>
                  <a:pt x="55" y="2"/>
                  <a:pt x="55" y="0"/>
                  <a:pt x="57" y="2"/>
                </a:cubicBezTo>
                <a:cubicBezTo>
                  <a:pt x="59" y="4"/>
                  <a:pt x="61" y="4"/>
                  <a:pt x="61" y="4"/>
                </a:cubicBezTo>
                <a:cubicBezTo>
                  <a:pt x="61" y="4"/>
                  <a:pt x="61" y="10"/>
                  <a:pt x="60" y="12"/>
                </a:cubicBezTo>
                <a:cubicBezTo>
                  <a:pt x="60" y="14"/>
                  <a:pt x="59" y="14"/>
                  <a:pt x="55" y="16"/>
                </a:cubicBezTo>
                <a:cubicBezTo>
                  <a:pt x="52" y="19"/>
                  <a:pt x="54" y="26"/>
                  <a:pt x="51" y="32"/>
                </a:cubicBezTo>
                <a:cubicBezTo>
                  <a:pt x="48" y="37"/>
                  <a:pt x="45" y="37"/>
                  <a:pt x="45" y="37"/>
                </a:cubicBezTo>
                <a:cubicBezTo>
                  <a:pt x="43" y="37"/>
                  <a:pt x="43" y="37"/>
                  <a:pt x="43" y="37"/>
                </a:cubicBezTo>
                <a:cubicBezTo>
                  <a:pt x="38" y="37"/>
                  <a:pt x="38" y="37"/>
                  <a:pt x="38" y="37"/>
                </a:cubicBezTo>
                <a:cubicBezTo>
                  <a:pt x="35" y="37"/>
                  <a:pt x="33" y="37"/>
                  <a:pt x="32" y="39"/>
                </a:cubicBezTo>
                <a:cubicBezTo>
                  <a:pt x="31" y="41"/>
                  <a:pt x="28" y="42"/>
                  <a:pt x="28" y="42"/>
                </a:cubicBezTo>
                <a:lnTo>
                  <a:pt x="27" y="42"/>
                </a:ln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3" name="Google Shape;533;p102"/>
          <p:cNvSpPr/>
          <p:nvPr/>
        </p:nvSpPr>
        <p:spPr>
          <a:xfrm>
            <a:off x="9077046" y="4037495"/>
            <a:ext cx="12028" cy="8665"/>
          </a:xfrm>
          <a:custGeom>
            <a:avLst/>
            <a:gdLst/>
            <a:ahLst/>
            <a:cxnLst/>
            <a:rect l="l" t="t" r="r" b="b"/>
            <a:pathLst>
              <a:path w="4" h="3" extrusionOk="0">
                <a:moveTo>
                  <a:pt x="4" y="2"/>
                </a:moveTo>
                <a:cubicBezTo>
                  <a:pt x="3" y="3"/>
                  <a:pt x="3" y="3"/>
                  <a:pt x="3" y="3"/>
                </a:cubicBezTo>
                <a:cubicBezTo>
                  <a:pt x="2" y="3"/>
                  <a:pt x="2" y="3"/>
                  <a:pt x="1" y="3"/>
                </a:cubicBezTo>
                <a:cubicBezTo>
                  <a:pt x="0" y="2"/>
                  <a:pt x="0" y="2"/>
                  <a:pt x="0" y="1"/>
                </a:cubicBezTo>
                <a:cubicBezTo>
                  <a:pt x="1" y="1"/>
                  <a:pt x="3" y="0"/>
                  <a:pt x="4" y="2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4" name="Google Shape;534;p102"/>
          <p:cNvSpPr/>
          <p:nvPr/>
        </p:nvSpPr>
        <p:spPr>
          <a:xfrm>
            <a:off x="4018682" y="4230764"/>
            <a:ext cx="159793" cy="91855"/>
          </a:xfrm>
          <a:custGeom>
            <a:avLst/>
            <a:gdLst/>
            <a:ahLst/>
            <a:cxnLst/>
            <a:rect l="l" t="t" r="r" b="b"/>
            <a:pathLst>
              <a:path w="55" h="33" extrusionOk="0">
                <a:moveTo>
                  <a:pt x="53" y="14"/>
                </a:moveTo>
                <a:cubicBezTo>
                  <a:pt x="53" y="11"/>
                  <a:pt x="55" y="13"/>
                  <a:pt x="52" y="11"/>
                </a:cubicBezTo>
                <a:cubicBezTo>
                  <a:pt x="51" y="10"/>
                  <a:pt x="48" y="10"/>
                  <a:pt x="46" y="9"/>
                </a:cubicBezTo>
                <a:cubicBezTo>
                  <a:pt x="46" y="9"/>
                  <a:pt x="46" y="5"/>
                  <a:pt x="45" y="4"/>
                </a:cubicBezTo>
                <a:cubicBezTo>
                  <a:pt x="45" y="4"/>
                  <a:pt x="44" y="4"/>
                  <a:pt x="43" y="4"/>
                </a:cubicBezTo>
                <a:cubicBezTo>
                  <a:pt x="42" y="3"/>
                  <a:pt x="42" y="3"/>
                  <a:pt x="42" y="3"/>
                </a:cubicBezTo>
                <a:cubicBezTo>
                  <a:pt x="39" y="1"/>
                  <a:pt x="36" y="3"/>
                  <a:pt x="33" y="2"/>
                </a:cubicBezTo>
                <a:cubicBezTo>
                  <a:pt x="32" y="2"/>
                  <a:pt x="33" y="0"/>
                  <a:pt x="31" y="1"/>
                </a:cubicBezTo>
                <a:cubicBezTo>
                  <a:pt x="31" y="1"/>
                  <a:pt x="31" y="2"/>
                  <a:pt x="30" y="3"/>
                </a:cubicBezTo>
                <a:cubicBezTo>
                  <a:pt x="27" y="3"/>
                  <a:pt x="25" y="2"/>
                  <a:pt x="22" y="3"/>
                </a:cubicBezTo>
                <a:cubicBezTo>
                  <a:pt x="22" y="5"/>
                  <a:pt x="22" y="5"/>
                  <a:pt x="22" y="5"/>
                </a:cubicBezTo>
                <a:cubicBezTo>
                  <a:pt x="17" y="5"/>
                  <a:pt x="12" y="4"/>
                  <a:pt x="9" y="4"/>
                </a:cubicBezTo>
                <a:cubicBezTo>
                  <a:pt x="9" y="4"/>
                  <a:pt x="9" y="7"/>
                  <a:pt x="6" y="7"/>
                </a:cubicBezTo>
                <a:cubicBezTo>
                  <a:pt x="3" y="7"/>
                  <a:pt x="2" y="8"/>
                  <a:pt x="2" y="11"/>
                </a:cubicBezTo>
                <a:cubicBezTo>
                  <a:pt x="2" y="13"/>
                  <a:pt x="0" y="16"/>
                  <a:pt x="0" y="16"/>
                </a:cubicBezTo>
                <a:cubicBezTo>
                  <a:pt x="0" y="16"/>
                  <a:pt x="7" y="18"/>
                  <a:pt x="9" y="19"/>
                </a:cubicBezTo>
                <a:cubicBezTo>
                  <a:pt x="11" y="20"/>
                  <a:pt x="10" y="21"/>
                  <a:pt x="14" y="21"/>
                </a:cubicBezTo>
                <a:cubicBezTo>
                  <a:pt x="17" y="22"/>
                  <a:pt x="17" y="23"/>
                  <a:pt x="17" y="23"/>
                </a:cubicBezTo>
                <a:cubicBezTo>
                  <a:pt x="17" y="29"/>
                  <a:pt x="17" y="29"/>
                  <a:pt x="17" y="29"/>
                </a:cubicBezTo>
                <a:cubicBezTo>
                  <a:pt x="17" y="29"/>
                  <a:pt x="19" y="29"/>
                  <a:pt x="19" y="29"/>
                </a:cubicBezTo>
                <a:cubicBezTo>
                  <a:pt x="19" y="30"/>
                  <a:pt x="19" y="31"/>
                  <a:pt x="18" y="32"/>
                </a:cubicBezTo>
                <a:cubicBezTo>
                  <a:pt x="18" y="32"/>
                  <a:pt x="21" y="33"/>
                  <a:pt x="22" y="31"/>
                </a:cubicBezTo>
                <a:cubicBezTo>
                  <a:pt x="23" y="29"/>
                  <a:pt x="22" y="23"/>
                  <a:pt x="22" y="23"/>
                </a:cubicBezTo>
                <a:cubicBezTo>
                  <a:pt x="22" y="23"/>
                  <a:pt x="26" y="21"/>
                  <a:pt x="29" y="20"/>
                </a:cubicBezTo>
                <a:cubicBezTo>
                  <a:pt x="31" y="20"/>
                  <a:pt x="33" y="20"/>
                  <a:pt x="34" y="21"/>
                </a:cubicBezTo>
                <a:cubicBezTo>
                  <a:pt x="34" y="23"/>
                  <a:pt x="36" y="22"/>
                  <a:pt x="38" y="21"/>
                </a:cubicBezTo>
                <a:cubicBezTo>
                  <a:pt x="40" y="20"/>
                  <a:pt x="44" y="20"/>
                  <a:pt x="44" y="19"/>
                </a:cubicBezTo>
                <a:cubicBezTo>
                  <a:pt x="44" y="17"/>
                  <a:pt x="47" y="15"/>
                  <a:pt x="47" y="15"/>
                </a:cubicBezTo>
                <a:lnTo>
                  <a:pt x="53" y="14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5" name="Google Shape;535;p102"/>
          <p:cNvSpPr/>
          <p:nvPr/>
        </p:nvSpPr>
        <p:spPr>
          <a:xfrm>
            <a:off x="4396684" y="4110286"/>
            <a:ext cx="72165" cy="48528"/>
          </a:xfrm>
          <a:custGeom>
            <a:avLst/>
            <a:gdLst/>
            <a:ahLst/>
            <a:cxnLst/>
            <a:rect l="l" t="t" r="r" b="b"/>
            <a:pathLst>
              <a:path w="25" h="18" extrusionOk="0">
                <a:moveTo>
                  <a:pt x="24" y="18"/>
                </a:moveTo>
                <a:cubicBezTo>
                  <a:pt x="24" y="18"/>
                  <a:pt x="25" y="16"/>
                  <a:pt x="24" y="15"/>
                </a:cubicBezTo>
                <a:cubicBezTo>
                  <a:pt x="24" y="14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cubicBezTo>
                  <a:pt x="24" y="8"/>
                  <a:pt x="24" y="8"/>
                  <a:pt x="24" y="8"/>
                </a:cubicBezTo>
                <a:cubicBezTo>
                  <a:pt x="23" y="3"/>
                  <a:pt x="23" y="3"/>
                  <a:pt x="23" y="3"/>
                </a:cubicBezTo>
                <a:cubicBezTo>
                  <a:pt x="18" y="4"/>
                  <a:pt x="19" y="1"/>
                  <a:pt x="16" y="0"/>
                </a:cubicBezTo>
                <a:cubicBezTo>
                  <a:pt x="15" y="0"/>
                  <a:pt x="13" y="1"/>
                  <a:pt x="12" y="0"/>
                </a:cubicBezTo>
                <a:cubicBezTo>
                  <a:pt x="13" y="1"/>
                  <a:pt x="15" y="2"/>
                  <a:pt x="16" y="3"/>
                </a:cubicBezTo>
                <a:cubicBezTo>
                  <a:pt x="16" y="5"/>
                  <a:pt x="15" y="6"/>
                  <a:pt x="16" y="8"/>
                </a:cubicBezTo>
                <a:cubicBezTo>
                  <a:pt x="16" y="9"/>
                  <a:pt x="19" y="12"/>
                  <a:pt x="19" y="12"/>
                </a:cubicBezTo>
                <a:cubicBezTo>
                  <a:pt x="19" y="13"/>
                  <a:pt x="19" y="15"/>
                  <a:pt x="18" y="14"/>
                </a:cubicBezTo>
                <a:cubicBezTo>
                  <a:pt x="17" y="15"/>
                  <a:pt x="18" y="15"/>
                  <a:pt x="18" y="15"/>
                </a:cubicBezTo>
                <a:cubicBezTo>
                  <a:pt x="16" y="15"/>
                  <a:pt x="16" y="15"/>
                  <a:pt x="16" y="15"/>
                </a:cubicBezTo>
                <a:cubicBezTo>
                  <a:pt x="15" y="14"/>
                  <a:pt x="11" y="13"/>
                  <a:pt x="9" y="13"/>
                </a:cubicBezTo>
                <a:cubicBezTo>
                  <a:pt x="7" y="13"/>
                  <a:pt x="8" y="14"/>
                  <a:pt x="6" y="14"/>
                </a:cubicBezTo>
                <a:cubicBezTo>
                  <a:pt x="5" y="14"/>
                  <a:pt x="4" y="12"/>
                  <a:pt x="2" y="12"/>
                </a:cubicBezTo>
                <a:cubicBezTo>
                  <a:pt x="2" y="12"/>
                  <a:pt x="1" y="13"/>
                  <a:pt x="0" y="13"/>
                </a:cubicBezTo>
                <a:cubicBezTo>
                  <a:pt x="0" y="14"/>
                  <a:pt x="0" y="15"/>
                  <a:pt x="0" y="16"/>
                </a:cubicBezTo>
                <a:cubicBezTo>
                  <a:pt x="1" y="16"/>
                  <a:pt x="2" y="18"/>
                  <a:pt x="3" y="18"/>
                </a:cubicBezTo>
                <a:cubicBezTo>
                  <a:pt x="5" y="18"/>
                  <a:pt x="8" y="17"/>
                  <a:pt x="8" y="17"/>
                </a:cubicBezTo>
                <a:cubicBezTo>
                  <a:pt x="13" y="17"/>
                  <a:pt x="19" y="18"/>
                  <a:pt x="24" y="1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6" name="Google Shape;536;p102"/>
          <p:cNvSpPr/>
          <p:nvPr/>
        </p:nvSpPr>
        <p:spPr>
          <a:xfrm>
            <a:off x="4698993" y="4455180"/>
            <a:ext cx="121992" cy="233973"/>
          </a:xfrm>
          <a:custGeom>
            <a:avLst/>
            <a:gdLst/>
            <a:ahLst/>
            <a:cxnLst/>
            <a:rect l="l" t="t" r="r" b="b"/>
            <a:pathLst>
              <a:path w="42" h="84" extrusionOk="0">
                <a:moveTo>
                  <a:pt x="14" y="1"/>
                </a:moveTo>
                <a:cubicBezTo>
                  <a:pt x="14" y="5"/>
                  <a:pt x="14" y="5"/>
                  <a:pt x="14" y="5"/>
                </a:cubicBezTo>
                <a:cubicBezTo>
                  <a:pt x="14" y="5"/>
                  <a:pt x="14" y="5"/>
                  <a:pt x="12" y="7"/>
                </a:cubicBezTo>
                <a:cubicBezTo>
                  <a:pt x="10" y="8"/>
                  <a:pt x="8" y="9"/>
                  <a:pt x="6" y="9"/>
                </a:cubicBezTo>
                <a:cubicBezTo>
                  <a:pt x="4" y="9"/>
                  <a:pt x="5" y="12"/>
                  <a:pt x="6" y="12"/>
                </a:cubicBezTo>
                <a:cubicBezTo>
                  <a:pt x="8" y="13"/>
                  <a:pt x="8" y="17"/>
                  <a:pt x="8" y="17"/>
                </a:cubicBezTo>
                <a:cubicBezTo>
                  <a:pt x="8" y="17"/>
                  <a:pt x="11" y="17"/>
                  <a:pt x="11" y="19"/>
                </a:cubicBezTo>
                <a:cubicBezTo>
                  <a:pt x="11" y="21"/>
                  <a:pt x="6" y="22"/>
                  <a:pt x="4" y="22"/>
                </a:cubicBezTo>
                <a:cubicBezTo>
                  <a:pt x="2" y="22"/>
                  <a:pt x="3" y="26"/>
                  <a:pt x="3" y="26"/>
                </a:cubicBezTo>
                <a:cubicBezTo>
                  <a:pt x="0" y="27"/>
                  <a:pt x="0" y="27"/>
                  <a:pt x="0" y="27"/>
                </a:cubicBezTo>
                <a:cubicBezTo>
                  <a:pt x="8" y="39"/>
                  <a:pt x="8" y="39"/>
                  <a:pt x="8" y="39"/>
                </a:cubicBezTo>
                <a:cubicBezTo>
                  <a:pt x="8" y="39"/>
                  <a:pt x="12" y="41"/>
                  <a:pt x="14" y="40"/>
                </a:cubicBezTo>
                <a:cubicBezTo>
                  <a:pt x="16" y="40"/>
                  <a:pt x="16" y="43"/>
                  <a:pt x="16" y="43"/>
                </a:cubicBezTo>
                <a:cubicBezTo>
                  <a:pt x="13" y="46"/>
                  <a:pt x="13" y="46"/>
                  <a:pt x="13" y="46"/>
                </a:cubicBezTo>
                <a:cubicBezTo>
                  <a:pt x="13" y="46"/>
                  <a:pt x="17" y="47"/>
                  <a:pt x="18" y="48"/>
                </a:cubicBezTo>
                <a:cubicBezTo>
                  <a:pt x="19" y="48"/>
                  <a:pt x="17" y="50"/>
                  <a:pt x="18" y="51"/>
                </a:cubicBezTo>
                <a:cubicBezTo>
                  <a:pt x="19" y="53"/>
                  <a:pt x="20" y="54"/>
                  <a:pt x="18" y="55"/>
                </a:cubicBezTo>
                <a:cubicBezTo>
                  <a:pt x="16" y="57"/>
                  <a:pt x="13" y="59"/>
                  <a:pt x="13" y="59"/>
                </a:cubicBezTo>
                <a:cubicBezTo>
                  <a:pt x="13" y="59"/>
                  <a:pt x="14" y="69"/>
                  <a:pt x="13" y="72"/>
                </a:cubicBezTo>
                <a:cubicBezTo>
                  <a:pt x="12" y="75"/>
                  <a:pt x="14" y="76"/>
                  <a:pt x="15" y="78"/>
                </a:cubicBezTo>
                <a:cubicBezTo>
                  <a:pt x="16" y="79"/>
                  <a:pt x="19" y="80"/>
                  <a:pt x="19" y="81"/>
                </a:cubicBezTo>
                <a:cubicBezTo>
                  <a:pt x="19" y="83"/>
                  <a:pt x="21" y="84"/>
                  <a:pt x="23" y="84"/>
                </a:cubicBezTo>
                <a:cubicBezTo>
                  <a:pt x="24" y="84"/>
                  <a:pt x="25" y="80"/>
                  <a:pt x="27" y="81"/>
                </a:cubicBezTo>
                <a:cubicBezTo>
                  <a:pt x="28" y="82"/>
                  <a:pt x="27" y="78"/>
                  <a:pt x="29" y="78"/>
                </a:cubicBezTo>
                <a:cubicBezTo>
                  <a:pt x="31" y="78"/>
                  <a:pt x="30" y="75"/>
                  <a:pt x="33" y="76"/>
                </a:cubicBezTo>
                <a:cubicBezTo>
                  <a:pt x="35" y="78"/>
                  <a:pt x="37" y="77"/>
                  <a:pt x="37" y="77"/>
                </a:cubicBezTo>
                <a:cubicBezTo>
                  <a:pt x="36" y="72"/>
                  <a:pt x="36" y="72"/>
                  <a:pt x="36" y="72"/>
                </a:cubicBezTo>
                <a:cubicBezTo>
                  <a:pt x="35" y="64"/>
                  <a:pt x="35" y="64"/>
                  <a:pt x="35" y="64"/>
                </a:cubicBezTo>
                <a:cubicBezTo>
                  <a:pt x="35" y="64"/>
                  <a:pt x="36" y="60"/>
                  <a:pt x="35" y="59"/>
                </a:cubicBezTo>
                <a:cubicBezTo>
                  <a:pt x="34" y="58"/>
                  <a:pt x="32" y="57"/>
                  <a:pt x="32" y="57"/>
                </a:cubicBezTo>
                <a:cubicBezTo>
                  <a:pt x="32" y="57"/>
                  <a:pt x="33" y="52"/>
                  <a:pt x="33" y="50"/>
                </a:cubicBezTo>
                <a:cubicBezTo>
                  <a:pt x="34" y="48"/>
                  <a:pt x="30" y="45"/>
                  <a:pt x="32" y="44"/>
                </a:cubicBezTo>
                <a:cubicBezTo>
                  <a:pt x="34" y="42"/>
                  <a:pt x="36" y="42"/>
                  <a:pt x="37" y="40"/>
                </a:cubicBezTo>
                <a:cubicBezTo>
                  <a:pt x="37" y="38"/>
                  <a:pt x="37" y="36"/>
                  <a:pt x="37" y="35"/>
                </a:cubicBezTo>
                <a:cubicBezTo>
                  <a:pt x="37" y="33"/>
                  <a:pt x="42" y="27"/>
                  <a:pt x="42" y="27"/>
                </a:cubicBezTo>
                <a:cubicBezTo>
                  <a:pt x="42" y="24"/>
                  <a:pt x="41" y="21"/>
                  <a:pt x="39" y="20"/>
                </a:cubicBezTo>
                <a:cubicBezTo>
                  <a:pt x="38" y="20"/>
                  <a:pt x="37" y="20"/>
                  <a:pt x="36" y="20"/>
                </a:cubicBezTo>
                <a:cubicBezTo>
                  <a:pt x="35" y="19"/>
                  <a:pt x="34" y="17"/>
                  <a:pt x="33" y="17"/>
                </a:cubicBezTo>
                <a:cubicBezTo>
                  <a:pt x="31" y="17"/>
                  <a:pt x="32" y="18"/>
                  <a:pt x="30" y="18"/>
                </a:cubicBezTo>
                <a:cubicBezTo>
                  <a:pt x="30" y="17"/>
                  <a:pt x="31" y="17"/>
                  <a:pt x="30" y="16"/>
                </a:cubicBezTo>
                <a:cubicBezTo>
                  <a:pt x="29" y="19"/>
                  <a:pt x="28" y="20"/>
                  <a:pt x="28" y="24"/>
                </a:cubicBezTo>
                <a:cubicBezTo>
                  <a:pt x="26" y="23"/>
                  <a:pt x="25" y="23"/>
                  <a:pt x="25" y="23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24"/>
                  <a:pt x="24" y="22"/>
                  <a:pt x="24" y="22"/>
                </a:cubicBezTo>
                <a:cubicBezTo>
                  <a:pt x="23" y="23"/>
                  <a:pt x="24" y="20"/>
                  <a:pt x="24" y="20"/>
                </a:cubicBezTo>
                <a:cubicBezTo>
                  <a:pt x="25" y="19"/>
                  <a:pt x="25" y="19"/>
                  <a:pt x="26" y="18"/>
                </a:cubicBezTo>
                <a:cubicBezTo>
                  <a:pt x="27" y="18"/>
                  <a:pt x="27" y="18"/>
                  <a:pt x="27" y="18"/>
                </a:cubicBezTo>
                <a:cubicBezTo>
                  <a:pt x="28" y="15"/>
                  <a:pt x="28" y="13"/>
                  <a:pt x="28" y="10"/>
                </a:cubicBezTo>
                <a:cubicBezTo>
                  <a:pt x="24" y="7"/>
                  <a:pt x="21" y="4"/>
                  <a:pt x="18" y="0"/>
                </a:cubicBezTo>
                <a:cubicBezTo>
                  <a:pt x="17" y="1"/>
                  <a:pt x="15" y="1"/>
                  <a:pt x="15" y="1"/>
                </a:cubicBezTo>
                <a:lnTo>
                  <a:pt x="14" y="1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7" name="Google Shape;537;p102"/>
          <p:cNvSpPr/>
          <p:nvPr/>
        </p:nvSpPr>
        <p:spPr>
          <a:xfrm>
            <a:off x="5829659" y="4332128"/>
            <a:ext cx="68728" cy="48528"/>
          </a:xfrm>
          <a:custGeom>
            <a:avLst/>
            <a:gdLst/>
            <a:ahLst/>
            <a:cxnLst/>
            <a:rect l="l" t="t" r="r" b="b"/>
            <a:pathLst>
              <a:path w="24" h="18" extrusionOk="0">
                <a:moveTo>
                  <a:pt x="14" y="18"/>
                </a:moveTo>
                <a:cubicBezTo>
                  <a:pt x="14" y="18"/>
                  <a:pt x="14" y="18"/>
                  <a:pt x="14" y="15"/>
                </a:cubicBezTo>
                <a:cubicBezTo>
                  <a:pt x="17" y="15"/>
                  <a:pt x="17" y="15"/>
                  <a:pt x="17" y="15"/>
                </a:cubicBezTo>
                <a:cubicBezTo>
                  <a:pt x="19" y="15"/>
                  <a:pt x="21" y="12"/>
                  <a:pt x="21" y="12"/>
                </a:cubicBezTo>
                <a:cubicBezTo>
                  <a:pt x="21" y="12"/>
                  <a:pt x="23" y="10"/>
                  <a:pt x="21" y="8"/>
                </a:cubicBezTo>
                <a:cubicBezTo>
                  <a:pt x="20" y="7"/>
                  <a:pt x="21" y="5"/>
                  <a:pt x="22" y="5"/>
                </a:cubicBezTo>
                <a:cubicBezTo>
                  <a:pt x="24" y="5"/>
                  <a:pt x="23" y="0"/>
                  <a:pt x="23" y="0"/>
                </a:cubicBezTo>
                <a:cubicBezTo>
                  <a:pt x="20" y="0"/>
                  <a:pt x="9" y="0"/>
                  <a:pt x="9" y="0"/>
                </a:cubicBezTo>
                <a:cubicBezTo>
                  <a:pt x="5" y="3"/>
                  <a:pt x="5" y="3"/>
                  <a:pt x="5" y="3"/>
                </a:cubicBezTo>
                <a:cubicBezTo>
                  <a:pt x="1" y="4"/>
                  <a:pt x="1" y="4"/>
                  <a:pt x="1" y="4"/>
                </a:cubicBezTo>
                <a:cubicBezTo>
                  <a:pt x="2" y="4"/>
                  <a:pt x="0" y="5"/>
                  <a:pt x="0" y="6"/>
                </a:cubicBezTo>
                <a:cubicBezTo>
                  <a:pt x="2" y="8"/>
                  <a:pt x="5" y="8"/>
                  <a:pt x="8" y="10"/>
                </a:cubicBezTo>
                <a:cubicBezTo>
                  <a:pt x="8" y="10"/>
                  <a:pt x="8" y="14"/>
                  <a:pt x="8" y="15"/>
                </a:cubicBezTo>
                <a:cubicBezTo>
                  <a:pt x="9" y="16"/>
                  <a:pt x="10" y="15"/>
                  <a:pt x="12" y="16"/>
                </a:cubicBezTo>
                <a:cubicBezTo>
                  <a:pt x="12" y="16"/>
                  <a:pt x="12" y="18"/>
                  <a:pt x="12" y="18"/>
                </a:cubicBezTo>
                <a:cubicBezTo>
                  <a:pt x="13" y="18"/>
                  <a:pt x="14" y="18"/>
                  <a:pt x="14" y="1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8" name="Google Shape;538;p102"/>
          <p:cNvSpPr/>
          <p:nvPr/>
        </p:nvSpPr>
        <p:spPr>
          <a:xfrm>
            <a:off x="5829659" y="4332128"/>
            <a:ext cx="68728" cy="48528"/>
          </a:xfrm>
          <a:custGeom>
            <a:avLst/>
            <a:gdLst/>
            <a:ahLst/>
            <a:cxnLst/>
            <a:rect l="l" t="t" r="r" b="b"/>
            <a:pathLst>
              <a:path w="24" h="18" extrusionOk="0">
                <a:moveTo>
                  <a:pt x="14" y="18"/>
                </a:moveTo>
                <a:cubicBezTo>
                  <a:pt x="14" y="18"/>
                  <a:pt x="14" y="18"/>
                  <a:pt x="14" y="15"/>
                </a:cubicBezTo>
                <a:cubicBezTo>
                  <a:pt x="17" y="15"/>
                  <a:pt x="17" y="15"/>
                  <a:pt x="17" y="15"/>
                </a:cubicBezTo>
                <a:cubicBezTo>
                  <a:pt x="19" y="15"/>
                  <a:pt x="21" y="12"/>
                  <a:pt x="21" y="12"/>
                </a:cubicBezTo>
                <a:cubicBezTo>
                  <a:pt x="21" y="12"/>
                  <a:pt x="23" y="10"/>
                  <a:pt x="21" y="8"/>
                </a:cubicBezTo>
                <a:cubicBezTo>
                  <a:pt x="20" y="7"/>
                  <a:pt x="21" y="5"/>
                  <a:pt x="22" y="5"/>
                </a:cubicBezTo>
                <a:cubicBezTo>
                  <a:pt x="24" y="5"/>
                  <a:pt x="23" y="0"/>
                  <a:pt x="23" y="0"/>
                </a:cubicBezTo>
                <a:cubicBezTo>
                  <a:pt x="20" y="0"/>
                  <a:pt x="9" y="0"/>
                  <a:pt x="9" y="0"/>
                </a:cubicBezTo>
                <a:cubicBezTo>
                  <a:pt x="5" y="3"/>
                  <a:pt x="5" y="3"/>
                  <a:pt x="5" y="3"/>
                </a:cubicBezTo>
                <a:cubicBezTo>
                  <a:pt x="1" y="4"/>
                  <a:pt x="1" y="4"/>
                  <a:pt x="1" y="4"/>
                </a:cubicBezTo>
                <a:cubicBezTo>
                  <a:pt x="2" y="4"/>
                  <a:pt x="0" y="5"/>
                  <a:pt x="0" y="6"/>
                </a:cubicBezTo>
                <a:cubicBezTo>
                  <a:pt x="2" y="8"/>
                  <a:pt x="5" y="8"/>
                  <a:pt x="8" y="10"/>
                </a:cubicBezTo>
                <a:cubicBezTo>
                  <a:pt x="8" y="10"/>
                  <a:pt x="8" y="14"/>
                  <a:pt x="8" y="15"/>
                </a:cubicBezTo>
                <a:cubicBezTo>
                  <a:pt x="9" y="16"/>
                  <a:pt x="10" y="15"/>
                  <a:pt x="12" y="16"/>
                </a:cubicBezTo>
                <a:cubicBezTo>
                  <a:pt x="12" y="16"/>
                  <a:pt x="12" y="18"/>
                  <a:pt x="12" y="18"/>
                </a:cubicBezTo>
                <a:cubicBezTo>
                  <a:pt x="13" y="18"/>
                  <a:pt x="14" y="18"/>
                  <a:pt x="14" y="18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39" name="Google Shape;539;p102"/>
          <p:cNvSpPr/>
          <p:nvPr/>
        </p:nvSpPr>
        <p:spPr>
          <a:xfrm>
            <a:off x="5869178" y="4332128"/>
            <a:ext cx="185565" cy="157714"/>
          </a:xfrm>
          <a:custGeom>
            <a:avLst/>
            <a:gdLst/>
            <a:ahLst/>
            <a:cxnLst/>
            <a:rect l="l" t="t" r="r" b="b"/>
            <a:pathLst>
              <a:path w="64" h="57" extrusionOk="0">
                <a:moveTo>
                  <a:pt x="12" y="39"/>
                </a:moveTo>
                <a:cubicBezTo>
                  <a:pt x="13" y="39"/>
                  <a:pt x="13" y="39"/>
                  <a:pt x="14" y="39"/>
                </a:cubicBezTo>
                <a:cubicBezTo>
                  <a:pt x="16" y="39"/>
                  <a:pt x="15" y="37"/>
                  <a:pt x="17" y="36"/>
                </a:cubicBezTo>
                <a:cubicBezTo>
                  <a:pt x="19" y="35"/>
                  <a:pt x="18" y="32"/>
                  <a:pt x="19" y="29"/>
                </a:cubicBezTo>
                <a:cubicBezTo>
                  <a:pt x="21" y="26"/>
                  <a:pt x="23" y="26"/>
                  <a:pt x="26" y="28"/>
                </a:cubicBezTo>
                <a:cubicBezTo>
                  <a:pt x="29" y="30"/>
                  <a:pt x="29" y="28"/>
                  <a:pt x="31" y="28"/>
                </a:cubicBezTo>
                <a:cubicBezTo>
                  <a:pt x="33" y="28"/>
                  <a:pt x="33" y="30"/>
                  <a:pt x="33" y="33"/>
                </a:cubicBezTo>
                <a:cubicBezTo>
                  <a:pt x="33" y="36"/>
                  <a:pt x="35" y="34"/>
                  <a:pt x="36" y="37"/>
                </a:cubicBezTo>
                <a:cubicBezTo>
                  <a:pt x="37" y="40"/>
                  <a:pt x="37" y="39"/>
                  <a:pt x="38" y="41"/>
                </a:cubicBezTo>
                <a:cubicBezTo>
                  <a:pt x="39" y="43"/>
                  <a:pt x="37" y="46"/>
                  <a:pt x="37" y="46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3" y="46"/>
                  <a:pt x="45" y="46"/>
                </a:cubicBezTo>
                <a:cubicBezTo>
                  <a:pt x="46" y="45"/>
                  <a:pt x="46" y="43"/>
                  <a:pt x="46" y="43"/>
                </a:cubicBezTo>
                <a:cubicBezTo>
                  <a:pt x="46" y="43"/>
                  <a:pt x="48" y="46"/>
                  <a:pt x="49" y="48"/>
                </a:cubicBezTo>
                <a:cubicBezTo>
                  <a:pt x="50" y="51"/>
                  <a:pt x="47" y="55"/>
                  <a:pt x="47" y="55"/>
                </a:cubicBezTo>
                <a:cubicBezTo>
                  <a:pt x="49" y="57"/>
                  <a:pt x="49" y="57"/>
                  <a:pt x="49" y="57"/>
                </a:cubicBezTo>
                <a:cubicBezTo>
                  <a:pt x="49" y="57"/>
                  <a:pt x="50" y="55"/>
                  <a:pt x="52" y="52"/>
                </a:cubicBezTo>
                <a:cubicBezTo>
                  <a:pt x="54" y="49"/>
                  <a:pt x="55" y="52"/>
                  <a:pt x="55" y="52"/>
                </a:cubicBezTo>
                <a:cubicBezTo>
                  <a:pt x="58" y="50"/>
                  <a:pt x="58" y="50"/>
                  <a:pt x="58" y="50"/>
                </a:cubicBezTo>
                <a:cubicBezTo>
                  <a:pt x="58" y="50"/>
                  <a:pt x="58" y="49"/>
                  <a:pt x="57" y="47"/>
                </a:cubicBezTo>
                <a:cubicBezTo>
                  <a:pt x="57" y="46"/>
                  <a:pt x="61" y="47"/>
                  <a:pt x="63" y="44"/>
                </a:cubicBezTo>
                <a:cubicBezTo>
                  <a:pt x="64" y="41"/>
                  <a:pt x="62" y="40"/>
                  <a:pt x="61" y="38"/>
                </a:cubicBezTo>
                <a:cubicBezTo>
                  <a:pt x="59" y="36"/>
                  <a:pt x="63" y="34"/>
                  <a:pt x="63" y="34"/>
                </a:cubicBezTo>
                <a:cubicBezTo>
                  <a:pt x="63" y="34"/>
                  <a:pt x="62" y="32"/>
                  <a:pt x="60" y="32"/>
                </a:cubicBezTo>
                <a:cubicBezTo>
                  <a:pt x="59" y="32"/>
                  <a:pt x="58" y="30"/>
                  <a:pt x="57" y="28"/>
                </a:cubicBezTo>
                <a:cubicBezTo>
                  <a:pt x="55" y="25"/>
                  <a:pt x="53" y="28"/>
                  <a:pt x="52" y="26"/>
                </a:cubicBezTo>
                <a:cubicBezTo>
                  <a:pt x="51" y="23"/>
                  <a:pt x="51" y="26"/>
                  <a:pt x="49" y="26"/>
                </a:cubicBezTo>
                <a:cubicBezTo>
                  <a:pt x="47" y="26"/>
                  <a:pt x="47" y="24"/>
                  <a:pt x="47" y="24"/>
                </a:cubicBezTo>
                <a:cubicBezTo>
                  <a:pt x="53" y="20"/>
                  <a:pt x="53" y="20"/>
                  <a:pt x="53" y="20"/>
                </a:cubicBezTo>
                <a:cubicBezTo>
                  <a:pt x="53" y="20"/>
                  <a:pt x="50" y="21"/>
                  <a:pt x="50" y="19"/>
                </a:cubicBezTo>
                <a:cubicBezTo>
                  <a:pt x="50" y="18"/>
                  <a:pt x="49" y="15"/>
                  <a:pt x="48" y="15"/>
                </a:cubicBezTo>
                <a:cubicBezTo>
                  <a:pt x="46" y="14"/>
                  <a:pt x="49" y="12"/>
                  <a:pt x="49" y="9"/>
                </a:cubicBezTo>
                <a:cubicBezTo>
                  <a:pt x="49" y="7"/>
                  <a:pt x="48" y="4"/>
                  <a:pt x="48" y="4"/>
                </a:cubicBezTo>
                <a:cubicBezTo>
                  <a:pt x="48" y="4"/>
                  <a:pt x="47" y="3"/>
                  <a:pt x="44" y="4"/>
                </a:cubicBezTo>
                <a:cubicBezTo>
                  <a:pt x="41" y="5"/>
                  <a:pt x="40" y="2"/>
                  <a:pt x="40" y="2"/>
                </a:cubicBezTo>
                <a:cubicBezTo>
                  <a:pt x="40" y="2"/>
                  <a:pt x="39" y="5"/>
                  <a:pt x="37" y="5"/>
                </a:cubicBezTo>
                <a:cubicBezTo>
                  <a:pt x="36" y="6"/>
                  <a:pt x="36" y="4"/>
                  <a:pt x="34" y="3"/>
                </a:cubicBezTo>
                <a:cubicBezTo>
                  <a:pt x="32" y="3"/>
                  <a:pt x="31" y="5"/>
                  <a:pt x="31" y="5"/>
                </a:cubicBezTo>
                <a:cubicBezTo>
                  <a:pt x="28" y="5"/>
                  <a:pt x="28" y="5"/>
                  <a:pt x="28" y="5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2" y="3"/>
                  <a:pt x="20" y="2"/>
                </a:cubicBezTo>
                <a:cubicBezTo>
                  <a:pt x="18" y="1"/>
                  <a:pt x="17" y="0"/>
                  <a:pt x="15" y="1"/>
                </a:cubicBezTo>
                <a:cubicBezTo>
                  <a:pt x="13" y="2"/>
                  <a:pt x="11" y="1"/>
                  <a:pt x="9" y="0"/>
                </a:cubicBezTo>
                <a:cubicBezTo>
                  <a:pt x="9" y="0"/>
                  <a:pt x="10" y="5"/>
                  <a:pt x="8" y="5"/>
                </a:cubicBezTo>
                <a:cubicBezTo>
                  <a:pt x="7" y="5"/>
                  <a:pt x="6" y="7"/>
                  <a:pt x="7" y="8"/>
                </a:cubicBezTo>
                <a:cubicBezTo>
                  <a:pt x="9" y="10"/>
                  <a:pt x="7" y="12"/>
                  <a:pt x="7" y="12"/>
                </a:cubicBezTo>
                <a:cubicBezTo>
                  <a:pt x="7" y="12"/>
                  <a:pt x="5" y="15"/>
                  <a:pt x="3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0"/>
                  <a:pt x="0" y="20"/>
                  <a:pt x="0" y="20"/>
                </a:cubicBezTo>
                <a:cubicBezTo>
                  <a:pt x="1" y="20"/>
                  <a:pt x="3" y="21"/>
                  <a:pt x="3" y="22"/>
                </a:cubicBezTo>
                <a:cubicBezTo>
                  <a:pt x="3" y="23"/>
                  <a:pt x="2" y="23"/>
                  <a:pt x="2" y="24"/>
                </a:cubicBezTo>
                <a:cubicBezTo>
                  <a:pt x="2" y="24"/>
                  <a:pt x="4" y="26"/>
                  <a:pt x="4" y="26"/>
                </a:cubicBezTo>
                <a:cubicBezTo>
                  <a:pt x="4" y="27"/>
                  <a:pt x="4" y="27"/>
                  <a:pt x="4" y="27"/>
                </a:cubicBezTo>
                <a:cubicBezTo>
                  <a:pt x="5" y="28"/>
                  <a:pt x="6" y="27"/>
                  <a:pt x="8" y="28"/>
                </a:cubicBezTo>
                <a:cubicBezTo>
                  <a:pt x="7" y="30"/>
                  <a:pt x="7" y="36"/>
                  <a:pt x="8" y="37"/>
                </a:cubicBezTo>
                <a:cubicBezTo>
                  <a:pt x="12" y="39"/>
                  <a:pt x="12" y="39"/>
                  <a:pt x="12" y="39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0" name="Google Shape;540;p102"/>
          <p:cNvSpPr/>
          <p:nvPr/>
        </p:nvSpPr>
        <p:spPr>
          <a:xfrm>
            <a:off x="3943080" y="4170946"/>
            <a:ext cx="103092" cy="123053"/>
          </a:xfrm>
          <a:custGeom>
            <a:avLst/>
            <a:gdLst/>
            <a:ahLst/>
            <a:cxnLst/>
            <a:rect l="l" t="t" r="r" b="b"/>
            <a:pathLst>
              <a:path w="36" h="45" extrusionOk="0">
                <a:moveTo>
                  <a:pt x="19" y="45"/>
                </a:moveTo>
                <a:cubicBezTo>
                  <a:pt x="18" y="42"/>
                  <a:pt x="24" y="44"/>
                  <a:pt x="23" y="42"/>
                </a:cubicBezTo>
                <a:cubicBezTo>
                  <a:pt x="23" y="40"/>
                  <a:pt x="27" y="37"/>
                  <a:pt x="27" y="37"/>
                </a:cubicBezTo>
                <a:cubicBezTo>
                  <a:pt x="27" y="37"/>
                  <a:pt x="29" y="34"/>
                  <a:pt x="29" y="32"/>
                </a:cubicBezTo>
                <a:cubicBezTo>
                  <a:pt x="29" y="29"/>
                  <a:pt x="30" y="28"/>
                  <a:pt x="33" y="28"/>
                </a:cubicBezTo>
                <a:cubicBezTo>
                  <a:pt x="36" y="28"/>
                  <a:pt x="36" y="25"/>
                  <a:pt x="36" y="25"/>
                </a:cubicBezTo>
                <a:cubicBezTo>
                  <a:pt x="34" y="25"/>
                  <a:pt x="32" y="25"/>
                  <a:pt x="31" y="25"/>
                </a:cubicBezTo>
                <a:cubicBezTo>
                  <a:pt x="31" y="24"/>
                  <a:pt x="31" y="24"/>
                  <a:pt x="31" y="24"/>
                </a:cubicBezTo>
                <a:cubicBezTo>
                  <a:pt x="28" y="24"/>
                  <a:pt x="28" y="24"/>
                  <a:pt x="28" y="24"/>
                </a:cubicBezTo>
                <a:cubicBezTo>
                  <a:pt x="29" y="0"/>
                  <a:pt x="29" y="0"/>
                  <a:pt x="29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3" y="5"/>
                  <a:pt x="13" y="5"/>
                  <a:pt x="13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8"/>
                  <a:pt x="10" y="8"/>
                  <a:pt x="10" y="8"/>
                </a:cubicBezTo>
                <a:cubicBezTo>
                  <a:pt x="10" y="8"/>
                  <a:pt x="12" y="12"/>
                  <a:pt x="15" y="13"/>
                </a:cubicBezTo>
                <a:cubicBezTo>
                  <a:pt x="17" y="15"/>
                  <a:pt x="17" y="18"/>
                  <a:pt x="17" y="18"/>
                </a:cubicBezTo>
                <a:cubicBezTo>
                  <a:pt x="6" y="18"/>
                  <a:pt x="6" y="18"/>
                  <a:pt x="6" y="18"/>
                </a:cubicBezTo>
                <a:cubicBezTo>
                  <a:pt x="6" y="18"/>
                  <a:pt x="0" y="25"/>
                  <a:pt x="1" y="26"/>
                </a:cubicBezTo>
                <a:cubicBezTo>
                  <a:pt x="2" y="28"/>
                  <a:pt x="0" y="31"/>
                  <a:pt x="0" y="31"/>
                </a:cubicBezTo>
                <a:cubicBezTo>
                  <a:pt x="0" y="32"/>
                  <a:pt x="1" y="32"/>
                  <a:pt x="1" y="32"/>
                </a:cubicBezTo>
                <a:cubicBezTo>
                  <a:pt x="1" y="33"/>
                  <a:pt x="3" y="33"/>
                  <a:pt x="4" y="34"/>
                </a:cubicBezTo>
                <a:cubicBezTo>
                  <a:pt x="5" y="35"/>
                  <a:pt x="6" y="38"/>
                  <a:pt x="8" y="39"/>
                </a:cubicBezTo>
                <a:cubicBezTo>
                  <a:pt x="8" y="40"/>
                  <a:pt x="10" y="40"/>
                  <a:pt x="11" y="40"/>
                </a:cubicBezTo>
                <a:cubicBezTo>
                  <a:pt x="13" y="42"/>
                  <a:pt x="10" y="41"/>
                  <a:pt x="13" y="43"/>
                </a:cubicBezTo>
                <a:cubicBezTo>
                  <a:pt x="13" y="44"/>
                  <a:pt x="13" y="44"/>
                  <a:pt x="13" y="44"/>
                </a:cubicBezTo>
                <a:cubicBezTo>
                  <a:pt x="15" y="45"/>
                  <a:pt x="15" y="43"/>
                  <a:pt x="17" y="44"/>
                </a:cubicBezTo>
                <a:cubicBezTo>
                  <a:pt x="19" y="45"/>
                  <a:pt x="19" y="45"/>
                  <a:pt x="19" y="45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1" name="Google Shape;541;p102"/>
          <p:cNvSpPr/>
          <p:nvPr/>
        </p:nvSpPr>
        <p:spPr>
          <a:xfrm>
            <a:off x="4446512" y="1642304"/>
            <a:ext cx="1498266" cy="1114405"/>
          </a:xfrm>
          <a:custGeom>
            <a:avLst/>
            <a:gdLst/>
            <a:ahLst/>
            <a:cxnLst/>
            <a:rect l="l" t="t" r="r" b="b"/>
            <a:pathLst>
              <a:path w="521" h="402" extrusionOk="0">
                <a:moveTo>
                  <a:pt x="460" y="133"/>
                </a:moveTo>
                <a:cubicBezTo>
                  <a:pt x="461" y="135"/>
                  <a:pt x="461" y="135"/>
                  <a:pt x="461" y="135"/>
                </a:cubicBezTo>
                <a:cubicBezTo>
                  <a:pt x="460" y="134"/>
                  <a:pt x="461" y="133"/>
                  <a:pt x="460" y="133"/>
                </a:cubicBezTo>
                <a:close/>
                <a:moveTo>
                  <a:pt x="247" y="398"/>
                </a:moveTo>
                <a:cubicBezTo>
                  <a:pt x="247" y="401"/>
                  <a:pt x="247" y="401"/>
                  <a:pt x="247" y="401"/>
                </a:cubicBezTo>
                <a:cubicBezTo>
                  <a:pt x="248" y="400"/>
                  <a:pt x="248" y="402"/>
                  <a:pt x="250" y="401"/>
                </a:cubicBezTo>
                <a:cubicBezTo>
                  <a:pt x="251" y="401"/>
                  <a:pt x="250" y="399"/>
                  <a:pt x="250" y="399"/>
                </a:cubicBezTo>
                <a:cubicBezTo>
                  <a:pt x="249" y="399"/>
                  <a:pt x="248" y="399"/>
                  <a:pt x="247" y="398"/>
                </a:cubicBezTo>
                <a:close/>
                <a:moveTo>
                  <a:pt x="236" y="383"/>
                </a:moveTo>
                <a:cubicBezTo>
                  <a:pt x="236" y="383"/>
                  <a:pt x="236" y="385"/>
                  <a:pt x="235" y="385"/>
                </a:cubicBezTo>
                <a:cubicBezTo>
                  <a:pt x="234" y="386"/>
                  <a:pt x="236" y="383"/>
                  <a:pt x="236" y="383"/>
                </a:cubicBezTo>
                <a:close/>
                <a:moveTo>
                  <a:pt x="439" y="172"/>
                </a:moveTo>
                <a:cubicBezTo>
                  <a:pt x="439" y="172"/>
                  <a:pt x="439" y="175"/>
                  <a:pt x="439" y="177"/>
                </a:cubicBezTo>
                <a:cubicBezTo>
                  <a:pt x="440" y="177"/>
                  <a:pt x="440" y="177"/>
                  <a:pt x="441" y="178"/>
                </a:cubicBezTo>
                <a:cubicBezTo>
                  <a:pt x="443" y="178"/>
                  <a:pt x="446" y="177"/>
                  <a:pt x="447" y="177"/>
                </a:cubicBezTo>
                <a:cubicBezTo>
                  <a:pt x="453" y="174"/>
                  <a:pt x="441" y="172"/>
                  <a:pt x="439" y="172"/>
                </a:cubicBezTo>
                <a:close/>
                <a:moveTo>
                  <a:pt x="392" y="63"/>
                </a:moveTo>
                <a:cubicBezTo>
                  <a:pt x="397" y="61"/>
                  <a:pt x="390" y="65"/>
                  <a:pt x="390" y="65"/>
                </a:cubicBezTo>
                <a:cubicBezTo>
                  <a:pt x="389" y="65"/>
                  <a:pt x="388" y="67"/>
                  <a:pt x="388" y="67"/>
                </a:cubicBezTo>
                <a:cubicBezTo>
                  <a:pt x="385" y="69"/>
                  <a:pt x="387" y="64"/>
                  <a:pt x="392" y="63"/>
                </a:cubicBezTo>
                <a:close/>
                <a:moveTo>
                  <a:pt x="269" y="31"/>
                </a:moveTo>
                <a:cubicBezTo>
                  <a:pt x="270" y="31"/>
                  <a:pt x="273" y="34"/>
                  <a:pt x="269" y="33"/>
                </a:cubicBezTo>
                <a:cubicBezTo>
                  <a:pt x="269" y="33"/>
                  <a:pt x="267" y="30"/>
                  <a:pt x="269" y="31"/>
                </a:cubicBezTo>
                <a:close/>
                <a:moveTo>
                  <a:pt x="305" y="304"/>
                </a:moveTo>
                <a:cubicBezTo>
                  <a:pt x="307" y="305"/>
                  <a:pt x="307" y="304"/>
                  <a:pt x="309" y="305"/>
                </a:cubicBezTo>
                <a:cubicBezTo>
                  <a:pt x="308" y="305"/>
                  <a:pt x="308" y="307"/>
                  <a:pt x="307" y="308"/>
                </a:cubicBezTo>
                <a:cubicBezTo>
                  <a:pt x="306" y="308"/>
                  <a:pt x="305" y="308"/>
                  <a:pt x="304" y="309"/>
                </a:cubicBezTo>
                <a:cubicBezTo>
                  <a:pt x="304" y="308"/>
                  <a:pt x="304" y="306"/>
                  <a:pt x="303" y="305"/>
                </a:cubicBezTo>
                <a:cubicBezTo>
                  <a:pt x="303" y="305"/>
                  <a:pt x="305" y="304"/>
                  <a:pt x="305" y="304"/>
                </a:cubicBezTo>
                <a:close/>
                <a:moveTo>
                  <a:pt x="174" y="299"/>
                </a:moveTo>
                <a:cubicBezTo>
                  <a:pt x="175" y="300"/>
                  <a:pt x="177" y="302"/>
                  <a:pt x="175" y="301"/>
                </a:cubicBezTo>
                <a:cubicBezTo>
                  <a:pt x="175" y="301"/>
                  <a:pt x="172" y="299"/>
                  <a:pt x="174" y="299"/>
                </a:cubicBezTo>
                <a:close/>
                <a:moveTo>
                  <a:pt x="198" y="297"/>
                </a:moveTo>
                <a:cubicBezTo>
                  <a:pt x="200" y="297"/>
                  <a:pt x="198" y="298"/>
                  <a:pt x="198" y="298"/>
                </a:cubicBezTo>
                <a:cubicBezTo>
                  <a:pt x="198" y="299"/>
                  <a:pt x="198" y="300"/>
                  <a:pt x="198" y="300"/>
                </a:cubicBezTo>
                <a:cubicBezTo>
                  <a:pt x="196" y="301"/>
                  <a:pt x="193" y="303"/>
                  <a:pt x="192" y="303"/>
                </a:cubicBezTo>
                <a:cubicBezTo>
                  <a:pt x="189" y="303"/>
                  <a:pt x="191" y="302"/>
                  <a:pt x="192" y="301"/>
                </a:cubicBezTo>
                <a:cubicBezTo>
                  <a:pt x="192" y="301"/>
                  <a:pt x="193" y="300"/>
                  <a:pt x="194" y="299"/>
                </a:cubicBezTo>
                <a:cubicBezTo>
                  <a:pt x="195" y="299"/>
                  <a:pt x="197" y="297"/>
                  <a:pt x="198" y="297"/>
                </a:cubicBezTo>
                <a:close/>
                <a:moveTo>
                  <a:pt x="195" y="286"/>
                </a:moveTo>
                <a:cubicBezTo>
                  <a:pt x="197" y="286"/>
                  <a:pt x="195" y="287"/>
                  <a:pt x="194" y="288"/>
                </a:cubicBezTo>
                <a:cubicBezTo>
                  <a:pt x="194" y="287"/>
                  <a:pt x="194" y="286"/>
                  <a:pt x="195" y="286"/>
                </a:cubicBezTo>
                <a:close/>
                <a:moveTo>
                  <a:pt x="196" y="284"/>
                </a:moveTo>
                <a:cubicBezTo>
                  <a:pt x="198" y="283"/>
                  <a:pt x="196" y="285"/>
                  <a:pt x="196" y="285"/>
                </a:cubicBezTo>
                <a:cubicBezTo>
                  <a:pt x="196" y="285"/>
                  <a:pt x="194" y="284"/>
                  <a:pt x="196" y="284"/>
                </a:cubicBezTo>
                <a:close/>
                <a:moveTo>
                  <a:pt x="395" y="240"/>
                </a:moveTo>
                <a:cubicBezTo>
                  <a:pt x="398" y="240"/>
                  <a:pt x="396" y="243"/>
                  <a:pt x="396" y="243"/>
                </a:cubicBezTo>
                <a:cubicBezTo>
                  <a:pt x="395" y="243"/>
                  <a:pt x="391" y="242"/>
                  <a:pt x="391" y="242"/>
                </a:cubicBezTo>
                <a:cubicBezTo>
                  <a:pt x="391" y="242"/>
                  <a:pt x="392" y="242"/>
                  <a:pt x="393" y="242"/>
                </a:cubicBezTo>
                <a:cubicBezTo>
                  <a:pt x="393" y="241"/>
                  <a:pt x="394" y="240"/>
                  <a:pt x="395" y="240"/>
                </a:cubicBezTo>
                <a:close/>
                <a:moveTo>
                  <a:pt x="174" y="223"/>
                </a:moveTo>
                <a:cubicBezTo>
                  <a:pt x="172" y="223"/>
                  <a:pt x="175" y="224"/>
                  <a:pt x="176" y="224"/>
                </a:cubicBezTo>
                <a:cubicBezTo>
                  <a:pt x="176" y="224"/>
                  <a:pt x="177" y="223"/>
                  <a:pt x="174" y="223"/>
                </a:cubicBezTo>
                <a:close/>
                <a:moveTo>
                  <a:pt x="166" y="221"/>
                </a:moveTo>
                <a:cubicBezTo>
                  <a:pt x="164" y="221"/>
                  <a:pt x="164" y="223"/>
                  <a:pt x="164" y="224"/>
                </a:cubicBezTo>
                <a:cubicBezTo>
                  <a:pt x="164" y="224"/>
                  <a:pt x="165" y="225"/>
                  <a:pt x="165" y="225"/>
                </a:cubicBezTo>
                <a:cubicBezTo>
                  <a:pt x="165" y="225"/>
                  <a:pt x="166" y="225"/>
                  <a:pt x="167" y="225"/>
                </a:cubicBezTo>
                <a:cubicBezTo>
                  <a:pt x="167" y="223"/>
                  <a:pt x="167" y="221"/>
                  <a:pt x="166" y="221"/>
                </a:cubicBezTo>
                <a:close/>
                <a:moveTo>
                  <a:pt x="418" y="189"/>
                </a:moveTo>
                <a:cubicBezTo>
                  <a:pt x="417" y="190"/>
                  <a:pt x="417" y="190"/>
                  <a:pt x="417" y="190"/>
                </a:cubicBezTo>
                <a:cubicBezTo>
                  <a:pt x="416" y="191"/>
                  <a:pt x="413" y="191"/>
                  <a:pt x="412" y="192"/>
                </a:cubicBezTo>
                <a:cubicBezTo>
                  <a:pt x="412" y="192"/>
                  <a:pt x="412" y="194"/>
                  <a:pt x="412" y="194"/>
                </a:cubicBezTo>
                <a:cubicBezTo>
                  <a:pt x="412" y="195"/>
                  <a:pt x="413" y="195"/>
                  <a:pt x="414" y="196"/>
                </a:cubicBezTo>
                <a:cubicBezTo>
                  <a:pt x="410" y="195"/>
                  <a:pt x="405" y="193"/>
                  <a:pt x="402" y="195"/>
                </a:cubicBezTo>
                <a:cubicBezTo>
                  <a:pt x="401" y="196"/>
                  <a:pt x="400" y="196"/>
                  <a:pt x="400" y="197"/>
                </a:cubicBezTo>
                <a:cubicBezTo>
                  <a:pt x="400" y="197"/>
                  <a:pt x="400" y="200"/>
                  <a:pt x="400" y="200"/>
                </a:cubicBezTo>
                <a:cubicBezTo>
                  <a:pt x="400" y="200"/>
                  <a:pt x="402" y="200"/>
                  <a:pt x="403" y="200"/>
                </a:cubicBezTo>
                <a:cubicBezTo>
                  <a:pt x="403" y="201"/>
                  <a:pt x="404" y="203"/>
                  <a:pt x="404" y="203"/>
                </a:cubicBezTo>
                <a:cubicBezTo>
                  <a:pt x="406" y="202"/>
                  <a:pt x="406" y="203"/>
                  <a:pt x="408" y="202"/>
                </a:cubicBezTo>
                <a:cubicBezTo>
                  <a:pt x="408" y="202"/>
                  <a:pt x="409" y="200"/>
                  <a:pt x="410" y="200"/>
                </a:cubicBezTo>
                <a:cubicBezTo>
                  <a:pt x="411" y="200"/>
                  <a:pt x="412" y="200"/>
                  <a:pt x="413" y="200"/>
                </a:cubicBezTo>
                <a:cubicBezTo>
                  <a:pt x="414" y="199"/>
                  <a:pt x="413" y="197"/>
                  <a:pt x="414" y="196"/>
                </a:cubicBezTo>
                <a:cubicBezTo>
                  <a:pt x="415" y="197"/>
                  <a:pt x="415" y="196"/>
                  <a:pt x="416" y="196"/>
                </a:cubicBezTo>
                <a:cubicBezTo>
                  <a:pt x="417" y="197"/>
                  <a:pt x="417" y="199"/>
                  <a:pt x="418" y="199"/>
                </a:cubicBezTo>
                <a:cubicBezTo>
                  <a:pt x="420" y="200"/>
                  <a:pt x="423" y="200"/>
                  <a:pt x="425" y="200"/>
                </a:cubicBezTo>
                <a:cubicBezTo>
                  <a:pt x="425" y="200"/>
                  <a:pt x="426" y="201"/>
                  <a:pt x="426" y="201"/>
                </a:cubicBezTo>
                <a:cubicBezTo>
                  <a:pt x="425" y="202"/>
                  <a:pt x="422" y="202"/>
                  <a:pt x="424" y="203"/>
                </a:cubicBezTo>
                <a:cubicBezTo>
                  <a:pt x="425" y="203"/>
                  <a:pt x="424" y="204"/>
                  <a:pt x="425" y="204"/>
                </a:cubicBezTo>
                <a:cubicBezTo>
                  <a:pt x="420" y="209"/>
                  <a:pt x="431" y="211"/>
                  <a:pt x="434" y="212"/>
                </a:cubicBezTo>
                <a:cubicBezTo>
                  <a:pt x="435" y="213"/>
                  <a:pt x="437" y="215"/>
                  <a:pt x="438" y="216"/>
                </a:cubicBezTo>
                <a:cubicBezTo>
                  <a:pt x="440" y="216"/>
                  <a:pt x="441" y="215"/>
                  <a:pt x="443" y="216"/>
                </a:cubicBezTo>
                <a:cubicBezTo>
                  <a:pt x="443" y="216"/>
                  <a:pt x="444" y="214"/>
                  <a:pt x="443" y="213"/>
                </a:cubicBezTo>
                <a:cubicBezTo>
                  <a:pt x="439" y="210"/>
                  <a:pt x="435" y="214"/>
                  <a:pt x="441" y="209"/>
                </a:cubicBezTo>
                <a:cubicBezTo>
                  <a:pt x="441" y="208"/>
                  <a:pt x="441" y="208"/>
                  <a:pt x="441" y="208"/>
                </a:cubicBezTo>
                <a:cubicBezTo>
                  <a:pt x="439" y="207"/>
                  <a:pt x="437" y="207"/>
                  <a:pt x="435" y="206"/>
                </a:cubicBezTo>
                <a:cubicBezTo>
                  <a:pt x="435" y="206"/>
                  <a:pt x="433" y="204"/>
                  <a:pt x="433" y="204"/>
                </a:cubicBezTo>
                <a:cubicBezTo>
                  <a:pt x="431" y="204"/>
                  <a:pt x="435" y="204"/>
                  <a:pt x="435" y="204"/>
                </a:cubicBezTo>
                <a:cubicBezTo>
                  <a:pt x="436" y="204"/>
                  <a:pt x="437" y="206"/>
                  <a:pt x="437" y="206"/>
                </a:cubicBezTo>
                <a:cubicBezTo>
                  <a:pt x="439" y="206"/>
                  <a:pt x="439" y="205"/>
                  <a:pt x="441" y="205"/>
                </a:cubicBezTo>
                <a:cubicBezTo>
                  <a:pt x="441" y="203"/>
                  <a:pt x="441" y="203"/>
                  <a:pt x="442" y="200"/>
                </a:cubicBezTo>
                <a:cubicBezTo>
                  <a:pt x="436" y="199"/>
                  <a:pt x="435" y="199"/>
                  <a:pt x="429" y="200"/>
                </a:cubicBezTo>
                <a:cubicBezTo>
                  <a:pt x="430" y="200"/>
                  <a:pt x="431" y="198"/>
                  <a:pt x="432" y="198"/>
                </a:cubicBezTo>
                <a:cubicBezTo>
                  <a:pt x="433" y="198"/>
                  <a:pt x="434" y="198"/>
                  <a:pt x="435" y="198"/>
                </a:cubicBezTo>
                <a:cubicBezTo>
                  <a:pt x="435" y="198"/>
                  <a:pt x="435" y="196"/>
                  <a:pt x="435" y="196"/>
                </a:cubicBezTo>
                <a:cubicBezTo>
                  <a:pt x="428" y="196"/>
                  <a:pt x="428" y="196"/>
                  <a:pt x="428" y="196"/>
                </a:cubicBezTo>
                <a:cubicBezTo>
                  <a:pt x="429" y="195"/>
                  <a:pt x="430" y="193"/>
                  <a:pt x="430" y="193"/>
                </a:cubicBezTo>
                <a:cubicBezTo>
                  <a:pt x="427" y="192"/>
                  <a:pt x="421" y="189"/>
                  <a:pt x="418" y="189"/>
                </a:cubicBezTo>
                <a:close/>
                <a:moveTo>
                  <a:pt x="136" y="168"/>
                </a:moveTo>
                <a:cubicBezTo>
                  <a:pt x="135" y="168"/>
                  <a:pt x="130" y="171"/>
                  <a:pt x="134" y="171"/>
                </a:cubicBezTo>
                <a:cubicBezTo>
                  <a:pt x="135" y="170"/>
                  <a:pt x="139" y="169"/>
                  <a:pt x="138" y="169"/>
                </a:cubicBezTo>
                <a:cubicBezTo>
                  <a:pt x="137" y="168"/>
                  <a:pt x="137" y="168"/>
                  <a:pt x="136" y="168"/>
                </a:cubicBezTo>
                <a:close/>
                <a:moveTo>
                  <a:pt x="466" y="167"/>
                </a:moveTo>
                <a:cubicBezTo>
                  <a:pt x="466" y="167"/>
                  <a:pt x="465" y="168"/>
                  <a:pt x="465" y="168"/>
                </a:cubicBezTo>
                <a:cubicBezTo>
                  <a:pt x="466" y="168"/>
                  <a:pt x="467" y="168"/>
                  <a:pt x="467" y="169"/>
                </a:cubicBezTo>
                <a:cubicBezTo>
                  <a:pt x="466" y="168"/>
                  <a:pt x="469" y="166"/>
                  <a:pt x="466" y="167"/>
                </a:cubicBezTo>
                <a:close/>
                <a:moveTo>
                  <a:pt x="454" y="162"/>
                </a:moveTo>
                <a:cubicBezTo>
                  <a:pt x="454" y="164"/>
                  <a:pt x="453" y="166"/>
                  <a:pt x="455" y="168"/>
                </a:cubicBezTo>
                <a:cubicBezTo>
                  <a:pt x="455" y="168"/>
                  <a:pt x="457" y="168"/>
                  <a:pt x="457" y="169"/>
                </a:cubicBezTo>
                <a:cubicBezTo>
                  <a:pt x="457" y="168"/>
                  <a:pt x="458" y="167"/>
                  <a:pt x="459" y="167"/>
                </a:cubicBezTo>
                <a:cubicBezTo>
                  <a:pt x="459" y="166"/>
                  <a:pt x="459" y="166"/>
                  <a:pt x="459" y="165"/>
                </a:cubicBezTo>
                <a:cubicBezTo>
                  <a:pt x="459" y="164"/>
                  <a:pt x="457" y="165"/>
                  <a:pt x="457" y="165"/>
                </a:cubicBezTo>
                <a:cubicBezTo>
                  <a:pt x="456" y="164"/>
                  <a:pt x="456" y="163"/>
                  <a:pt x="456" y="163"/>
                </a:cubicBezTo>
                <a:cubicBezTo>
                  <a:pt x="456" y="162"/>
                  <a:pt x="455" y="162"/>
                  <a:pt x="454" y="162"/>
                </a:cubicBezTo>
                <a:close/>
                <a:moveTo>
                  <a:pt x="436" y="157"/>
                </a:moveTo>
                <a:cubicBezTo>
                  <a:pt x="439" y="157"/>
                  <a:pt x="438" y="160"/>
                  <a:pt x="438" y="163"/>
                </a:cubicBezTo>
                <a:cubicBezTo>
                  <a:pt x="438" y="163"/>
                  <a:pt x="436" y="162"/>
                  <a:pt x="436" y="163"/>
                </a:cubicBezTo>
                <a:cubicBezTo>
                  <a:pt x="436" y="162"/>
                  <a:pt x="434" y="157"/>
                  <a:pt x="436" y="157"/>
                </a:cubicBezTo>
                <a:close/>
                <a:moveTo>
                  <a:pt x="467" y="151"/>
                </a:moveTo>
                <a:cubicBezTo>
                  <a:pt x="467" y="151"/>
                  <a:pt x="467" y="152"/>
                  <a:pt x="466" y="153"/>
                </a:cubicBezTo>
                <a:cubicBezTo>
                  <a:pt x="465" y="153"/>
                  <a:pt x="464" y="152"/>
                  <a:pt x="463" y="153"/>
                </a:cubicBezTo>
                <a:cubicBezTo>
                  <a:pt x="464" y="157"/>
                  <a:pt x="463" y="164"/>
                  <a:pt x="470" y="161"/>
                </a:cubicBezTo>
                <a:cubicBezTo>
                  <a:pt x="471" y="161"/>
                  <a:pt x="471" y="159"/>
                  <a:pt x="472" y="159"/>
                </a:cubicBezTo>
                <a:cubicBezTo>
                  <a:pt x="473" y="158"/>
                  <a:pt x="473" y="159"/>
                  <a:pt x="474" y="159"/>
                </a:cubicBezTo>
                <a:cubicBezTo>
                  <a:pt x="473" y="160"/>
                  <a:pt x="476" y="159"/>
                  <a:pt x="476" y="159"/>
                </a:cubicBezTo>
                <a:cubicBezTo>
                  <a:pt x="476" y="157"/>
                  <a:pt x="475" y="155"/>
                  <a:pt x="475" y="155"/>
                </a:cubicBezTo>
                <a:cubicBezTo>
                  <a:pt x="475" y="155"/>
                  <a:pt x="473" y="157"/>
                  <a:pt x="473" y="157"/>
                </a:cubicBezTo>
                <a:cubicBezTo>
                  <a:pt x="469" y="156"/>
                  <a:pt x="470" y="154"/>
                  <a:pt x="469" y="151"/>
                </a:cubicBezTo>
                <a:lnTo>
                  <a:pt x="467" y="151"/>
                </a:lnTo>
                <a:close/>
                <a:moveTo>
                  <a:pt x="461" y="135"/>
                </a:moveTo>
                <a:cubicBezTo>
                  <a:pt x="461" y="136"/>
                  <a:pt x="460" y="136"/>
                  <a:pt x="460" y="137"/>
                </a:cubicBezTo>
                <a:cubicBezTo>
                  <a:pt x="462" y="137"/>
                  <a:pt x="465" y="148"/>
                  <a:pt x="464" y="143"/>
                </a:cubicBezTo>
                <a:cubicBezTo>
                  <a:pt x="464" y="142"/>
                  <a:pt x="464" y="141"/>
                  <a:pt x="464" y="140"/>
                </a:cubicBezTo>
                <a:cubicBezTo>
                  <a:pt x="464" y="140"/>
                  <a:pt x="462" y="138"/>
                  <a:pt x="462" y="138"/>
                </a:cubicBezTo>
                <a:cubicBezTo>
                  <a:pt x="462" y="137"/>
                  <a:pt x="463" y="136"/>
                  <a:pt x="463" y="136"/>
                </a:cubicBezTo>
                <a:lnTo>
                  <a:pt x="461" y="135"/>
                </a:lnTo>
                <a:close/>
                <a:moveTo>
                  <a:pt x="10" y="119"/>
                </a:moveTo>
                <a:cubicBezTo>
                  <a:pt x="11" y="120"/>
                  <a:pt x="11" y="120"/>
                  <a:pt x="11" y="120"/>
                </a:cubicBezTo>
                <a:cubicBezTo>
                  <a:pt x="13" y="120"/>
                  <a:pt x="13" y="120"/>
                  <a:pt x="11" y="119"/>
                </a:cubicBezTo>
                <a:cubicBezTo>
                  <a:pt x="11" y="119"/>
                  <a:pt x="11" y="119"/>
                  <a:pt x="10" y="119"/>
                </a:cubicBezTo>
                <a:close/>
                <a:moveTo>
                  <a:pt x="1" y="117"/>
                </a:moveTo>
                <a:cubicBezTo>
                  <a:pt x="1" y="117"/>
                  <a:pt x="0" y="120"/>
                  <a:pt x="1" y="120"/>
                </a:cubicBezTo>
                <a:cubicBezTo>
                  <a:pt x="4" y="120"/>
                  <a:pt x="4" y="118"/>
                  <a:pt x="5" y="118"/>
                </a:cubicBezTo>
                <a:cubicBezTo>
                  <a:pt x="3" y="118"/>
                  <a:pt x="3" y="118"/>
                  <a:pt x="1" y="117"/>
                </a:cubicBezTo>
                <a:close/>
                <a:moveTo>
                  <a:pt x="457" y="69"/>
                </a:moveTo>
                <a:cubicBezTo>
                  <a:pt x="457" y="69"/>
                  <a:pt x="456" y="71"/>
                  <a:pt x="456" y="72"/>
                </a:cubicBezTo>
                <a:cubicBezTo>
                  <a:pt x="460" y="71"/>
                  <a:pt x="460" y="72"/>
                  <a:pt x="457" y="69"/>
                </a:cubicBezTo>
                <a:close/>
                <a:moveTo>
                  <a:pt x="400" y="60"/>
                </a:moveTo>
                <a:cubicBezTo>
                  <a:pt x="407" y="58"/>
                  <a:pt x="396" y="63"/>
                  <a:pt x="396" y="63"/>
                </a:cubicBezTo>
                <a:cubicBezTo>
                  <a:pt x="395" y="63"/>
                  <a:pt x="392" y="62"/>
                  <a:pt x="393" y="62"/>
                </a:cubicBezTo>
                <a:cubicBezTo>
                  <a:pt x="394" y="62"/>
                  <a:pt x="395" y="62"/>
                  <a:pt x="396" y="62"/>
                </a:cubicBezTo>
                <a:cubicBezTo>
                  <a:pt x="397" y="61"/>
                  <a:pt x="399" y="60"/>
                  <a:pt x="400" y="60"/>
                </a:cubicBezTo>
                <a:close/>
                <a:moveTo>
                  <a:pt x="463" y="37"/>
                </a:moveTo>
                <a:cubicBezTo>
                  <a:pt x="463" y="37"/>
                  <a:pt x="463" y="39"/>
                  <a:pt x="463" y="39"/>
                </a:cubicBezTo>
                <a:cubicBezTo>
                  <a:pt x="465" y="40"/>
                  <a:pt x="464" y="37"/>
                  <a:pt x="463" y="37"/>
                </a:cubicBezTo>
                <a:close/>
                <a:moveTo>
                  <a:pt x="455" y="36"/>
                </a:moveTo>
                <a:cubicBezTo>
                  <a:pt x="456" y="37"/>
                  <a:pt x="455" y="39"/>
                  <a:pt x="455" y="41"/>
                </a:cubicBezTo>
                <a:cubicBezTo>
                  <a:pt x="457" y="41"/>
                  <a:pt x="457" y="41"/>
                  <a:pt x="457" y="41"/>
                </a:cubicBezTo>
                <a:cubicBezTo>
                  <a:pt x="457" y="40"/>
                  <a:pt x="456" y="38"/>
                  <a:pt x="457" y="37"/>
                </a:cubicBezTo>
                <a:lnTo>
                  <a:pt x="455" y="36"/>
                </a:lnTo>
                <a:close/>
                <a:moveTo>
                  <a:pt x="166" y="30"/>
                </a:moveTo>
                <a:cubicBezTo>
                  <a:pt x="167" y="31"/>
                  <a:pt x="166" y="33"/>
                  <a:pt x="167" y="34"/>
                </a:cubicBezTo>
                <a:cubicBezTo>
                  <a:pt x="169" y="38"/>
                  <a:pt x="180" y="41"/>
                  <a:pt x="186" y="42"/>
                </a:cubicBezTo>
                <a:cubicBezTo>
                  <a:pt x="186" y="42"/>
                  <a:pt x="189" y="43"/>
                  <a:pt x="187" y="41"/>
                </a:cubicBezTo>
                <a:cubicBezTo>
                  <a:pt x="187" y="41"/>
                  <a:pt x="187" y="39"/>
                  <a:pt x="186" y="39"/>
                </a:cubicBezTo>
                <a:cubicBezTo>
                  <a:pt x="186" y="39"/>
                  <a:pt x="180" y="36"/>
                  <a:pt x="180" y="36"/>
                </a:cubicBezTo>
                <a:cubicBezTo>
                  <a:pt x="179" y="36"/>
                  <a:pt x="178" y="37"/>
                  <a:pt x="177" y="36"/>
                </a:cubicBezTo>
                <a:cubicBezTo>
                  <a:pt x="176" y="36"/>
                  <a:pt x="175" y="34"/>
                  <a:pt x="175" y="34"/>
                </a:cubicBezTo>
                <a:cubicBezTo>
                  <a:pt x="174" y="33"/>
                  <a:pt x="173" y="34"/>
                  <a:pt x="172" y="33"/>
                </a:cubicBezTo>
                <a:cubicBezTo>
                  <a:pt x="170" y="32"/>
                  <a:pt x="168" y="30"/>
                  <a:pt x="166" y="30"/>
                </a:cubicBezTo>
                <a:close/>
                <a:moveTo>
                  <a:pt x="327" y="18"/>
                </a:moveTo>
                <a:cubicBezTo>
                  <a:pt x="332" y="17"/>
                  <a:pt x="324" y="20"/>
                  <a:pt x="324" y="20"/>
                </a:cubicBezTo>
                <a:cubicBezTo>
                  <a:pt x="324" y="20"/>
                  <a:pt x="324" y="21"/>
                  <a:pt x="324" y="22"/>
                </a:cubicBezTo>
                <a:cubicBezTo>
                  <a:pt x="324" y="22"/>
                  <a:pt x="321" y="21"/>
                  <a:pt x="320" y="20"/>
                </a:cubicBezTo>
                <a:cubicBezTo>
                  <a:pt x="320" y="21"/>
                  <a:pt x="320" y="22"/>
                  <a:pt x="319" y="22"/>
                </a:cubicBezTo>
                <a:cubicBezTo>
                  <a:pt x="317" y="22"/>
                  <a:pt x="319" y="19"/>
                  <a:pt x="319" y="19"/>
                </a:cubicBezTo>
                <a:cubicBezTo>
                  <a:pt x="322" y="19"/>
                  <a:pt x="325" y="18"/>
                  <a:pt x="327" y="18"/>
                </a:cubicBezTo>
                <a:close/>
                <a:moveTo>
                  <a:pt x="366" y="14"/>
                </a:moveTo>
                <a:cubicBezTo>
                  <a:pt x="368" y="14"/>
                  <a:pt x="372" y="15"/>
                  <a:pt x="373" y="15"/>
                </a:cubicBezTo>
                <a:cubicBezTo>
                  <a:pt x="377" y="15"/>
                  <a:pt x="379" y="14"/>
                  <a:pt x="383" y="14"/>
                </a:cubicBezTo>
                <a:cubicBezTo>
                  <a:pt x="384" y="14"/>
                  <a:pt x="390" y="16"/>
                  <a:pt x="392" y="16"/>
                </a:cubicBezTo>
                <a:cubicBezTo>
                  <a:pt x="386" y="16"/>
                  <a:pt x="379" y="18"/>
                  <a:pt x="374" y="18"/>
                </a:cubicBezTo>
                <a:cubicBezTo>
                  <a:pt x="371" y="18"/>
                  <a:pt x="367" y="16"/>
                  <a:pt x="364" y="17"/>
                </a:cubicBezTo>
                <a:cubicBezTo>
                  <a:pt x="362" y="18"/>
                  <a:pt x="362" y="18"/>
                  <a:pt x="362" y="18"/>
                </a:cubicBezTo>
                <a:cubicBezTo>
                  <a:pt x="359" y="19"/>
                  <a:pt x="356" y="18"/>
                  <a:pt x="353" y="18"/>
                </a:cubicBezTo>
                <a:cubicBezTo>
                  <a:pt x="354" y="17"/>
                  <a:pt x="354" y="17"/>
                  <a:pt x="354" y="17"/>
                </a:cubicBezTo>
                <a:cubicBezTo>
                  <a:pt x="354" y="17"/>
                  <a:pt x="356" y="17"/>
                  <a:pt x="356" y="17"/>
                </a:cubicBezTo>
                <a:cubicBezTo>
                  <a:pt x="359" y="16"/>
                  <a:pt x="363" y="15"/>
                  <a:pt x="366" y="14"/>
                </a:cubicBezTo>
                <a:close/>
                <a:moveTo>
                  <a:pt x="335" y="12"/>
                </a:moveTo>
                <a:cubicBezTo>
                  <a:pt x="336" y="12"/>
                  <a:pt x="336" y="12"/>
                  <a:pt x="336" y="12"/>
                </a:cubicBezTo>
                <a:cubicBezTo>
                  <a:pt x="337" y="13"/>
                  <a:pt x="336" y="14"/>
                  <a:pt x="336" y="15"/>
                </a:cubicBezTo>
                <a:cubicBezTo>
                  <a:pt x="337" y="15"/>
                  <a:pt x="339" y="17"/>
                  <a:pt x="339" y="18"/>
                </a:cubicBezTo>
                <a:cubicBezTo>
                  <a:pt x="346" y="15"/>
                  <a:pt x="346" y="16"/>
                  <a:pt x="352" y="18"/>
                </a:cubicBezTo>
                <a:cubicBezTo>
                  <a:pt x="350" y="18"/>
                  <a:pt x="347" y="18"/>
                  <a:pt x="346" y="18"/>
                </a:cubicBezTo>
                <a:cubicBezTo>
                  <a:pt x="345" y="18"/>
                  <a:pt x="341" y="18"/>
                  <a:pt x="339" y="18"/>
                </a:cubicBezTo>
                <a:cubicBezTo>
                  <a:pt x="339" y="18"/>
                  <a:pt x="339" y="20"/>
                  <a:pt x="339" y="20"/>
                </a:cubicBezTo>
                <a:cubicBezTo>
                  <a:pt x="338" y="20"/>
                  <a:pt x="339" y="21"/>
                  <a:pt x="338" y="21"/>
                </a:cubicBezTo>
                <a:cubicBezTo>
                  <a:pt x="337" y="21"/>
                  <a:pt x="337" y="19"/>
                  <a:pt x="336" y="19"/>
                </a:cubicBezTo>
                <a:cubicBezTo>
                  <a:pt x="336" y="19"/>
                  <a:pt x="334" y="19"/>
                  <a:pt x="334" y="18"/>
                </a:cubicBezTo>
                <a:cubicBezTo>
                  <a:pt x="334" y="18"/>
                  <a:pt x="334" y="18"/>
                  <a:pt x="334" y="18"/>
                </a:cubicBezTo>
                <a:cubicBezTo>
                  <a:pt x="337" y="16"/>
                  <a:pt x="334" y="11"/>
                  <a:pt x="335" y="12"/>
                </a:cubicBezTo>
                <a:close/>
                <a:moveTo>
                  <a:pt x="440" y="34"/>
                </a:moveTo>
                <a:cubicBezTo>
                  <a:pt x="442" y="33"/>
                  <a:pt x="443" y="30"/>
                  <a:pt x="444" y="30"/>
                </a:cubicBezTo>
                <a:cubicBezTo>
                  <a:pt x="445" y="29"/>
                  <a:pt x="446" y="30"/>
                  <a:pt x="447" y="30"/>
                </a:cubicBezTo>
                <a:cubicBezTo>
                  <a:pt x="448" y="29"/>
                  <a:pt x="450" y="28"/>
                  <a:pt x="451" y="27"/>
                </a:cubicBezTo>
                <a:cubicBezTo>
                  <a:pt x="451" y="27"/>
                  <a:pt x="451" y="25"/>
                  <a:pt x="451" y="25"/>
                </a:cubicBezTo>
                <a:cubicBezTo>
                  <a:pt x="449" y="24"/>
                  <a:pt x="447" y="24"/>
                  <a:pt x="445" y="24"/>
                </a:cubicBezTo>
                <a:cubicBezTo>
                  <a:pt x="444" y="23"/>
                  <a:pt x="443" y="22"/>
                  <a:pt x="443" y="22"/>
                </a:cubicBezTo>
                <a:cubicBezTo>
                  <a:pt x="439" y="21"/>
                  <a:pt x="435" y="24"/>
                  <a:pt x="432" y="22"/>
                </a:cubicBezTo>
                <a:cubicBezTo>
                  <a:pt x="432" y="22"/>
                  <a:pt x="432" y="20"/>
                  <a:pt x="432" y="20"/>
                </a:cubicBezTo>
                <a:cubicBezTo>
                  <a:pt x="431" y="20"/>
                  <a:pt x="430" y="19"/>
                  <a:pt x="429" y="18"/>
                </a:cubicBezTo>
                <a:cubicBezTo>
                  <a:pt x="428" y="19"/>
                  <a:pt x="428" y="18"/>
                  <a:pt x="427" y="18"/>
                </a:cubicBezTo>
                <a:cubicBezTo>
                  <a:pt x="426" y="18"/>
                  <a:pt x="426" y="20"/>
                  <a:pt x="425" y="20"/>
                </a:cubicBezTo>
                <a:cubicBezTo>
                  <a:pt x="425" y="20"/>
                  <a:pt x="425" y="18"/>
                  <a:pt x="425" y="18"/>
                </a:cubicBezTo>
                <a:cubicBezTo>
                  <a:pt x="424" y="17"/>
                  <a:pt x="424" y="17"/>
                  <a:pt x="423" y="17"/>
                </a:cubicBezTo>
                <a:cubicBezTo>
                  <a:pt x="418" y="19"/>
                  <a:pt x="417" y="21"/>
                  <a:pt x="410" y="22"/>
                </a:cubicBezTo>
                <a:cubicBezTo>
                  <a:pt x="410" y="20"/>
                  <a:pt x="410" y="20"/>
                  <a:pt x="410" y="20"/>
                </a:cubicBezTo>
                <a:cubicBezTo>
                  <a:pt x="413" y="19"/>
                  <a:pt x="414" y="20"/>
                  <a:pt x="417" y="19"/>
                </a:cubicBezTo>
                <a:cubicBezTo>
                  <a:pt x="417" y="19"/>
                  <a:pt x="417" y="18"/>
                  <a:pt x="418" y="18"/>
                </a:cubicBezTo>
                <a:cubicBezTo>
                  <a:pt x="418" y="17"/>
                  <a:pt x="419" y="15"/>
                  <a:pt x="418" y="14"/>
                </a:cubicBezTo>
                <a:cubicBezTo>
                  <a:pt x="418" y="13"/>
                  <a:pt x="412" y="9"/>
                  <a:pt x="410" y="9"/>
                </a:cubicBezTo>
                <a:cubicBezTo>
                  <a:pt x="408" y="9"/>
                  <a:pt x="407" y="12"/>
                  <a:pt x="406" y="12"/>
                </a:cubicBezTo>
                <a:cubicBezTo>
                  <a:pt x="403" y="14"/>
                  <a:pt x="398" y="14"/>
                  <a:pt x="394" y="15"/>
                </a:cubicBezTo>
                <a:cubicBezTo>
                  <a:pt x="395" y="14"/>
                  <a:pt x="397" y="11"/>
                  <a:pt x="398" y="10"/>
                </a:cubicBezTo>
                <a:cubicBezTo>
                  <a:pt x="399" y="10"/>
                  <a:pt x="401" y="10"/>
                  <a:pt x="402" y="9"/>
                </a:cubicBezTo>
                <a:cubicBezTo>
                  <a:pt x="403" y="9"/>
                  <a:pt x="403" y="7"/>
                  <a:pt x="404" y="6"/>
                </a:cubicBezTo>
                <a:cubicBezTo>
                  <a:pt x="403" y="6"/>
                  <a:pt x="401" y="5"/>
                  <a:pt x="400" y="5"/>
                </a:cubicBezTo>
                <a:cubicBezTo>
                  <a:pt x="396" y="5"/>
                  <a:pt x="391" y="6"/>
                  <a:pt x="386" y="5"/>
                </a:cubicBezTo>
                <a:cubicBezTo>
                  <a:pt x="383" y="5"/>
                  <a:pt x="380" y="3"/>
                  <a:pt x="376" y="3"/>
                </a:cubicBezTo>
                <a:cubicBezTo>
                  <a:pt x="376" y="3"/>
                  <a:pt x="376" y="4"/>
                  <a:pt x="376" y="4"/>
                </a:cubicBezTo>
                <a:cubicBezTo>
                  <a:pt x="374" y="4"/>
                  <a:pt x="373" y="4"/>
                  <a:pt x="371" y="4"/>
                </a:cubicBezTo>
                <a:cubicBezTo>
                  <a:pt x="369" y="4"/>
                  <a:pt x="367" y="6"/>
                  <a:pt x="364" y="6"/>
                </a:cubicBezTo>
                <a:cubicBezTo>
                  <a:pt x="360" y="5"/>
                  <a:pt x="355" y="1"/>
                  <a:pt x="352" y="1"/>
                </a:cubicBezTo>
                <a:cubicBezTo>
                  <a:pt x="351" y="1"/>
                  <a:pt x="349" y="3"/>
                  <a:pt x="348" y="3"/>
                </a:cubicBezTo>
                <a:cubicBezTo>
                  <a:pt x="345" y="4"/>
                  <a:pt x="342" y="2"/>
                  <a:pt x="340" y="2"/>
                </a:cubicBezTo>
                <a:cubicBezTo>
                  <a:pt x="335" y="1"/>
                  <a:pt x="333" y="3"/>
                  <a:pt x="326" y="3"/>
                </a:cubicBezTo>
                <a:cubicBezTo>
                  <a:pt x="324" y="3"/>
                  <a:pt x="310" y="0"/>
                  <a:pt x="309" y="1"/>
                </a:cubicBezTo>
                <a:cubicBezTo>
                  <a:pt x="308" y="1"/>
                  <a:pt x="308" y="3"/>
                  <a:pt x="308" y="4"/>
                </a:cubicBezTo>
                <a:cubicBezTo>
                  <a:pt x="305" y="3"/>
                  <a:pt x="303" y="3"/>
                  <a:pt x="300" y="2"/>
                </a:cubicBezTo>
                <a:cubicBezTo>
                  <a:pt x="300" y="2"/>
                  <a:pt x="299" y="4"/>
                  <a:pt x="299" y="4"/>
                </a:cubicBezTo>
                <a:cubicBezTo>
                  <a:pt x="300" y="5"/>
                  <a:pt x="300" y="5"/>
                  <a:pt x="301" y="6"/>
                </a:cubicBezTo>
                <a:cubicBezTo>
                  <a:pt x="299" y="6"/>
                  <a:pt x="294" y="7"/>
                  <a:pt x="291" y="6"/>
                </a:cubicBezTo>
                <a:cubicBezTo>
                  <a:pt x="290" y="5"/>
                  <a:pt x="293" y="4"/>
                  <a:pt x="291" y="5"/>
                </a:cubicBezTo>
                <a:cubicBezTo>
                  <a:pt x="290" y="5"/>
                  <a:pt x="290" y="6"/>
                  <a:pt x="290" y="7"/>
                </a:cubicBezTo>
                <a:cubicBezTo>
                  <a:pt x="290" y="7"/>
                  <a:pt x="286" y="9"/>
                  <a:pt x="288" y="10"/>
                </a:cubicBezTo>
                <a:cubicBezTo>
                  <a:pt x="289" y="10"/>
                  <a:pt x="290" y="9"/>
                  <a:pt x="291" y="10"/>
                </a:cubicBezTo>
                <a:cubicBezTo>
                  <a:pt x="293" y="11"/>
                  <a:pt x="293" y="11"/>
                  <a:pt x="293" y="11"/>
                </a:cubicBezTo>
                <a:cubicBezTo>
                  <a:pt x="277" y="11"/>
                  <a:pt x="282" y="13"/>
                  <a:pt x="288" y="19"/>
                </a:cubicBezTo>
                <a:cubicBezTo>
                  <a:pt x="287" y="19"/>
                  <a:pt x="286" y="19"/>
                  <a:pt x="285" y="19"/>
                </a:cubicBezTo>
                <a:cubicBezTo>
                  <a:pt x="284" y="19"/>
                  <a:pt x="281" y="14"/>
                  <a:pt x="281" y="14"/>
                </a:cubicBezTo>
                <a:cubicBezTo>
                  <a:pt x="279" y="13"/>
                  <a:pt x="278" y="14"/>
                  <a:pt x="277" y="14"/>
                </a:cubicBezTo>
                <a:cubicBezTo>
                  <a:pt x="278" y="14"/>
                  <a:pt x="278" y="15"/>
                  <a:pt x="279" y="15"/>
                </a:cubicBezTo>
                <a:cubicBezTo>
                  <a:pt x="280" y="16"/>
                  <a:pt x="279" y="17"/>
                  <a:pt x="280" y="18"/>
                </a:cubicBezTo>
                <a:cubicBezTo>
                  <a:pt x="276" y="16"/>
                  <a:pt x="277" y="14"/>
                  <a:pt x="275" y="20"/>
                </a:cubicBezTo>
                <a:cubicBezTo>
                  <a:pt x="273" y="19"/>
                  <a:pt x="268" y="17"/>
                  <a:pt x="267" y="16"/>
                </a:cubicBezTo>
                <a:cubicBezTo>
                  <a:pt x="267" y="15"/>
                  <a:pt x="267" y="12"/>
                  <a:pt x="267" y="12"/>
                </a:cubicBezTo>
                <a:cubicBezTo>
                  <a:pt x="265" y="11"/>
                  <a:pt x="259" y="9"/>
                  <a:pt x="255" y="10"/>
                </a:cubicBezTo>
                <a:cubicBezTo>
                  <a:pt x="253" y="11"/>
                  <a:pt x="258" y="13"/>
                  <a:pt x="255" y="14"/>
                </a:cubicBezTo>
                <a:cubicBezTo>
                  <a:pt x="254" y="14"/>
                  <a:pt x="250" y="12"/>
                  <a:pt x="249" y="12"/>
                </a:cubicBezTo>
                <a:cubicBezTo>
                  <a:pt x="250" y="12"/>
                  <a:pt x="247" y="12"/>
                  <a:pt x="247" y="12"/>
                </a:cubicBezTo>
                <a:cubicBezTo>
                  <a:pt x="247" y="13"/>
                  <a:pt x="247" y="14"/>
                  <a:pt x="248" y="14"/>
                </a:cubicBezTo>
                <a:cubicBezTo>
                  <a:pt x="248" y="15"/>
                  <a:pt x="248" y="15"/>
                  <a:pt x="248" y="15"/>
                </a:cubicBezTo>
                <a:cubicBezTo>
                  <a:pt x="248" y="15"/>
                  <a:pt x="250" y="16"/>
                  <a:pt x="250" y="16"/>
                </a:cubicBezTo>
                <a:cubicBezTo>
                  <a:pt x="250" y="16"/>
                  <a:pt x="251" y="17"/>
                  <a:pt x="251" y="18"/>
                </a:cubicBezTo>
                <a:cubicBezTo>
                  <a:pt x="250" y="18"/>
                  <a:pt x="248" y="18"/>
                  <a:pt x="247" y="18"/>
                </a:cubicBezTo>
                <a:cubicBezTo>
                  <a:pt x="248" y="18"/>
                  <a:pt x="247" y="20"/>
                  <a:pt x="247" y="21"/>
                </a:cubicBezTo>
                <a:cubicBezTo>
                  <a:pt x="248" y="21"/>
                  <a:pt x="252" y="21"/>
                  <a:pt x="253" y="22"/>
                </a:cubicBezTo>
                <a:cubicBezTo>
                  <a:pt x="255" y="23"/>
                  <a:pt x="255" y="23"/>
                  <a:pt x="255" y="23"/>
                </a:cubicBezTo>
                <a:cubicBezTo>
                  <a:pt x="258" y="23"/>
                  <a:pt x="260" y="21"/>
                  <a:pt x="263" y="23"/>
                </a:cubicBezTo>
                <a:cubicBezTo>
                  <a:pt x="265" y="24"/>
                  <a:pt x="264" y="26"/>
                  <a:pt x="265" y="28"/>
                </a:cubicBezTo>
                <a:cubicBezTo>
                  <a:pt x="265" y="28"/>
                  <a:pt x="267" y="30"/>
                  <a:pt x="268" y="31"/>
                </a:cubicBezTo>
                <a:cubicBezTo>
                  <a:pt x="266" y="30"/>
                  <a:pt x="265" y="30"/>
                  <a:pt x="264" y="28"/>
                </a:cubicBezTo>
                <a:cubicBezTo>
                  <a:pt x="264" y="27"/>
                  <a:pt x="264" y="27"/>
                  <a:pt x="264" y="27"/>
                </a:cubicBezTo>
                <a:cubicBezTo>
                  <a:pt x="263" y="24"/>
                  <a:pt x="256" y="23"/>
                  <a:pt x="253" y="23"/>
                </a:cubicBezTo>
                <a:cubicBezTo>
                  <a:pt x="249" y="22"/>
                  <a:pt x="238" y="20"/>
                  <a:pt x="242" y="27"/>
                </a:cubicBezTo>
                <a:cubicBezTo>
                  <a:pt x="242" y="28"/>
                  <a:pt x="244" y="28"/>
                  <a:pt x="245" y="28"/>
                </a:cubicBezTo>
                <a:cubicBezTo>
                  <a:pt x="245" y="29"/>
                  <a:pt x="245" y="30"/>
                  <a:pt x="245" y="31"/>
                </a:cubicBezTo>
                <a:cubicBezTo>
                  <a:pt x="244" y="30"/>
                  <a:pt x="239" y="25"/>
                  <a:pt x="239" y="25"/>
                </a:cubicBezTo>
                <a:cubicBezTo>
                  <a:pt x="234" y="23"/>
                  <a:pt x="231" y="26"/>
                  <a:pt x="227" y="26"/>
                </a:cubicBezTo>
                <a:cubicBezTo>
                  <a:pt x="225" y="27"/>
                  <a:pt x="223" y="26"/>
                  <a:pt x="220" y="26"/>
                </a:cubicBezTo>
                <a:cubicBezTo>
                  <a:pt x="220" y="26"/>
                  <a:pt x="220" y="28"/>
                  <a:pt x="220" y="28"/>
                </a:cubicBezTo>
                <a:cubicBezTo>
                  <a:pt x="220" y="29"/>
                  <a:pt x="222" y="30"/>
                  <a:pt x="223" y="30"/>
                </a:cubicBezTo>
                <a:cubicBezTo>
                  <a:pt x="223" y="31"/>
                  <a:pt x="223" y="33"/>
                  <a:pt x="223" y="33"/>
                </a:cubicBezTo>
                <a:cubicBezTo>
                  <a:pt x="224" y="34"/>
                  <a:pt x="225" y="33"/>
                  <a:pt x="226" y="34"/>
                </a:cubicBezTo>
                <a:cubicBezTo>
                  <a:pt x="227" y="34"/>
                  <a:pt x="228" y="36"/>
                  <a:pt x="228" y="36"/>
                </a:cubicBezTo>
                <a:cubicBezTo>
                  <a:pt x="230" y="38"/>
                  <a:pt x="232" y="39"/>
                  <a:pt x="234" y="40"/>
                </a:cubicBezTo>
                <a:cubicBezTo>
                  <a:pt x="235" y="41"/>
                  <a:pt x="236" y="43"/>
                  <a:pt x="237" y="44"/>
                </a:cubicBezTo>
                <a:cubicBezTo>
                  <a:pt x="240" y="46"/>
                  <a:pt x="245" y="46"/>
                  <a:pt x="249" y="48"/>
                </a:cubicBezTo>
                <a:cubicBezTo>
                  <a:pt x="250" y="49"/>
                  <a:pt x="250" y="51"/>
                  <a:pt x="251" y="52"/>
                </a:cubicBezTo>
                <a:cubicBezTo>
                  <a:pt x="249" y="51"/>
                  <a:pt x="247" y="48"/>
                  <a:pt x="245" y="48"/>
                </a:cubicBezTo>
                <a:cubicBezTo>
                  <a:pt x="245" y="48"/>
                  <a:pt x="244" y="49"/>
                  <a:pt x="243" y="49"/>
                </a:cubicBezTo>
                <a:cubicBezTo>
                  <a:pt x="241" y="48"/>
                  <a:pt x="241" y="48"/>
                  <a:pt x="241" y="48"/>
                </a:cubicBezTo>
                <a:cubicBezTo>
                  <a:pt x="236" y="46"/>
                  <a:pt x="236" y="49"/>
                  <a:pt x="233" y="52"/>
                </a:cubicBezTo>
                <a:cubicBezTo>
                  <a:pt x="233" y="52"/>
                  <a:pt x="231" y="52"/>
                  <a:pt x="230" y="52"/>
                </a:cubicBezTo>
                <a:cubicBezTo>
                  <a:pt x="229" y="51"/>
                  <a:pt x="229" y="49"/>
                  <a:pt x="228" y="49"/>
                </a:cubicBezTo>
                <a:cubicBezTo>
                  <a:pt x="227" y="48"/>
                  <a:pt x="227" y="50"/>
                  <a:pt x="225" y="50"/>
                </a:cubicBezTo>
                <a:cubicBezTo>
                  <a:pt x="224" y="49"/>
                  <a:pt x="217" y="43"/>
                  <a:pt x="217" y="42"/>
                </a:cubicBezTo>
                <a:cubicBezTo>
                  <a:pt x="216" y="40"/>
                  <a:pt x="217" y="38"/>
                  <a:pt x="216" y="36"/>
                </a:cubicBezTo>
                <a:cubicBezTo>
                  <a:pt x="215" y="36"/>
                  <a:pt x="215" y="36"/>
                  <a:pt x="215" y="36"/>
                </a:cubicBezTo>
                <a:cubicBezTo>
                  <a:pt x="213" y="35"/>
                  <a:pt x="209" y="30"/>
                  <a:pt x="207" y="28"/>
                </a:cubicBezTo>
                <a:cubicBezTo>
                  <a:pt x="207" y="28"/>
                  <a:pt x="198" y="26"/>
                  <a:pt x="198" y="26"/>
                </a:cubicBezTo>
                <a:cubicBezTo>
                  <a:pt x="196" y="26"/>
                  <a:pt x="195" y="26"/>
                  <a:pt x="194" y="26"/>
                </a:cubicBezTo>
                <a:cubicBezTo>
                  <a:pt x="194" y="28"/>
                  <a:pt x="194" y="31"/>
                  <a:pt x="195" y="34"/>
                </a:cubicBezTo>
                <a:cubicBezTo>
                  <a:pt x="195" y="34"/>
                  <a:pt x="197" y="36"/>
                  <a:pt x="197" y="36"/>
                </a:cubicBezTo>
                <a:cubicBezTo>
                  <a:pt x="197" y="36"/>
                  <a:pt x="196" y="39"/>
                  <a:pt x="196" y="38"/>
                </a:cubicBezTo>
                <a:cubicBezTo>
                  <a:pt x="197" y="37"/>
                  <a:pt x="194" y="37"/>
                  <a:pt x="194" y="37"/>
                </a:cubicBezTo>
                <a:cubicBezTo>
                  <a:pt x="193" y="38"/>
                  <a:pt x="193" y="40"/>
                  <a:pt x="194" y="40"/>
                </a:cubicBezTo>
                <a:cubicBezTo>
                  <a:pt x="194" y="41"/>
                  <a:pt x="194" y="43"/>
                  <a:pt x="194" y="43"/>
                </a:cubicBezTo>
                <a:cubicBezTo>
                  <a:pt x="193" y="43"/>
                  <a:pt x="195" y="47"/>
                  <a:pt x="195" y="47"/>
                </a:cubicBezTo>
                <a:cubicBezTo>
                  <a:pt x="194" y="48"/>
                  <a:pt x="194" y="47"/>
                  <a:pt x="194" y="49"/>
                </a:cubicBezTo>
                <a:cubicBezTo>
                  <a:pt x="193" y="49"/>
                  <a:pt x="192" y="49"/>
                  <a:pt x="192" y="49"/>
                </a:cubicBezTo>
                <a:cubicBezTo>
                  <a:pt x="189" y="47"/>
                  <a:pt x="186" y="44"/>
                  <a:pt x="182" y="44"/>
                </a:cubicBezTo>
                <a:cubicBezTo>
                  <a:pt x="181" y="43"/>
                  <a:pt x="181" y="44"/>
                  <a:pt x="180" y="44"/>
                </a:cubicBezTo>
                <a:cubicBezTo>
                  <a:pt x="180" y="42"/>
                  <a:pt x="180" y="42"/>
                  <a:pt x="180" y="42"/>
                </a:cubicBezTo>
                <a:cubicBezTo>
                  <a:pt x="178" y="42"/>
                  <a:pt x="180" y="43"/>
                  <a:pt x="179" y="44"/>
                </a:cubicBezTo>
                <a:cubicBezTo>
                  <a:pt x="176" y="45"/>
                  <a:pt x="172" y="41"/>
                  <a:pt x="171" y="40"/>
                </a:cubicBezTo>
                <a:cubicBezTo>
                  <a:pt x="170" y="41"/>
                  <a:pt x="170" y="42"/>
                  <a:pt x="170" y="43"/>
                </a:cubicBezTo>
                <a:cubicBezTo>
                  <a:pt x="168" y="44"/>
                  <a:pt x="166" y="45"/>
                  <a:pt x="164" y="47"/>
                </a:cubicBezTo>
                <a:cubicBezTo>
                  <a:pt x="165" y="48"/>
                  <a:pt x="165" y="48"/>
                  <a:pt x="165" y="49"/>
                </a:cubicBezTo>
                <a:cubicBezTo>
                  <a:pt x="164" y="49"/>
                  <a:pt x="164" y="49"/>
                  <a:pt x="164" y="49"/>
                </a:cubicBezTo>
                <a:cubicBezTo>
                  <a:pt x="162" y="43"/>
                  <a:pt x="164" y="30"/>
                  <a:pt x="156" y="30"/>
                </a:cubicBezTo>
                <a:cubicBezTo>
                  <a:pt x="155" y="30"/>
                  <a:pt x="151" y="32"/>
                  <a:pt x="150" y="32"/>
                </a:cubicBezTo>
                <a:cubicBezTo>
                  <a:pt x="150" y="36"/>
                  <a:pt x="150" y="36"/>
                  <a:pt x="150" y="36"/>
                </a:cubicBezTo>
                <a:cubicBezTo>
                  <a:pt x="149" y="36"/>
                  <a:pt x="147" y="33"/>
                  <a:pt x="146" y="33"/>
                </a:cubicBezTo>
                <a:cubicBezTo>
                  <a:pt x="144" y="33"/>
                  <a:pt x="145" y="34"/>
                  <a:pt x="144" y="34"/>
                </a:cubicBezTo>
                <a:cubicBezTo>
                  <a:pt x="143" y="34"/>
                  <a:pt x="143" y="36"/>
                  <a:pt x="143" y="36"/>
                </a:cubicBezTo>
                <a:cubicBezTo>
                  <a:pt x="142" y="37"/>
                  <a:pt x="141" y="36"/>
                  <a:pt x="141" y="37"/>
                </a:cubicBezTo>
                <a:cubicBezTo>
                  <a:pt x="140" y="36"/>
                  <a:pt x="140" y="34"/>
                  <a:pt x="138" y="34"/>
                </a:cubicBezTo>
                <a:cubicBezTo>
                  <a:pt x="135" y="33"/>
                  <a:pt x="131" y="35"/>
                  <a:pt x="128" y="36"/>
                </a:cubicBezTo>
                <a:cubicBezTo>
                  <a:pt x="123" y="36"/>
                  <a:pt x="119" y="36"/>
                  <a:pt x="114" y="37"/>
                </a:cubicBezTo>
                <a:cubicBezTo>
                  <a:pt x="113" y="37"/>
                  <a:pt x="111" y="40"/>
                  <a:pt x="110" y="40"/>
                </a:cubicBezTo>
                <a:cubicBezTo>
                  <a:pt x="109" y="41"/>
                  <a:pt x="108" y="40"/>
                  <a:pt x="106" y="40"/>
                </a:cubicBezTo>
                <a:cubicBezTo>
                  <a:pt x="107" y="41"/>
                  <a:pt x="108" y="42"/>
                  <a:pt x="108" y="43"/>
                </a:cubicBezTo>
                <a:cubicBezTo>
                  <a:pt x="109" y="45"/>
                  <a:pt x="108" y="47"/>
                  <a:pt x="109" y="49"/>
                </a:cubicBezTo>
                <a:cubicBezTo>
                  <a:pt x="109" y="49"/>
                  <a:pt x="111" y="50"/>
                  <a:pt x="111" y="51"/>
                </a:cubicBezTo>
                <a:cubicBezTo>
                  <a:pt x="110" y="50"/>
                  <a:pt x="108" y="50"/>
                  <a:pt x="107" y="48"/>
                </a:cubicBezTo>
                <a:cubicBezTo>
                  <a:pt x="106" y="46"/>
                  <a:pt x="106" y="43"/>
                  <a:pt x="104" y="42"/>
                </a:cubicBezTo>
                <a:cubicBezTo>
                  <a:pt x="103" y="41"/>
                  <a:pt x="102" y="41"/>
                  <a:pt x="100" y="40"/>
                </a:cubicBezTo>
                <a:cubicBezTo>
                  <a:pt x="101" y="40"/>
                  <a:pt x="97" y="40"/>
                  <a:pt x="96" y="42"/>
                </a:cubicBezTo>
                <a:cubicBezTo>
                  <a:pt x="95" y="43"/>
                  <a:pt x="94" y="47"/>
                  <a:pt x="93" y="49"/>
                </a:cubicBezTo>
                <a:cubicBezTo>
                  <a:pt x="92" y="49"/>
                  <a:pt x="92" y="49"/>
                  <a:pt x="92" y="49"/>
                </a:cubicBezTo>
                <a:cubicBezTo>
                  <a:pt x="92" y="50"/>
                  <a:pt x="93" y="52"/>
                  <a:pt x="93" y="52"/>
                </a:cubicBezTo>
                <a:cubicBezTo>
                  <a:pt x="94" y="53"/>
                  <a:pt x="95" y="54"/>
                  <a:pt x="96" y="55"/>
                </a:cubicBezTo>
                <a:cubicBezTo>
                  <a:pt x="96" y="55"/>
                  <a:pt x="95" y="56"/>
                  <a:pt x="94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2" y="56"/>
                  <a:pt x="93" y="54"/>
                  <a:pt x="92" y="54"/>
                </a:cubicBezTo>
                <a:cubicBezTo>
                  <a:pt x="91" y="53"/>
                  <a:pt x="84" y="51"/>
                  <a:pt x="83" y="52"/>
                </a:cubicBezTo>
                <a:cubicBezTo>
                  <a:pt x="74" y="52"/>
                  <a:pt x="68" y="58"/>
                  <a:pt x="61" y="60"/>
                </a:cubicBezTo>
                <a:cubicBezTo>
                  <a:pt x="56" y="61"/>
                  <a:pt x="49" y="61"/>
                  <a:pt x="47" y="64"/>
                </a:cubicBezTo>
                <a:cubicBezTo>
                  <a:pt x="46" y="64"/>
                  <a:pt x="45" y="67"/>
                  <a:pt x="45" y="67"/>
                </a:cubicBezTo>
                <a:cubicBezTo>
                  <a:pt x="43" y="72"/>
                  <a:pt x="44" y="70"/>
                  <a:pt x="46" y="73"/>
                </a:cubicBezTo>
                <a:cubicBezTo>
                  <a:pt x="49" y="73"/>
                  <a:pt x="53" y="70"/>
                  <a:pt x="57" y="71"/>
                </a:cubicBezTo>
                <a:cubicBezTo>
                  <a:pt x="57" y="71"/>
                  <a:pt x="59" y="73"/>
                  <a:pt x="59" y="74"/>
                </a:cubicBezTo>
                <a:cubicBezTo>
                  <a:pt x="61" y="73"/>
                  <a:pt x="63" y="72"/>
                  <a:pt x="64" y="71"/>
                </a:cubicBezTo>
                <a:cubicBezTo>
                  <a:pt x="65" y="71"/>
                  <a:pt x="67" y="72"/>
                  <a:pt x="67" y="72"/>
                </a:cubicBezTo>
                <a:cubicBezTo>
                  <a:pt x="70" y="72"/>
                  <a:pt x="72" y="71"/>
                  <a:pt x="75" y="71"/>
                </a:cubicBezTo>
                <a:cubicBezTo>
                  <a:pt x="73" y="75"/>
                  <a:pt x="72" y="71"/>
                  <a:pt x="75" y="76"/>
                </a:cubicBezTo>
                <a:cubicBezTo>
                  <a:pt x="74" y="77"/>
                  <a:pt x="72" y="77"/>
                  <a:pt x="72" y="79"/>
                </a:cubicBezTo>
                <a:cubicBezTo>
                  <a:pt x="72" y="79"/>
                  <a:pt x="74" y="82"/>
                  <a:pt x="73" y="84"/>
                </a:cubicBezTo>
                <a:cubicBezTo>
                  <a:pt x="65" y="91"/>
                  <a:pt x="65" y="91"/>
                  <a:pt x="65" y="91"/>
                </a:cubicBezTo>
                <a:cubicBezTo>
                  <a:pt x="64" y="91"/>
                  <a:pt x="63" y="90"/>
                  <a:pt x="62" y="91"/>
                </a:cubicBezTo>
                <a:cubicBezTo>
                  <a:pt x="61" y="91"/>
                  <a:pt x="60" y="93"/>
                  <a:pt x="60" y="93"/>
                </a:cubicBezTo>
                <a:cubicBezTo>
                  <a:pt x="59" y="94"/>
                  <a:pt x="58" y="92"/>
                  <a:pt x="57" y="91"/>
                </a:cubicBezTo>
                <a:cubicBezTo>
                  <a:pt x="57" y="91"/>
                  <a:pt x="46" y="91"/>
                  <a:pt x="45" y="91"/>
                </a:cubicBezTo>
                <a:cubicBezTo>
                  <a:pt x="42" y="92"/>
                  <a:pt x="37" y="95"/>
                  <a:pt x="35" y="95"/>
                </a:cubicBezTo>
                <a:cubicBezTo>
                  <a:pt x="33" y="96"/>
                  <a:pt x="32" y="95"/>
                  <a:pt x="30" y="95"/>
                </a:cubicBezTo>
                <a:cubicBezTo>
                  <a:pt x="28" y="95"/>
                  <a:pt x="23" y="97"/>
                  <a:pt x="21" y="97"/>
                </a:cubicBezTo>
                <a:cubicBezTo>
                  <a:pt x="19" y="97"/>
                  <a:pt x="17" y="96"/>
                  <a:pt x="15" y="97"/>
                </a:cubicBezTo>
                <a:cubicBezTo>
                  <a:pt x="14" y="98"/>
                  <a:pt x="14" y="98"/>
                  <a:pt x="14" y="98"/>
                </a:cubicBezTo>
                <a:cubicBezTo>
                  <a:pt x="11" y="98"/>
                  <a:pt x="9" y="97"/>
                  <a:pt x="6" y="98"/>
                </a:cubicBezTo>
                <a:cubicBezTo>
                  <a:pt x="5" y="98"/>
                  <a:pt x="2" y="102"/>
                  <a:pt x="1" y="103"/>
                </a:cubicBezTo>
                <a:cubicBezTo>
                  <a:pt x="2" y="103"/>
                  <a:pt x="1" y="104"/>
                  <a:pt x="1" y="105"/>
                </a:cubicBezTo>
                <a:cubicBezTo>
                  <a:pt x="1" y="105"/>
                  <a:pt x="3" y="105"/>
                  <a:pt x="3" y="105"/>
                </a:cubicBezTo>
                <a:cubicBezTo>
                  <a:pt x="4" y="106"/>
                  <a:pt x="4" y="109"/>
                  <a:pt x="5" y="109"/>
                </a:cubicBezTo>
                <a:cubicBezTo>
                  <a:pt x="6" y="110"/>
                  <a:pt x="7" y="109"/>
                  <a:pt x="7" y="110"/>
                </a:cubicBezTo>
                <a:cubicBezTo>
                  <a:pt x="8" y="110"/>
                  <a:pt x="8" y="113"/>
                  <a:pt x="8" y="113"/>
                </a:cubicBezTo>
                <a:cubicBezTo>
                  <a:pt x="9" y="113"/>
                  <a:pt x="11" y="112"/>
                  <a:pt x="12" y="113"/>
                </a:cubicBezTo>
                <a:cubicBezTo>
                  <a:pt x="12" y="113"/>
                  <a:pt x="12" y="113"/>
                  <a:pt x="12" y="113"/>
                </a:cubicBezTo>
                <a:cubicBezTo>
                  <a:pt x="12" y="114"/>
                  <a:pt x="14" y="114"/>
                  <a:pt x="15" y="115"/>
                </a:cubicBezTo>
                <a:cubicBezTo>
                  <a:pt x="15" y="115"/>
                  <a:pt x="15" y="116"/>
                  <a:pt x="15" y="117"/>
                </a:cubicBezTo>
                <a:cubicBezTo>
                  <a:pt x="17" y="117"/>
                  <a:pt x="19" y="116"/>
                  <a:pt x="20" y="117"/>
                </a:cubicBezTo>
                <a:cubicBezTo>
                  <a:pt x="27" y="118"/>
                  <a:pt x="27" y="119"/>
                  <a:pt x="29" y="111"/>
                </a:cubicBezTo>
                <a:cubicBezTo>
                  <a:pt x="30" y="112"/>
                  <a:pt x="31" y="111"/>
                  <a:pt x="32" y="112"/>
                </a:cubicBezTo>
                <a:cubicBezTo>
                  <a:pt x="32" y="112"/>
                  <a:pt x="34" y="117"/>
                  <a:pt x="35" y="117"/>
                </a:cubicBezTo>
                <a:cubicBezTo>
                  <a:pt x="42" y="117"/>
                  <a:pt x="49" y="115"/>
                  <a:pt x="58" y="115"/>
                </a:cubicBezTo>
                <a:cubicBezTo>
                  <a:pt x="58" y="116"/>
                  <a:pt x="59" y="118"/>
                  <a:pt x="59" y="119"/>
                </a:cubicBezTo>
                <a:cubicBezTo>
                  <a:pt x="58" y="119"/>
                  <a:pt x="58" y="120"/>
                  <a:pt x="57" y="120"/>
                </a:cubicBezTo>
                <a:cubicBezTo>
                  <a:pt x="57" y="121"/>
                  <a:pt x="57" y="121"/>
                  <a:pt x="57" y="121"/>
                </a:cubicBezTo>
                <a:cubicBezTo>
                  <a:pt x="55" y="121"/>
                  <a:pt x="55" y="121"/>
                  <a:pt x="55" y="121"/>
                </a:cubicBezTo>
                <a:cubicBezTo>
                  <a:pt x="54" y="121"/>
                  <a:pt x="54" y="119"/>
                  <a:pt x="53" y="119"/>
                </a:cubicBezTo>
                <a:cubicBezTo>
                  <a:pt x="52" y="118"/>
                  <a:pt x="45" y="119"/>
                  <a:pt x="43" y="119"/>
                </a:cubicBezTo>
                <a:cubicBezTo>
                  <a:pt x="41" y="121"/>
                  <a:pt x="41" y="121"/>
                  <a:pt x="41" y="121"/>
                </a:cubicBezTo>
                <a:cubicBezTo>
                  <a:pt x="39" y="121"/>
                  <a:pt x="37" y="120"/>
                  <a:pt x="35" y="120"/>
                </a:cubicBezTo>
                <a:cubicBezTo>
                  <a:pt x="32" y="120"/>
                  <a:pt x="27" y="123"/>
                  <a:pt x="23" y="124"/>
                </a:cubicBezTo>
                <a:cubicBezTo>
                  <a:pt x="23" y="124"/>
                  <a:pt x="23" y="126"/>
                  <a:pt x="23" y="126"/>
                </a:cubicBezTo>
                <a:cubicBezTo>
                  <a:pt x="24" y="127"/>
                  <a:pt x="24" y="127"/>
                  <a:pt x="25" y="127"/>
                </a:cubicBezTo>
                <a:cubicBezTo>
                  <a:pt x="23" y="127"/>
                  <a:pt x="20" y="128"/>
                  <a:pt x="17" y="127"/>
                </a:cubicBezTo>
                <a:cubicBezTo>
                  <a:pt x="13" y="126"/>
                  <a:pt x="16" y="122"/>
                  <a:pt x="8" y="126"/>
                </a:cubicBezTo>
                <a:cubicBezTo>
                  <a:pt x="9" y="128"/>
                  <a:pt x="10" y="130"/>
                  <a:pt x="11" y="132"/>
                </a:cubicBezTo>
                <a:cubicBezTo>
                  <a:pt x="12" y="132"/>
                  <a:pt x="13" y="131"/>
                  <a:pt x="15" y="131"/>
                </a:cubicBezTo>
                <a:cubicBezTo>
                  <a:pt x="15" y="131"/>
                  <a:pt x="16" y="133"/>
                  <a:pt x="16" y="133"/>
                </a:cubicBezTo>
                <a:cubicBezTo>
                  <a:pt x="18" y="135"/>
                  <a:pt x="20" y="134"/>
                  <a:pt x="23" y="135"/>
                </a:cubicBezTo>
                <a:cubicBezTo>
                  <a:pt x="22" y="135"/>
                  <a:pt x="21" y="136"/>
                  <a:pt x="20" y="137"/>
                </a:cubicBezTo>
                <a:cubicBezTo>
                  <a:pt x="22" y="139"/>
                  <a:pt x="24" y="144"/>
                  <a:pt x="27" y="145"/>
                </a:cubicBezTo>
                <a:cubicBezTo>
                  <a:pt x="29" y="145"/>
                  <a:pt x="30" y="144"/>
                  <a:pt x="33" y="144"/>
                </a:cubicBezTo>
                <a:cubicBezTo>
                  <a:pt x="35" y="144"/>
                  <a:pt x="38" y="146"/>
                  <a:pt x="41" y="146"/>
                </a:cubicBezTo>
                <a:cubicBezTo>
                  <a:pt x="40" y="140"/>
                  <a:pt x="40" y="140"/>
                  <a:pt x="43" y="137"/>
                </a:cubicBezTo>
                <a:cubicBezTo>
                  <a:pt x="45" y="138"/>
                  <a:pt x="47" y="140"/>
                  <a:pt x="49" y="141"/>
                </a:cubicBezTo>
                <a:cubicBezTo>
                  <a:pt x="49" y="140"/>
                  <a:pt x="49" y="140"/>
                  <a:pt x="49" y="139"/>
                </a:cubicBezTo>
                <a:cubicBezTo>
                  <a:pt x="51" y="137"/>
                  <a:pt x="55" y="137"/>
                  <a:pt x="58" y="137"/>
                </a:cubicBezTo>
                <a:cubicBezTo>
                  <a:pt x="58" y="138"/>
                  <a:pt x="58" y="139"/>
                  <a:pt x="58" y="140"/>
                </a:cubicBezTo>
                <a:cubicBezTo>
                  <a:pt x="58" y="141"/>
                  <a:pt x="61" y="142"/>
                  <a:pt x="63" y="143"/>
                </a:cubicBezTo>
                <a:cubicBezTo>
                  <a:pt x="63" y="141"/>
                  <a:pt x="64" y="140"/>
                  <a:pt x="65" y="139"/>
                </a:cubicBezTo>
                <a:cubicBezTo>
                  <a:pt x="65" y="139"/>
                  <a:pt x="66" y="140"/>
                  <a:pt x="67" y="140"/>
                </a:cubicBezTo>
                <a:cubicBezTo>
                  <a:pt x="68" y="140"/>
                  <a:pt x="68" y="140"/>
                  <a:pt x="68" y="140"/>
                </a:cubicBezTo>
                <a:cubicBezTo>
                  <a:pt x="69" y="139"/>
                  <a:pt x="69" y="139"/>
                  <a:pt x="69" y="139"/>
                </a:cubicBezTo>
                <a:cubicBezTo>
                  <a:pt x="71" y="139"/>
                  <a:pt x="74" y="139"/>
                  <a:pt x="77" y="139"/>
                </a:cubicBezTo>
                <a:cubicBezTo>
                  <a:pt x="77" y="139"/>
                  <a:pt x="77" y="137"/>
                  <a:pt x="77" y="137"/>
                </a:cubicBezTo>
                <a:cubicBezTo>
                  <a:pt x="78" y="136"/>
                  <a:pt x="80" y="135"/>
                  <a:pt x="81" y="135"/>
                </a:cubicBezTo>
                <a:cubicBezTo>
                  <a:pt x="81" y="135"/>
                  <a:pt x="82" y="136"/>
                  <a:pt x="83" y="137"/>
                </a:cubicBezTo>
                <a:cubicBezTo>
                  <a:pt x="83" y="138"/>
                  <a:pt x="83" y="139"/>
                  <a:pt x="83" y="141"/>
                </a:cubicBezTo>
                <a:cubicBezTo>
                  <a:pt x="85" y="139"/>
                  <a:pt x="86" y="138"/>
                  <a:pt x="88" y="136"/>
                </a:cubicBezTo>
                <a:cubicBezTo>
                  <a:pt x="89" y="136"/>
                  <a:pt x="90" y="136"/>
                  <a:pt x="91" y="136"/>
                </a:cubicBezTo>
                <a:cubicBezTo>
                  <a:pt x="92" y="139"/>
                  <a:pt x="92" y="139"/>
                  <a:pt x="92" y="139"/>
                </a:cubicBezTo>
                <a:cubicBezTo>
                  <a:pt x="96" y="140"/>
                  <a:pt x="102" y="139"/>
                  <a:pt x="106" y="141"/>
                </a:cubicBezTo>
                <a:cubicBezTo>
                  <a:pt x="106" y="141"/>
                  <a:pt x="106" y="142"/>
                  <a:pt x="106" y="143"/>
                </a:cubicBezTo>
                <a:cubicBezTo>
                  <a:pt x="108" y="144"/>
                  <a:pt x="110" y="144"/>
                  <a:pt x="112" y="146"/>
                </a:cubicBezTo>
                <a:cubicBezTo>
                  <a:pt x="112" y="146"/>
                  <a:pt x="112" y="148"/>
                  <a:pt x="112" y="148"/>
                </a:cubicBezTo>
                <a:cubicBezTo>
                  <a:pt x="114" y="148"/>
                  <a:pt x="118" y="147"/>
                  <a:pt x="121" y="148"/>
                </a:cubicBezTo>
                <a:cubicBezTo>
                  <a:pt x="121" y="148"/>
                  <a:pt x="125" y="152"/>
                  <a:pt x="125" y="152"/>
                </a:cubicBezTo>
                <a:cubicBezTo>
                  <a:pt x="126" y="154"/>
                  <a:pt x="125" y="155"/>
                  <a:pt x="126" y="156"/>
                </a:cubicBezTo>
                <a:cubicBezTo>
                  <a:pt x="126" y="156"/>
                  <a:pt x="127" y="156"/>
                  <a:pt x="128" y="156"/>
                </a:cubicBezTo>
                <a:cubicBezTo>
                  <a:pt x="128" y="156"/>
                  <a:pt x="133" y="160"/>
                  <a:pt x="134" y="160"/>
                </a:cubicBezTo>
                <a:cubicBezTo>
                  <a:pt x="134" y="160"/>
                  <a:pt x="136" y="165"/>
                  <a:pt x="136" y="165"/>
                </a:cubicBezTo>
                <a:cubicBezTo>
                  <a:pt x="138" y="165"/>
                  <a:pt x="140" y="164"/>
                  <a:pt x="141" y="165"/>
                </a:cubicBezTo>
                <a:cubicBezTo>
                  <a:pt x="141" y="165"/>
                  <a:pt x="142" y="166"/>
                  <a:pt x="142" y="166"/>
                </a:cubicBezTo>
                <a:cubicBezTo>
                  <a:pt x="143" y="165"/>
                  <a:pt x="142" y="166"/>
                  <a:pt x="142" y="167"/>
                </a:cubicBezTo>
                <a:cubicBezTo>
                  <a:pt x="143" y="166"/>
                  <a:pt x="143" y="167"/>
                  <a:pt x="143" y="167"/>
                </a:cubicBezTo>
                <a:cubicBezTo>
                  <a:pt x="143" y="167"/>
                  <a:pt x="141" y="168"/>
                  <a:pt x="141" y="169"/>
                </a:cubicBezTo>
                <a:cubicBezTo>
                  <a:pt x="141" y="169"/>
                  <a:pt x="142" y="170"/>
                  <a:pt x="142" y="171"/>
                </a:cubicBezTo>
                <a:cubicBezTo>
                  <a:pt x="142" y="172"/>
                  <a:pt x="140" y="172"/>
                  <a:pt x="140" y="173"/>
                </a:cubicBezTo>
                <a:cubicBezTo>
                  <a:pt x="139" y="174"/>
                  <a:pt x="138" y="173"/>
                  <a:pt x="137" y="174"/>
                </a:cubicBezTo>
                <a:cubicBezTo>
                  <a:pt x="137" y="174"/>
                  <a:pt x="136" y="176"/>
                  <a:pt x="136" y="176"/>
                </a:cubicBezTo>
                <a:cubicBezTo>
                  <a:pt x="138" y="175"/>
                  <a:pt x="141" y="174"/>
                  <a:pt x="143" y="174"/>
                </a:cubicBezTo>
                <a:cubicBezTo>
                  <a:pt x="143" y="174"/>
                  <a:pt x="143" y="175"/>
                  <a:pt x="143" y="176"/>
                </a:cubicBezTo>
                <a:cubicBezTo>
                  <a:pt x="143" y="176"/>
                  <a:pt x="149" y="183"/>
                  <a:pt x="150" y="183"/>
                </a:cubicBezTo>
                <a:cubicBezTo>
                  <a:pt x="150" y="183"/>
                  <a:pt x="149" y="185"/>
                  <a:pt x="148" y="184"/>
                </a:cubicBezTo>
                <a:cubicBezTo>
                  <a:pt x="148" y="185"/>
                  <a:pt x="148" y="185"/>
                  <a:pt x="148" y="185"/>
                </a:cubicBezTo>
                <a:cubicBezTo>
                  <a:pt x="149" y="186"/>
                  <a:pt x="152" y="188"/>
                  <a:pt x="152" y="190"/>
                </a:cubicBezTo>
                <a:cubicBezTo>
                  <a:pt x="153" y="192"/>
                  <a:pt x="151" y="191"/>
                  <a:pt x="152" y="192"/>
                </a:cubicBezTo>
                <a:cubicBezTo>
                  <a:pt x="153" y="192"/>
                  <a:pt x="154" y="192"/>
                  <a:pt x="156" y="192"/>
                </a:cubicBezTo>
                <a:cubicBezTo>
                  <a:pt x="155" y="193"/>
                  <a:pt x="157" y="195"/>
                  <a:pt x="154" y="194"/>
                </a:cubicBezTo>
                <a:cubicBezTo>
                  <a:pt x="154" y="195"/>
                  <a:pt x="155" y="196"/>
                  <a:pt x="155" y="197"/>
                </a:cubicBezTo>
                <a:cubicBezTo>
                  <a:pt x="153" y="198"/>
                  <a:pt x="154" y="198"/>
                  <a:pt x="154" y="200"/>
                </a:cubicBezTo>
                <a:cubicBezTo>
                  <a:pt x="154" y="201"/>
                  <a:pt x="154" y="201"/>
                  <a:pt x="154" y="201"/>
                </a:cubicBezTo>
                <a:cubicBezTo>
                  <a:pt x="153" y="202"/>
                  <a:pt x="148" y="202"/>
                  <a:pt x="147" y="202"/>
                </a:cubicBezTo>
                <a:cubicBezTo>
                  <a:pt x="147" y="203"/>
                  <a:pt x="147" y="203"/>
                  <a:pt x="147" y="203"/>
                </a:cubicBezTo>
                <a:cubicBezTo>
                  <a:pt x="148" y="203"/>
                  <a:pt x="149" y="203"/>
                  <a:pt x="150" y="203"/>
                </a:cubicBezTo>
                <a:cubicBezTo>
                  <a:pt x="149" y="205"/>
                  <a:pt x="149" y="207"/>
                  <a:pt x="148" y="208"/>
                </a:cubicBezTo>
                <a:cubicBezTo>
                  <a:pt x="147" y="209"/>
                  <a:pt x="146" y="209"/>
                  <a:pt x="146" y="209"/>
                </a:cubicBezTo>
                <a:cubicBezTo>
                  <a:pt x="146" y="209"/>
                  <a:pt x="146" y="212"/>
                  <a:pt x="146" y="212"/>
                </a:cubicBezTo>
                <a:cubicBezTo>
                  <a:pt x="147" y="212"/>
                  <a:pt x="148" y="211"/>
                  <a:pt x="149" y="211"/>
                </a:cubicBezTo>
                <a:cubicBezTo>
                  <a:pt x="148" y="212"/>
                  <a:pt x="148" y="214"/>
                  <a:pt x="148" y="214"/>
                </a:cubicBezTo>
                <a:cubicBezTo>
                  <a:pt x="147" y="215"/>
                  <a:pt x="145" y="215"/>
                  <a:pt x="145" y="216"/>
                </a:cubicBezTo>
                <a:cubicBezTo>
                  <a:pt x="145" y="217"/>
                  <a:pt x="145" y="217"/>
                  <a:pt x="145" y="217"/>
                </a:cubicBezTo>
                <a:cubicBezTo>
                  <a:pt x="147" y="219"/>
                  <a:pt x="153" y="222"/>
                  <a:pt x="157" y="219"/>
                </a:cubicBezTo>
                <a:cubicBezTo>
                  <a:pt x="157" y="219"/>
                  <a:pt x="158" y="213"/>
                  <a:pt x="159" y="212"/>
                </a:cubicBezTo>
                <a:cubicBezTo>
                  <a:pt x="160" y="212"/>
                  <a:pt x="160" y="212"/>
                  <a:pt x="160" y="212"/>
                </a:cubicBezTo>
                <a:cubicBezTo>
                  <a:pt x="161" y="214"/>
                  <a:pt x="160" y="214"/>
                  <a:pt x="161" y="216"/>
                </a:cubicBezTo>
                <a:cubicBezTo>
                  <a:pt x="166" y="215"/>
                  <a:pt x="169" y="217"/>
                  <a:pt x="176" y="218"/>
                </a:cubicBezTo>
                <a:cubicBezTo>
                  <a:pt x="175" y="218"/>
                  <a:pt x="175" y="219"/>
                  <a:pt x="174" y="219"/>
                </a:cubicBezTo>
                <a:cubicBezTo>
                  <a:pt x="175" y="221"/>
                  <a:pt x="175" y="221"/>
                  <a:pt x="175" y="221"/>
                </a:cubicBezTo>
                <a:cubicBezTo>
                  <a:pt x="177" y="221"/>
                  <a:pt x="179" y="221"/>
                  <a:pt x="182" y="220"/>
                </a:cubicBezTo>
                <a:cubicBezTo>
                  <a:pt x="182" y="220"/>
                  <a:pt x="184" y="218"/>
                  <a:pt x="184" y="218"/>
                </a:cubicBezTo>
                <a:cubicBezTo>
                  <a:pt x="186" y="218"/>
                  <a:pt x="185" y="219"/>
                  <a:pt x="186" y="219"/>
                </a:cubicBezTo>
                <a:cubicBezTo>
                  <a:pt x="185" y="219"/>
                  <a:pt x="182" y="221"/>
                  <a:pt x="182" y="222"/>
                </a:cubicBezTo>
                <a:cubicBezTo>
                  <a:pt x="178" y="223"/>
                  <a:pt x="187" y="223"/>
                  <a:pt x="190" y="223"/>
                </a:cubicBezTo>
                <a:cubicBezTo>
                  <a:pt x="189" y="223"/>
                  <a:pt x="190" y="225"/>
                  <a:pt x="190" y="226"/>
                </a:cubicBezTo>
                <a:cubicBezTo>
                  <a:pt x="188" y="226"/>
                  <a:pt x="186" y="226"/>
                  <a:pt x="184" y="226"/>
                </a:cubicBezTo>
                <a:cubicBezTo>
                  <a:pt x="185" y="226"/>
                  <a:pt x="187" y="227"/>
                  <a:pt x="188" y="228"/>
                </a:cubicBezTo>
                <a:cubicBezTo>
                  <a:pt x="191" y="229"/>
                  <a:pt x="187" y="229"/>
                  <a:pt x="185" y="229"/>
                </a:cubicBezTo>
                <a:cubicBezTo>
                  <a:pt x="185" y="230"/>
                  <a:pt x="185" y="230"/>
                  <a:pt x="185" y="230"/>
                </a:cubicBezTo>
                <a:cubicBezTo>
                  <a:pt x="182" y="232"/>
                  <a:pt x="186" y="231"/>
                  <a:pt x="187" y="232"/>
                </a:cubicBezTo>
                <a:cubicBezTo>
                  <a:pt x="187" y="232"/>
                  <a:pt x="188" y="232"/>
                  <a:pt x="189" y="232"/>
                </a:cubicBezTo>
                <a:cubicBezTo>
                  <a:pt x="189" y="234"/>
                  <a:pt x="189" y="234"/>
                  <a:pt x="189" y="234"/>
                </a:cubicBezTo>
                <a:cubicBezTo>
                  <a:pt x="181" y="234"/>
                  <a:pt x="185" y="236"/>
                  <a:pt x="190" y="238"/>
                </a:cubicBezTo>
                <a:cubicBezTo>
                  <a:pt x="190" y="238"/>
                  <a:pt x="189" y="240"/>
                  <a:pt x="190" y="240"/>
                </a:cubicBezTo>
                <a:cubicBezTo>
                  <a:pt x="185" y="239"/>
                  <a:pt x="179" y="237"/>
                  <a:pt x="176" y="235"/>
                </a:cubicBezTo>
                <a:cubicBezTo>
                  <a:pt x="175" y="234"/>
                  <a:pt x="175" y="233"/>
                  <a:pt x="174" y="232"/>
                </a:cubicBezTo>
                <a:cubicBezTo>
                  <a:pt x="169" y="230"/>
                  <a:pt x="159" y="230"/>
                  <a:pt x="154" y="231"/>
                </a:cubicBezTo>
                <a:cubicBezTo>
                  <a:pt x="154" y="231"/>
                  <a:pt x="153" y="233"/>
                  <a:pt x="153" y="233"/>
                </a:cubicBezTo>
                <a:cubicBezTo>
                  <a:pt x="153" y="233"/>
                  <a:pt x="155" y="236"/>
                  <a:pt x="155" y="236"/>
                </a:cubicBezTo>
                <a:cubicBezTo>
                  <a:pt x="156" y="237"/>
                  <a:pt x="157" y="236"/>
                  <a:pt x="158" y="236"/>
                </a:cubicBezTo>
                <a:cubicBezTo>
                  <a:pt x="158" y="237"/>
                  <a:pt x="158" y="237"/>
                  <a:pt x="158" y="237"/>
                </a:cubicBezTo>
                <a:cubicBezTo>
                  <a:pt x="159" y="237"/>
                  <a:pt x="161" y="238"/>
                  <a:pt x="162" y="238"/>
                </a:cubicBezTo>
                <a:cubicBezTo>
                  <a:pt x="162" y="240"/>
                  <a:pt x="162" y="240"/>
                  <a:pt x="162" y="240"/>
                </a:cubicBezTo>
                <a:cubicBezTo>
                  <a:pt x="161" y="240"/>
                  <a:pt x="162" y="241"/>
                  <a:pt x="160" y="241"/>
                </a:cubicBezTo>
                <a:cubicBezTo>
                  <a:pt x="157" y="240"/>
                  <a:pt x="157" y="240"/>
                  <a:pt x="157" y="240"/>
                </a:cubicBezTo>
                <a:cubicBezTo>
                  <a:pt x="155" y="240"/>
                  <a:pt x="154" y="240"/>
                  <a:pt x="153" y="240"/>
                </a:cubicBezTo>
                <a:cubicBezTo>
                  <a:pt x="152" y="241"/>
                  <a:pt x="152" y="242"/>
                  <a:pt x="151" y="242"/>
                </a:cubicBezTo>
                <a:cubicBezTo>
                  <a:pt x="151" y="244"/>
                  <a:pt x="153" y="246"/>
                  <a:pt x="152" y="247"/>
                </a:cubicBezTo>
                <a:cubicBezTo>
                  <a:pt x="150" y="249"/>
                  <a:pt x="150" y="249"/>
                  <a:pt x="150" y="249"/>
                </a:cubicBezTo>
                <a:cubicBezTo>
                  <a:pt x="149" y="250"/>
                  <a:pt x="150" y="251"/>
                  <a:pt x="150" y="252"/>
                </a:cubicBezTo>
                <a:cubicBezTo>
                  <a:pt x="147" y="253"/>
                  <a:pt x="149" y="254"/>
                  <a:pt x="148" y="254"/>
                </a:cubicBezTo>
                <a:cubicBezTo>
                  <a:pt x="148" y="254"/>
                  <a:pt x="148" y="256"/>
                  <a:pt x="149" y="256"/>
                </a:cubicBezTo>
                <a:cubicBezTo>
                  <a:pt x="151" y="257"/>
                  <a:pt x="154" y="256"/>
                  <a:pt x="155" y="256"/>
                </a:cubicBezTo>
                <a:cubicBezTo>
                  <a:pt x="157" y="256"/>
                  <a:pt x="157" y="258"/>
                  <a:pt x="159" y="257"/>
                </a:cubicBezTo>
                <a:cubicBezTo>
                  <a:pt x="160" y="257"/>
                  <a:pt x="158" y="256"/>
                  <a:pt x="160" y="256"/>
                </a:cubicBezTo>
                <a:cubicBezTo>
                  <a:pt x="160" y="256"/>
                  <a:pt x="160" y="259"/>
                  <a:pt x="160" y="259"/>
                </a:cubicBezTo>
                <a:cubicBezTo>
                  <a:pt x="152" y="259"/>
                  <a:pt x="152" y="259"/>
                  <a:pt x="152" y="259"/>
                </a:cubicBezTo>
                <a:cubicBezTo>
                  <a:pt x="152" y="260"/>
                  <a:pt x="152" y="260"/>
                  <a:pt x="152" y="260"/>
                </a:cubicBezTo>
                <a:cubicBezTo>
                  <a:pt x="154" y="261"/>
                  <a:pt x="155" y="263"/>
                  <a:pt x="157" y="263"/>
                </a:cubicBezTo>
                <a:cubicBezTo>
                  <a:pt x="162" y="264"/>
                  <a:pt x="163" y="262"/>
                  <a:pt x="165" y="261"/>
                </a:cubicBezTo>
                <a:cubicBezTo>
                  <a:pt x="167" y="260"/>
                  <a:pt x="169" y="261"/>
                  <a:pt x="170" y="260"/>
                </a:cubicBezTo>
                <a:cubicBezTo>
                  <a:pt x="177" y="256"/>
                  <a:pt x="177" y="256"/>
                  <a:pt x="177" y="256"/>
                </a:cubicBezTo>
                <a:cubicBezTo>
                  <a:pt x="178" y="255"/>
                  <a:pt x="177" y="254"/>
                  <a:pt x="178" y="253"/>
                </a:cubicBezTo>
                <a:cubicBezTo>
                  <a:pt x="175" y="251"/>
                  <a:pt x="173" y="250"/>
                  <a:pt x="172" y="248"/>
                </a:cubicBezTo>
                <a:cubicBezTo>
                  <a:pt x="171" y="247"/>
                  <a:pt x="170" y="245"/>
                  <a:pt x="169" y="244"/>
                </a:cubicBezTo>
                <a:cubicBezTo>
                  <a:pt x="167" y="243"/>
                  <a:pt x="165" y="243"/>
                  <a:pt x="164" y="242"/>
                </a:cubicBezTo>
                <a:cubicBezTo>
                  <a:pt x="164" y="241"/>
                  <a:pt x="163" y="239"/>
                  <a:pt x="163" y="239"/>
                </a:cubicBezTo>
                <a:cubicBezTo>
                  <a:pt x="167" y="240"/>
                  <a:pt x="168" y="240"/>
                  <a:pt x="171" y="242"/>
                </a:cubicBezTo>
                <a:cubicBezTo>
                  <a:pt x="173" y="243"/>
                  <a:pt x="175" y="247"/>
                  <a:pt x="180" y="246"/>
                </a:cubicBezTo>
                <a:cubicBezTo>
                  <a:pt x="181" y="245"/>
                  <a:pt x="182" y="244"/>
                  <a:pt x="183" y="244"/>
                </a:cubicBezTo>
                <a:cubicBezTo>
                  <a:pt x="184" y="246"/>
                  <a:pt x="184" y="246"/>
                  <a:pt x="184" y="246"/>
                </a:cubicBezTo>
                <a:cubicBezTo>
                  <a:pt x="186" y="246"/>
                  <a:pt x="187" y="246"/>
                  <a:pt x="190" y="245"/>
                </a:cubicBezTo>
                <a:cubicBezTo>
                  <a:pt x="190" y="246"/>
                  <a:pt x="190" y="246"/>
                  <a:pt x="190" y="246"/>
                </a:cubicBezTo>
                <a:cubicBezTo>
                  <a:pt x="190" y="246"/>
                  <a:pt x="189" y="248"/>
                  <a:pt x="189" y="248"/>
                </a:cubicBezTo>
                <a:cubicBezTo>
                  <a:pt x="189" y="248"/>
                  <a:pt x="191" y="249"/>
                  <a:pt x="190" y="250"/>
                </a:cubicBezTo>
                <a:cubicBezTo>
                  <a:pt x="190" y="250"/>
                  <a:pt x="188" y="250"/>
                  <a:pt x="188" y="250"/>
                </a:cubicBezTo>
                <a:cubicBezTo>
                  <a:pt x="187" y="252"/>
                  <a:pt x="188" y="252"/>
                  <a:pt x="187" y="254"/>
                </a:cubicBezTo>
                <a:cubicBezTo>
                  <a:pt x="187" y="254"/>
                  <a:pt x="189" y="255"/>
                  <a:pt x="190" y="255"/>
                </a:cubicBezTo>
                <a:cubicBezTo>
                  <a:pt x="189" y="256"/>
                  <a:pt x="188" y="256"/>
                  <a:pt x="187" y="256"/>
                </a:cubicBezTo>
                <a:cubicBezTo>
                  <a:pt x="187" y="258"/>
                  <a:pt x="187" y="258"/>
                  <a:pt x="187" y="258"/>
                </a:cubicBezTo>
                <a:cubicBezTo>
                  <a:pt x="192" y="257"/>
                  <a:pt x="192" y="256"/>
                  <a:pt x="191" y="261"/>
                </a:cubicBezTo>
                <a:cubicBezTo>
                  <a:pt x="191" y="261"/>
                  <a:pt x="193" y="261"/>
                  <a:pt x="193" y="261"/>
                </a:cubicBezTo>
                <a:cubicBezTo>
                  <a:pt x="193" y="261"/>
                  <a:pt x="193" y="263"/>
                  <a:pt x="193" y="264"/>
                </a:cubicBezTo>
                <a:cubicBezTo>
                  <a:pt x="191" y="265"/>
                  <a:pt x="192" y="264"/>
                  <a:pt x="192" y="266"/>
                </a:cubicBezTo>
                <a:cubicBezTo>
                  <a:pt x="190" y="266"/>
                  <a:pt x="190" y="266"/>
                  <a:pt x="190" y="266"/>
                </a:cubicBezTo>
                <a:cubicBezTo>
                  <a:pt x="189" y="265"/>
                  <a:pt x="189" y="264"/>
                  <a:pt x="189" y="262"/>
                </a:cubicBezTo>
                <a:cubicBezTo>
                  <a:pt x="189" y="263"/>
                  <a:pt x="187" y="262"/>
                  <a:pt x="186" y="262"/>
                </a:cubicBezTo>
                <a:cubicBezTo>
                  <a:pt x="186" y="265"/>
                  <a:pt x="186" y="269"/>
                  <a:pt x="186" y="269"/>
                </a:cubicBezTo>
                <a:cubicBezTo>
                  <a:pt x="186" y="270"/>
                  <a:pt x="186" y="270"/>
                  <a:pt x="186" y="270"/>
                </a:cubicBezTo>
                <a:cubicBezTo>
                  <a:pt x="187" y="270"/>
                  <a:pt x="188" y="270"/>
                  <a:pt x="188" y="270"/>
                </a:cubicBezTo>
                <a:cubicBezTo>
                  <a:pt x="188" y="272"/>
                  <a:pt x="187" y="273"/>
                  <a:pt x="187" y="274"/>
                </a:cubicBezTo>
                <a:cubicBezTo>
                  <a:pt x="185" y="275"/>
                  <a:pt x="182" y="276"/>
                  <a:pt x="180" y="275"/>
                </a:cubicBezTo>
                <a:cubicBezTo>
                  <a:pt x="179" y="275"/>
                  <a:pt x="178" y="273"/>
                  <a:pt x="178" y="274"/>
                </a:cubicBezTo>
                <a:cubicBezTo>
                  <a:pt x="176" y="274"/>
                  <a:pt x="177" y="276"/>
                  <a:pt x="176" y="276"/>
                </a:cubicBezTo>
                <a:cubicBezTo>
                  <a:pt x="175" y="277"/>
                  <a:pt x="174" y="277"/>
                  <a:pt x="173" y="278"/>
                </a:cubicBezTo>
                <a:cubicBezTo>
                  <a:pt x="173" y="277"/>
                  <a:pt x="171" y="277"/>
                  <a:pt x="170" y="278"/>
                </a:cubicBezTo>
                <a:cubicBezTo>
                  <a:pt x="170" y="279"/>
                  <a:pt x="170" y="279"/>
                  <a:pt x="170" y="279"/>
                </a:cubicBezTo>
                <a:cubicBezTo>
                  <a:pt x="179" y="279"/>
                  <a:pt x="183" y="280"/>
                  <a:pt x="188" y="276"/>
                </a:cubicBezTo>
                <a:cubicBezTo>
                  <a:pt x="190" y="283"/>
                  <a:pt x="191" y="280"/>
                  <a:pt x="184" y="281"/>
                </a:cubicBezTo>
                <a:cubicBezTo>
                  <a:pt x="183" y="281"/>
                  <a:pt x="179" y="283"/>
                  <a:pt x="177" y="282"/>
                </a:cubicBezTo>
                <a:cubicBezTo>
                  <a:pt x="177" y="282"/>
                  <a:pt x="176" y="280"/>
                  <a:pt x="176" y="280"/>
                </a:cubicBezTo>
                <a:cubicBezTo>
                  <a:pt x="174" y="279"/>
                  <a:pt x="173" y="280"/>
                  <a:pt x="172" y="280"/>
                </a:cubicBezTo>
                <a:cubicBezTo>
                  <a:pt x="172" y="282"/>
                  <a:pt x="172" y="282"/>
                  <a:pt x="172" y="282"/>
                </a:cubicBezTo>
                <a:cubicBezTo>
                  <a:pt x="173" y="283"/>
                  <a:pt x="180" y="286"/>
                  <a:pt x="177" y="286"/>
                </a:cubicBezTo>
                <a:cubicBezTo>
                  <a:pt x="176" y="285"/>
                  <a:pt x="175" y="285"/>
                  <a:pt x="174" y="285"/>
                </a:cubicBezTo>
                <a:cubicBezTo>
                  <a:pt x="174" y="285"/>
                  <a:pt x="172" y="283"/>
                  <a:pt x="172" y="283"/>
                </a:cubicBezTo>
                <a:cubicBezTo>
                  <a:pt x="169" y="282"/>
                  <a:pt x="167" y="285"/>
                  <a:pt x="166" y="286"/>
                </a:cubicBezTo>
                <a:cubicBezTo>
                  <a:pt x="166" y="287"/>
                  <a:pt x="164" y="288"/>
                  <a:pt x="164" y="289"/>
                </a:cubicBezTo>
                <a:cubicBezTo>
                  <a:pt x="163" y="290"/>
                  <a:pt x="164" y="291"/>
                  <a:pt x="164" y="292"/>
                </a:cubicBezTo>
                <a:cubicBezTo>
                  <a:pt x="166" y="291"/>
                  <a:pt x="168" y="289"/>
                  <a:pt x="170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1" y="287"/>
                  <a:pt x="171" y="288"/>
                  <a:pt x="173" y="288"/>
                </a:cubicBezTo>
                <a:cubicBezTo>
                  <a:pt x="175" y="288"/>
                  <a:pt x="178" y="286"/>
                  <a:pt x="181" y="286"/>
                </a:cubicBezTo>
                <a:cubicBezTo>
                  <a:pt x="178" y="288"/>
                  <a:pt x="179" y="288"/>
                  <a:pt x="182" y="290"/>
                </a:cubicBezTo>
                <a:cubicBezTo>
                  <a:pt x="182" y="291"/>
                  <a:pt x="182" y="291"/>
                  <a:pt x="182" y="291"/>
                </a:cubicBezTo>
                <a:cubicBezTo>
                  <a:pt x="184" y="291"/>
                  <a:pt x="186" y="290"/>
                  <a:pt x="187" y="290"/>
                </a:cubicBezTo>
                <a:cubicBezTo>
                  <a:pt x="187" y="288"/>
                  <a:pt x="187" y="287"/>
                  <a:pt x="186" y="285"/>
                </a:cubicBezTo>
                <a:cubicBezTo>
                  <a:pt x="187" y="285"/>
                  <a:pt x="189" y="285"/>
                  <a:pt x="191" y="285"/>
                </a:cubicBezTo>
                <a:cubicBezTo>
                  <a:pt x="190" y="286"/>
                  <a:pt x="188" y="289"/>
                  <a:pt x="190" y="288"/>
                </a:cubicBezTo>
                <a:cubicBezTo>
                  <a:pt x="190" y="288"/>
                  <a:pt x="190" y="290"/>
                  <a:pt x="189" y="290"/>
                </a:cubicBezTo>
                <a:cubicBezTo>
                  <a:pt x="189" y="290"/>
                  <a:pt x="189" y="292"/>
                  <a:pt x="188" y="292"/>
                </a:cubicBezTo>
                <a:cubicBezTo>
                  <a:pt x="186" y="292"/>
                  <a:pt x="184" y="293"/>
                  <a:pt x="182" y="292"/>
                </a:cubicBezTo>
                <a:cubicBezTo>
                  <a:pt x="179" y="292"/>
                  <a:pt x="175" y="287"/>
                  <a:pt x="170" y="289"/>
                </a:cubicBezTo>
                <a:cubicBezTo>
                  <a:pt x="170" y="290"/>
                  <a:pt x="170" y="290"/>
                  <a:pt x="170" y="290"/>
                </a:cubicBezTo>
                <a:cubicBezTo>
                  <a:pt x="168" y="291"/>
                  <a:pt x="168" y="293"/>
                  <a:pt x="168" y="294"/>
                </a:cubicBezTo>
                <a:cubicBezTo>
                  <a:pt x="167" y="294"/>
                  <a:pt x="166" y="293"/>
                  <a:pt x="165" y="294"/>
                </a:cubicBezTo>
                <a:cubicBezTo>
                  <a:pt x="165" y="294"/>
                  <a:pt x="164" y="295"/>
                  <a:pt x="163" y="296"/>
                </a:cubicBezTo>
                <a:cubicBezTo>
                  <a:pt x="163" y="296"/>
                  <a:pt x="165" y="297"/>
                  <a:pt x="165" y="298"/>
                </a:cubicBezTo>
                <a:cubicBezTo>
                  <a:pt x="165" y="299"/>
                  <a:pt x="164" y="300"/>
                  <a:pt x="164" y="300"/>
                </a:cubicBezTo>
                <a:cubicBezTo>
                  <a:pt x="165" y="301"/>
                  <a:pt x="167" y="300"/>
                  <a:pt x="168" y="301"/>
                </a:cubicBezTo>
                <a:cubicBezTo>
                  <a:pt x="169" y="301"/>
                  <a:pt x="169" y="303"/>
                  <a:pt x="168" y="303"/>
                </a:cubicBezTo>
                <a:cubicBezTo>
                  <a:pt x="170" y="303"/>
                  <a:pt x="170" y="303"/>
                  <a:pt x="170" y="303"/>
                </a:cubicBezTo>
                <a:cubicBezTo>
                  <a:pt x="169" y="304"/>
                  <a:pt x="169" y="306"/>
                  <a:pt x="168" y="306"/>
                </a:cubicBezTo>
                <a:cubicBezTo>
                  <a:pt x="168" y="306"/>
                  <a:pt x="166" y="306"/>
                  <a:pt x="166" y="306"/>
                </a:cubicBezTo>
                <a:cubicBezTo>
                  <a:pt x="166" y="307"/>
                  <a:pt x="166" y="308"/>
                  <a:pt x="166" y="308"/>
                </a:cubicBezTo>
                <a:cubicBezTo>
                  <a:pt x="166" y="309"/>
                  <a:pt x="166" y="309"/>
                  <a:pt x="166" y="309"/>
                </a:cubicBezTo>
                <a:cubicBezTo>
                  <a:pt x="166" y="309"/>
                  <a:pt x="169" y="309"/>
                  <a:pt x="168" y="309"/>
                </a:cubicBezTo>
                <a:cubicBezTo>
                  <a:pt x="168" y="310"/>
                  <a:pt x="168" y="310"/>
                  <a:pt x="168" y="310"/>
                </a:cubicBezTo>
                <a:cubicBezTo>
                  <a:pt x="167" y="311"/>
                  <a:pt x="162" y="311"/>
                  <a:pt x="165" y="313"/>
                </a:cubicBezTo>
                <a:cubicBezTo>
                  <a:pt x="166" y="315"/>
                  <a:pt x="166" y="315"/>
                  <a:pt x="166" y="315"/>
                </a:cubicBezTo>
                <a:cubicBezTo>
                  <a:pt x="168" y="314"/>
                  <a:pt x="169" y="314"/>
                  <a:pt x="171" y="314"/>
                </a:cubicBezTo>
                <a:cubicBezTo>
                  <a:pt x="171" y="314"/>
                  <a:pt x="168" y="316"/>
                  <a:pt x="168" y="316"/>
                </a:cubicBezTo>
                <a:cubicBezTo>
                  <a:pt x="168" y="317"/>
                  <a:pt x="169" y="318"/>
                  <a:pt x="168" y="319"/>
                </a:cubicBezTo>
                <a:cubicBezTo>
                  <a:pt x="170" y="318"/>
                  <a:pt x="170" y="318"/>
                  <a:pt x="172" y="318"/>
                </a:cubicBezTo>
                <a:cubicBezTo>
                  <a:pt x="172" y="318"/>
                  <a:pt x="173" y="319"/>
                  <a:pt x="174" y="319"/>
                </a:cubicBezTo>
                <a:cubicBezTo>
                  <a:pt x="175" y="319"/>
                  <a:pt x="175" y="317"/>
                  <a:pt x="176" y="317"/>
                </a:cubicBezTo>
                <a:cubicBezTo>
                  <a:pt x="177" y="316"/>
                  <a:pt x="178" y="317"/>
                  <a:pt x="179" y="316"/>
                </a:cubicBezTo>
                <a:cubicBezTo>
                  <a:pt x="177" y="318"/>
                  <a:pt x="175" y="320"/>
                  <a:pt x="174" y="321"/>
                </a:cubicBezTo>
                <a:cubicBezTo>
                  <a:pt x="175" y="322"/>
                  <a:pt x="176" y="323"/>
                  <a:pt x="178" y="323"/>
                </a:cubicBezTo>
                <a:cubicBezTo>
                  <a:pt x="178" y="325"/>
                  <a:pt x="178" y="325"/>
                  <a:pt x="178" y="325"/>
                </a:cubicBezTo>
                <a:cubicBezTo>
                  <a:pt x="176" y="325"/>
                  <a:pt x="176" y="325"/>
                  <a:pt x="175" y="325"/>
                </a:cubicBezTo>
                <a:cubicBezTo>
                  <a:pt x="175" y="325"/>
                  <a:pt x="175" y="328"/>
                  <a:pt x="175" y="328"/>
                </a:cubicBezTo>
                <a:cubicBezTo>
                  <a:pt x="176" y="328"/>
                  <a:pt x="178" y="328"/>
                  <a:pt x="178" y="328"/>
                </a:cubicBezTo>
                <a:cubicBezTo>
                  <a:pt x="178" y="328"/>
                  <a:pt x="178" y="330"/>
                  <a:pt x="178" y="330"/>
                </a:cubicBezTo>
                <a:cubicBezTo>
                  <a:pt x="178" y="330"/>
                  <a:pt x="180" y="330"/>
                  <a:pt x="180" y="331"/>
                </a:cubicBezTo>
                <a:cubicBezTo>
                  <a:pt x="179" y="334"/>
                  <a:pt x="179" y="333"/>
                  <a:pt x="179" y="337"/>
                </a:cubicBezTo>
                <a:cubicBezTo>
                  <a:pt x="184" y="332"/>
                  <a:pt x="184" y="332"/>
                  <a:pt x="184" y="332"/>
                </a:cubicBezTo>
                <a:cubicBezTo>
                  <a:pt x="185" y="332"/>
                  <a:pt x="185" y="333"/>
                  <a:pt x="187" y="333"/>
                </a:cubicBezTo>
                <a:cubicBezTo>
                  <a:pt x="187" y="333"/>
                  <a:pt x="188" y="330"/>
                  <a:pt x="188" y="330"/>
                </a:cubicBezTo>
                <a:cubicBezTo>
                  <a:pt x="190" y="330"/>
                  <a:pt x="190" y="331"/>
                  <a:pt x="192" y="331"/>
                </a:cubicBezTo>
                <a:cubicBezTo>
                  <a:pt x="190" y="332"/>
                  <a:pt x="192" y="335"/>
                  <a:pt x="192" y="335"/>
                </a:cubicBezTo>
                <a:cubicBezTo>
                  <a:pt x="191" y="336"/>
                  <a:pt x="190" y="334"/>
                  <a:pt x="188" y="334"/>
                </a:cubicBezTo>
                <a:cubicBezTo>
                  <a:pt x="188" y="334"/>
                  <a:pt x="188" y="336"/>
                  <a:pt x="188" y="336"/>
                </a:cubicBezTo>
                <a:cubicBezTo>
                  <a:pt x="189" y="336"/>
                  <a:pt x="189" y="337"/>
                  <a:pt x="189" y="338"/>
                </a:cubicBezTo>
                <a:cubicBezTo>
                  <a:pt x="185" y="339"/>
                  <a:pt x="184" y="338"/>
                  <a:pt x="181" y="339"/>
                </a:cubicBezTo>
                <a:cubicBezTo>
                  <a:pt x="181" y="341"/>
                  <a:pt x="181" y="341"/>
                  <a:pt x="181" y="341"/>
                </a:cubicBezTo>
                <a:cubicBezTo>
                  <a:pt x="182" y="341"/>
                  <a:pt x="184" y="340"/>
                  <a:pt x="186" y="341"/>
                </a:cubicBezTo>
                <a:cubicBezTo>
                  <a:pt x="186" y="342"/>
                  <a:pt x="186" y="342"/>
                  <a:pt x="186" y="342"/>
                </a:cubicBezTo>
                <a:cubicBezTo>
                  <a:pt x="184" y="342"/>
                  <a:pt x="183" y="342"/>
                  <a:pt x="182" y="342"/>
                </a:cubicBezTo>
                <a:cubicBezTo>
                  <a:pt x="182" y="342"/>
                  <a:pt x="179" y="344"/>
                  <a:pt x="181" y="343"/>
                </a:cubicBezTo>
                <a:cubicBezTo>
                  <a:pt x="181" y="344"/>
                  <a:pt x="184" y="347"/>
                  <a:pt x="183" y="345"/>
                </a:cubicBezTo>
                <a:cubicBezTo>
                  <a:pt x="183" y="345"/>
                  <a:pt x="184" y="341"/>
                  <a:pt x="183" y="347"/>
                </a:cubicBezTo>
                <a:cubicBezTo>
                  <a:pt x="182" y="350"/>
                  <a:pt x="184" y="349"/>
                  <a:pt x="188" y="349"/>
                </a:cubicBezTo>
                <a:cubicBezTo>
                  <a:pt x="187" y="349"/>
                  <a:pt x="187" y="352"/>
                  <a:pt x="187" y="352"/>
                </a:cubicBezTo>
                <a:cubicBezTo>
                  <a:pt x="185" y="351"/>
                  <a:pt x="186" y="354"/>
                  <a:pt x="186" y="354"/>
                </a:cubicBezTo>
                <a:cubicBezTo>
                  <a:pt x="187" y="354"/>
                  <a:pt x="188" y="354"/>
                  <a:pt x="189" y="354"/>
                </a:cubicBezTo>
                <a:cubicBezTo>
                  <a:pt x="186" y="355"/>
                  <a:pt x="189" y="358"/>
                  <a:pt x="188" y="358"/>
                </a:cubicBezTo>
                <a:cubicBezTo>
                  <a:pt x="188" y="358"/>
                  <a:pt x="190" y="358"/>
                  <a:pt x="189" y="357"/>
                </a:cubicBezTo>
                <a:cubicBezTo>
                  <a:pt x="189" y="357"/>
                  <a:pt x="190" y="356"/>
                  <a:pt x="190" y="356"/>
                </a:cubicBezTo>
                <a:cubicBezTo>
                  <a:pt x="190" y="356"/>
                  <a:pt x="192" y="356"/>
                  <a:pt x="194" y="355"/>
                </a:cubicBezTo>
                <a:cubicBezTo>
                  <a:pt x="192" y="360"/>
                  <a:pt x="191" y="364"/>
                  <a:pt x="198" y="361"/>
                </a:cubicBezTo>
                <a:cubicBezTo>
                  <a:pt x="197" y="361"/>
                  <a:pt x="196" y="366"/>
                  <a:pt x="197" y="367"/>
                </a:cubicBezTo>
                <a:cubicBezTo>
                  <a:pt x="199" y="368"/>
                  <a:pt x="200" y="365"/>
                  <a:pt x="202" y="364"/>
                </a:cubicBezTo>
                <a:cubicBezTo>
                  <a:pt x="203" y="364"/>
                  <a:pt x="204" y="364"/>
                  <a:pt x="205" y="364"/>
                </a:cubicBezTo>
                <a:cubicBezTo>
                  <a:pt x="205" y="364"/>
                  <a:pt x="203" y="368"/>
                  <a:pt x="204" y="368"/>
                </a:cubicBezTo>
                <a:cubicBezTo>
                  <a:pt x="202" y="368"/>
                  <a:pt x="205" y="369"/>
                  <a:pt x="205" y="369"/>
                </a:cubicBezTo>
                <a:cubicBezTo>
                  <a:pt x="206" y="369"/>
                  <a:pt x="207" y="368"/>
                  <a:pt x="208" y="367"/>
                </a:cubicBezTo>
                <a:cubicBezTo>
                  <a:pt x="208" y="368"/>
                  <a:pt x="208" y="369"/>
                  <a:pt x="208" y="369"/>
                </a:cubicBezTo>
                <a:cubicBezTo>
                  <a:pt x="208" y="370"/>
                  <a:pt x="206" y="371"/>
                  <a:pt x="206" y="371"/>
                </a:cubicBezTo>
                <a:cubicBezTo>
                  <a:pt x="205" y="374"/>
                  <a:pt x="211" y="369"/>
                  <a:pt x="209" y="375"/>
                </a:cubicBezTo>
                <a:cubicBezTo>
                  <a:pt x="209" y="375"/>
                  <a:pt x="208" y="378"/>
                  <a:pt x="208" y="377"/>
                </a:cubicBezTo>
                <a:cubicBezTo>
                  <a:pt x="207" y="378"/>
                  <a:pt x="210" y="378"/>
                  <a:pt x="210" y="378"/>
                </a:cubicBezTo>
                <a:cubicBezTo>
                  <a:pt x="211" y="378"/>
                  <a:pt x="211" y="376"/>
                  <a:pt x="211" y="376"/>
                </a:cubicBezTo>
                <a:cubicBezTo>
                  <a:pt x="211" y="376"/>
                  <a:pt x="214" y="376"/>
                  <a:pt x="213" y="377"/>
                </a:cubicBezTo>
                <a:cubicBezTo>
                  <a:pt x="213" y="377"/>
                  <a:pt x="215" y="377"/>
                  <a:pt x="213" y="377"/>
                </a:cubicBezTo>
                <a:cubicBezTo>
                  <a:pt x="213" y="377"/>
                  <a:pt x="210" y="378"/>
                  <a:pt x="213" y="378"/>
                </a:cubicBezTo>
                <a:cubicBezTo>
                  <a:pt x="211" y="379"/>
                  <a:pt x="211" y="378"/>
                  <a:pt x="209" y="379"/>
                </a:cubicBezTo>
                <a:cubicBezTo>
                  <a:pt x="209" y="380"/>
                  <a:pt x="209" y="380"/>
                  <a:pt x="209" y="380"/>
                </a:cubicBezTo>
                <a:cubicBezTo>
                  <a:pt x="210" y="380"/>
                  <a:pt x="212" y="380"/>
                  <a:pt x="213" y="380"/>
                </a:cubicBezTo>
                <a:cubicBezTo>
                  <a:pt x="213" y="380"/>
                  <a:pt x="213" y="382"/>
                  <a:pt x="212" y="382"/>
                </a:cubicBezTo>
                <a:cubicBezTo>
                  <a:pt x="212" y="382"/>
                  <a:pt x="212" y="384"/>
                  <a:pt x="212" y="385"/>
                </a:cubicBezTo>
                <a:cubicBezTo>
                  <a:pt x="217" y="385"/>
                  <a:pt x="216" y="383"/>
                  <a:pt x="215" y="388"/>
                </a:cubicBezTo>
                <a:cubicBezTo>
                  <a:pt x="215" y="387"/>
                  <a:pt x="217" y="388"/>
                  <a:pt x="217" y="388"/>
                </a:cubicBezTo>
                <a:cubicBezTo>
                  <a:pt x="217" y="388"/>
                  <a:pt x="218" y="386"/>
                  <a:pt x="219" y="385"/>
                </a:cubicBezTo>
                <a:cubicBezTo>
                  <a:pt x="219" y="385"/>
                  <a:pt x="219" y="385"/>
                  <a:pt x="219" y="385"/>
                </a:cubicBezTo>
                <a:cubicBezTo>
                  <a:pt x="221" y="384"/>
                  <a:pt x="221" y="386"/>
                  <a:pt x="221" y="386"/>
                </a:cubicBezTo>
                <a:cubicBezTo>
                  <a:pt x="222" y="386"/>
                  <a:pt x="226" y="384"/>
                  <a:pt x="226" y="384"/>
                </a:cubicBezTo>
                <a:cubicBezTo>
                  <a:pt x="227" y="383"/>
                  <a:pt x="229" y="379"/>
                  <a:pt x="230" y="378"/>
                </a:cubicBezTo>
                <a:cubicBezTo>
                  <a:pt x="230" y="378"/>
                  <a:pt x="231" y="379"/>
                  <a:pt x="231" y="379"/>
                </a:cubicBezTo>
                <a:cubicBezTo>
                  <a:pt x="231" y="381"/>
                  <a:pt x="231" y="382"/>
                  <a:pt x="230" y="384"/>
                </a:cubicBezTo>
                <a:cubicBezTo>
                  <a:pt x="233" y="383"/>
                  <a:pt x="233" y="384"/>
                  <a:pt x="231" y="385"/>
                </a:cubicBezTo>
                <a:cubicBezTo>
                  <a:pt x="227" y="387"/>
                  <a:pt x="231" y="386"/>
                  <a:pt x="234" y="387"/>
                </a:cubicBezTo>
                <a:cubicBezTo>
                  <a:pt x="234" y="386"/>
                  <a:pt x="234" y="386"/>
                  <a:pt x="235" y="386"/>
                </a:cubicBezTo>
                <a:cubicBezTo>
                  <a:pt x="235" y="386"/>
                  <a:pt x="234" y="389"/>
                  <a:pt x="234" y="389"/>
                </a:cubicBezTo>
                <a:cubicBezTo>
                  <a:pt x="235" y="390"/>
                  <a:pt x="235" y="389"/>
                  <a:pt x="235" y="390"/>
                </a:cubicBezTo>
                <a:cubicBezTo>
                  <a:pt x="235" y="390"/>
                  <a:pt x="237" y="389"/>
                  <a:pt x="237" y="389"/>
                </a:cubicBezTo>
                <a:cubicBezTo>
                  <a:pt x="238" y="389"/>
                  <a:pt x="238" y="388"/>
                  <a:pt x="238" y="387"/>
                </a:cubicBezTo>
                <a:cubicBezTo>
                  <a:pt x="239" y="387"/>
                  <a:pt x="239" y="387"/>
                  <a:pt x="239" y="387"/>
                </a:cubicBezTo>
                <a:cubicBezTo>
                  <a:pt x="240" y="387"/>
                  <a:pt x="239" y="388"/>
                  <a:pt x="241" y="389"/>
                </a:cubicBezTo>
                <a:cubicBezTo>
                  <a:pt x="242" y="388"/>
                  <a:pt x="243" y="387"/>
                  <a:pt x="243" y="387"/>
                </a:cubicBezTo>
                <a:cubicBezTo>
                  <a:pt x="243" y="387"/>
                  <a:pt x="244" y="389"/>
                  <a:pt x="243" y="390"/>
                </a:cubicBezTo>
                <a:cubicBezTo>
                  <a:pt x="243" y="390"/>
                  <a:pt x="241" y="391"/>
                  <a:pt x="241" y="391"/>
                </a:cubicBezTo>
                <a:cubicBezTo>
                  <a:pt x="240" y="392"/>
                  <a:pt x="241" y="393"/>
                  <a:pt x="240" y="394"/>
                </a:cubicBezTo>
                <a:cubicBezTo>
                  <a:pt x="239" y="395"/>
                  <a:pt x="244" y="391"/>
                  <a:pt x="245" y="390"/>
                </a:cubicBezTo>
                <a:cubicBezTo>
                  <a:pt x="245" y="391"/>
                  <a:pt x="243" y="396"/>
                  <a:pt x="245" y="395"/>
                </a:cubicBezTo>
                <a:cubicBezTo>
                  <a:pt x="244" y="396"/>
                  <a:pt x="246" y="395"/>
                  <a:pt x="247" y="395"/>
                </a:cubicBezTo>
                <a:cubicBezTo>
                  <a:pt x="247" y="394"/>
                  <a:pt x="247" y="393"/>
                  <a:pt x="247" y="391"/>
                </a:cubicBezTo>
                <a:cubicBezTo>
                  <a:pt x="249" y="391"/>
                  <a:pt x="249" y="391"/>
                  <a:pt x="249" y="391"/>
                </a:cubicBezTo>
                <a:cubicBezTo>
                  <a:pt x="248" y="392"/>
                  <a:pt x="249" y="392"/>
                  <a:pt x="249" y="393"/>
                </a:cubicBezTo>
                <a:cubicBezTo>
                  <a:pt x="249" y="393"/>
                  <a:pt x="248" y="394"/>
                  <a:pt x="248" y="394"/>
                </a:cubicBezTo>
                <a:cubicBezTo>
                  <a:pt x="248" y="394"/>
                  <a:pt x="248" y="395"/>
                  <a:pt x="248" y="396"/>
                </a:cubicBezTo>
                <a:cubicBezTo>
                  <a:pt x="248" y="396"/>
                  <a:pt x="253" y="399"/>
                  <a:pt x="253" y="399"/>
                </a:cubicBezTo>
                <a:cubicBezTo>
                  <a:pt x="254" y="399"/>
                  <a:pt x="254" y="397"/>
                  <a:pt x="255" y="397"/>
                </a:cubicBezTo>
                <a:cubicBezTo>
                  <a:pt x="255" y="397"/>
                  <a:pt x="256" y="397"/>
                  <a:pt x="257" y="397"/>
                </a:cubicBezTo>
                <a:cubicBezTo>
                  <a:pt x="257" y="397"/>
                  <a:pt x="256" y="396"/>
                  <a:pt x="256" y="396"/>
                </a:cubicBezTo>
                <a:cubicBezTo>
                  <a:pt x="256" y="396"/>
                  <a:pt x="258" y="395"/>
                  <a:pt x="259" y="395"/>
                </a:cubicBezTo>
                <a:cubicBezTo>
                  <a:pt x="258" y="395"/>
                  <a:pt x="258" y="394"/>
                  <a:pt x="258" y="393"/>
                </a:cubicBezTo>
                <a:cubicBezTo>
                  <a:pt x="257" y="393"/>
                  <a:pt x="254" y="393"/>
                  <a:pt x="256" y="391"/>
                </a:cubicBezTo>
                <a:cubicBezTo>
                  <a:pt x="258" y="390"/>
                  <a:pt x="258" y="390"/>
                  <a:pt x="256" y="389"/>
                </a:cubicBezTo>
                <a:cubicBezTo>
                  <a:pt x="255" y="387"/>
                  <a:pt x="255" y="387"/>
                  <a:pt x="255" y="387"/>
                </a:cubicBezTo>
                <a:cubicBezTo>
                  <a:pt x="254" y="387"/>
                  <a:pt x="253" y="387"/>
                  <a:pt x="252" y="387"/>
                </a:cubicBezTo>
                <a:cubicBezTo>
                  <a:pt x="252" y="385"/>
                  <a:pt x="252" y="385"/>
                  <a:pt x="252" y="385"/>
                </a:cubicBezTo>
                <a:cubicBezTo>
                  <a:pt x="253" y="385"/>
                  <a:pt x="254" y="386"/>
                  <a:pt x="256" y="386"/>
                </a:cubicBezTo>
                <a:cubicBezTo>
                  <a:pt x="256" y="386"/>
                  <a:pt x="257" y="384"/>
                  <a:pt x="256" y="384"/>
                </a:cubicBezTo>
                <a:cubicBezTo>
                  <a:pt x="258" y="383"/>
                  <a:pt x="258" y="383"/>
                  <a:pt x="258" y="383"/>
                </a:cubicBezTo>
                <a:cubicBezTo>
                  <a:pt x="258" y="381"/>
                  <a:pt x="257" y="381"/>
                  <a:pt x="257" y="379"/>
                </a:cubicBezTo>
                <a:cubicBezTo>
                  <a:pt x="261" y="377"/>
                  <a:pt x="261" y="377"/>
                  <a:pt x="261" y="377"/>
                </a:cubicBezTo>
                <a:cubicBezTo>
                  <a:pt x="261" y="374"/>
                  <a:pt x="260" y="374"/>
                  <a:pt x="259" y="373"/>
                </a:cubicBezTo>
                <a:cubicBezTo>
                  <a:pt x="260" y="372"/>
                  <a:pt x="261" y="372"/>
                  <a:pt x="262" y="372"/>
                </a:cubicBezTo>
                <a:cubicBezTo>
                  <a:pt x="262" y="371"/>
                  <a:pt x="263" y="369"/>
                  <a:pt x="264" y="368"/>
                </a:cubicBezTo>
                <a:cubicBezTo>
                  <a:pt x="265" y="367"/>
                  <a:pt x="262" y="366"/>
                  <a:pt x="262" y="366"/>
                </a:cubicBezTo>
                <a:cubicBezTo>
                  <a:pt x="262" y="365"/>
                  <a:pt x="262" y="363"/>
                  <a:pt x="263" y="361"/>
                </a:cubicBezTo>
                <a:cubicBezTo>
                  <a:pt x="263" y="361"/>
                  <a:pt x="264" y="361"/>
                  <a:pt x="265" y="361"/>
                </a:cubicBezTo>
                <a:cubicBezTo>
                  <a:pt x="264" y="363"/>
                  <a:pt x="265" y="362"/>
                  <a:pt x="266" y="362"/>
                </a:cubicBezTo>
                <a:cubicBezTo>
                  <a:pt x="266" y="361"/>
                  <a:pt x="266" y="360"/>
                  <a:pt x="267" y="359"/>
                </a:cubicBezTo>
                <a:cubicBezTo>
                  <a:pt x="266" y="359"/>
                  <a:pt x="267" y="358"/>
                  <a:pt x="267" y="357"/>
                </a:cubicBezTo>
                <a:cubicBezTo>
                  <a:pt x="266" y="357"/>
                  <a:pt x="265" y="358"/>
                  <a:pt x="265" y="357"/>
                </a:cubicBezTo>
                <a:cubicBezTo>
                  <a:pt x="264" y="357"/>
                  <a:pt x="265" y="356"/>
                  <a:pt x="265" y="355"/>
                </a:cubicBezTo>
                <a:cubicBezTo>
                  <a:pt x="266" y="355"/>
                  <a:pt x="265" y="355"/>
                  <a:pt x="266" y="353"/>
                </a:cubicBezTo>
                <a:cubicBezTo>
                  <a:pt x="268" y="354"/>
                  <a:pt x="269" y="354"/>
                  <a:pt x="271" y="355"/>
                </a:cubicBezTo>
                <a:cubicBezTo>
                  <a:pt x="271" y="355"/>
                  <a:pt x="270" y="354"/>
                  <a:pt x="271" y="352"/>
                </a:cubicBezTo>
                <a:cubicBezTo>
                  <a:pt x="272" y="351"/>
                  <a:pt x="272" y="351"/>
                  <a:pt x="272" y="351"/>
                </a:cubicBezTo>
                <a:cubicBezTo>
                  <a:pt x="272" y="348"/>
                  <a:pt x="271" y="348"/>
                  <a:pt x="269" y="345"/>
                </a:cubicBezTo>
                <a:cubicBezTo>
                  <a:pt x="270" y="345"/>
                  <a:pt x="271" y="345"/>
                  <a:pt x="271" y="345"/>
                </a:cubicBezTo>
                <a:cubicBezTo>
                  <a:pt x="272" y="345"/>
                  <a:pt x="273" y="347"/>
                  <a:pt x="273" y="347"/>
                </a:cubicBezTo>
                <a:cubicBezTo>
                  <a:pt x="277" y="348"/>
                  <a:pt x="277" y="345"/>
                  <a:pt x="275" y="345"/>
                </a:cubicBezTo>
                <a:cubicBezTo>
                  <a:pt x="276" y="341"/>
                  <a:pt x="276" y="340"/>
                  <a:pt x="278" y="337"/>
                </a:cubicBezTo>
                <a:cubicBezTo>
                  <a:pt x="275" y="336"/>
                  <a:pt x="273" y="336"/>
                  <a:pt x="271" y="335"/>
                </a:cubicBezTo>
                <a:cubicBezTo>
                  <a:pt x="271" y="334"/>
                  <a:pt x="271" y="334"/>
                  <a:pt x="271" y="334"/>
                </a:cubicBezTo>
                <a:cubicBezTo>
                  <a:pt x="271" y="334"/>
                  <a:pt x="274" y="335"/>
                  <a:pt x="273" y="335"/>
                </a:cubicBezTo>
                <a:cubicBezTo>
                  <a:pt x="275" y="335"/>
                  <a:pt x="277" y="335"/>
                  <a:pt x="279" y="335"/>
                </a:cubicBezTo>
                <a:cubicBezTo>
                  <a:pt x="280" y="328"/>
                  <a:pt x="280" y="329"/>
                  <a:pt x="277" y="324"/>
                </a:cubicBezTo>
                <a:cubicBezTo>
                  <a:pt x="275" y="323"/>
                  <a:pt x="275" y="323"/>
                  <a:pt x="275" y="323"/>
                </a:cubicBezTo>
                <a:cubicBezTo>
                  <a:pt x="275" y="321"/>
                  <a:pt x="275" y="321"/>
                  <a:pt x="275" y="321"/>
                </a:cubicBezTo>
                <a:cubicBezTo>
                  <a:pt x="277" y="322"/>
                  <a:pt x="277" y="321"/>
                  <a:pt x="278" y="321"/>
                </a:cubicBezTo>
                <a:cubicBezTo>
                  <a:pt x="275" y="321"/>
                  <a:pt x="279" y="321"/>
                  <a:pt x="279" y="321"/>
                </a:cubicBezTo>
                <a:cubicBezTo>
                  <a:pt x="278" y="321"/>
                  <a:pt x="281" y="321"/>
                  <a:pt x="281" y="321"/>
                </a:cubicBezTo>
                <a:cubicBezTo>
                  <a:pt x="282" y="321"/>
                  <a:pt x="283" y="319"/>
                  <a:pt x="283" y="319"/>
                </a:cubicBezTo>
                <a:cubicBezTo>
                  <a:pt x="283" y="318"/>
                  <a:pt x="283" y="315"/>
                  <a:pt x="283" y="316"/>
                </a:cubicBezTo>
                <a:cubicBezTo>
                  <a:pt x="283" y="315"/>
                  <a:pt x="283" y="315"/>
                  <a:pt x="283" y="315"/>
                </a:cubicBezTo>
                <a:cubicBezTo>
                  <a:pt x="284" y="314"/>
                  <a:pt x="287" y="315"/>
                  <a:pt x="288" y="315"/>
                </a:cubicBezTo>
                <a:cubicBezTo>
                  <a:pt x="289" y="315"/>
                  <a:pt x="290" y="315"/>
                  <a:pt x="290" y="315"/>
                </a:cubicBezTo>
                <a:cubicBezTo>
                  <a:pt x="290" y="315"/>
                  <a:pt x="285" y="315"/>
                  <a:pt x="290" y="314"/>
                </a:cubicBezTo>
                <a:cubicBezTo>
                  <a:pt x="292" y="314"/>
                  <a:pt x="294" y="316"/>
                  <a:pt x="297" y="315"/>
                </a:cubicBezTo>
                <a:cubicBezTo>
                  <a:pt x="299" y="314"/>
                  <a:pt x="299" y="312"/>
                  <a:pt x="301" y="311"/>
                </a:cubicBezTo>
                <a:cubicBezTo>
                  <a:pt x="302" y="311"/>
                  <a:pt x="303" y="311"/>
                  <a:pt x="304" y="311"/>
                </a:cubicBezTo>
                <a:cubicBezTo>
                  <a:pt x="305" y="313"/>
                  <a:pt x="305" y="314"/>
                  <a:pt x="306" y="315"/>
                </a:cubicBezTo>
                <a:cubicBezTo>
                  <a:pt x="307" y="317"/>
                  <a:pt x="307" y="317"/>
                  <a:pt x="307" y="317"/>
                </a:cubicBezTo>
                <a:cubicBezTo>
                  <a:pt x="307" y="317"/>
                  <a:pt x="309" y="317"/>
                  <a:pt x="307" y="316"/>
                </a:cubicBezTo>
                <a:cubicBezTo>
                  <a:pt x="307" y="316"/>
                  <a:pt x="309" y="316"/>
                  <a:pt x="308" y="315"/>
                </a:cubicBezTo>
                <a:cubicBezTo>
                  <a:pt x="308" y="315"/>
                  <a:pt x="310" y="314"/>
                  <a:pt x="310" y="313"/>
                </a:cubicBezTo>
                <a:cubicBezTo>
                  <a:pt x="311" y="312"/>
                  <a:pt x="311" y="312"/>
                  <a:pt x="311" y="310"/>
                </a:cubicBezTo>
                <a:cubicBezTo>
                  <a:pt x="312" y="310"/>
                  <a:pt x="314" y="310"/>
                  <a:pt x="316" y="310"/>
                </a:cubicBezTo>
                <a:cubicBezTo>
                  <a:pt x="316" y="311"/>
                  <a:pt x="315" y="311"/>
                  <a:pt x="316" y="311"/>
                </a:cubicBezTo>
                <a:cubicBezTo>
                  <a:pt x="316" y="313"/>
                  <a:pt x="316" y="313"/>
                  <a:pt x="316" y="313"/>
                </a:cubicBezTo>
                <a:cubicBezTo>
                  <a:pt x="318" y="313"/>
                  <a:pt x="318" y="313"/>
                  <a:pt x="318" y="313"/>
                </a:cubicBezTo>
                <a:cubicBezTo>
                  <a:pt x="318" y="312"/>
                  <a:pt x="320" y="310"/>
                  <a:pt x="320" y="309"/>
                </a:cubicBezTo>
                <a:cubicBezTo>
                  <a:pt x="320" y="308"/>
                  <a:pt x="319" y="307"/>
                  <a:pt x="319" y="307"/>
                </a:cubicBezTo>
                <a:cubicBezTo>
                  <a:pt x="320" y="306"/>
                  <a:pt x="322" y="306"/>
                  <a:pt x="323" y="305"/>
                </a:cubicBezTo>
                <a:cubicBezTo>
                  <a:pt x="324" y="304"/>
                  <a:pt x="323" y="301"/>
                  <a:pt x="325" y="299"/>
                </a:cubicBezTo>
                <a:cubicBezTo>
                  <a:pt x="326" y="299"/>
                  <a:pt x="327" y="300"/>
                  <a:pt x="328" y="299"/>
                </a:cubicBezTo>
                <a:cubicBezTo>
                  <a:pt x="329" y="299"/>
                  <a:pt x="330" y="297"/>
                  <a:pt x="331" y="296"/>
                </a:cubicBezTo>
                <a:cubicBezTo>
                  <a:pt x="333" y="295"/>
                  <a:pt x="335" y="295"/>
                  <a:pt x="337" y="294"/>
                </a:cubicBezTo>
                <a:cubicBezTo>
                  <a:pt x="339" y="293"/>
                  <a:pt x="341" y="286"/>
                  <a:pt x="344" y="286"/>
                </a:cubicBezTo>
                <a:cubicBezTo>
                  <a:pt x="345" y="285"/>
                  <a:pt x="346" y="287"/>
                  <a:pt x="347" y="286"/>
                </a:cubicBezTo>
                <a:cubicBezTo>
                  <a:pt x="348" y="285"/>
                  <a:pt x="348" y="285"/>
                  <a:pt x="348" y="285"/>
                </a:cubicBezTo>
                <a:cubicBezTo>
                  <a:pt x="349" y="283"/>
                  <a:pt x="349" y="283"/>
                  <a:pt x="349" y="283"/>
                </a:cubicBezTo>
                <a:cubicBezTo>
                  <a:pt x="350" y="277"/>
                  <a:pt x="347" y="279"/>
                  <a:pt x="346" y="278"/>
                </a:cubicBezTo>
                <a:cubicBezTo>
                  <a:pt x="345" y="276"/>
                  <a:pt x="345" y="272"/>
                  <a:pt x="344" y="270"/>
                </a:cubicBezTo>
                <a:cubicBezTo>
                  <a:pt x="347" y="276"/>
                  <a:pt x="353" y="279"/>
                  <a:pt x="360" y="278"/>
                </a:cubicBezTo>
                <a:cubicBezTo>
                  <a:pt x="360" y="277"/>
                  <a:pt x="360" y="277"/>
                  <a:pt x="360" y="277"/>
                </a:cubicBezTo>
                <a:cubicBezTo>
                  <a:pt x="362" y="276"/>
                  <a:pt x="363" y="277"/>
                  <a:pt x="364" y="276"/>
                </a:cubicBezTo>
                <a:cubicBezTo>
                  <a:pt x="365" y="276"/>
                  <a:pt x="364" y="273"/>
                  <a:pt x="364" y="273"/>
                </a:cubicBezTo>
                <a:cubicBezTo>
                  <a:pt x="365" y="273"/>
                  <a:pt x="366" y="273"/>
                  <a:pt x="366" y="273"/>
                </a:cubicBezTo>
                <a:cubicBezTo>
                  <a:pt x="367" y="273"/>
                  <a:pt x="367" y="274"/>
                  <a:pt x="367" y="276"/>
                </a:cubicBezTo>
                <a:cubicBezTo>
                  <a:pt x="367" y="275"/>
                  <a:pt x="371" y="274"/>
                  <a:pt x="370" y="274"/>
                </a:cubicBezTo>
                <a:cubicBezTo>
                  <a:pt x="371" y="274"/>
                  <a:pt x="372" y="274"/>
                  <a:pt x="372" y="274"/>
                </a:cubicBezTo>
                <a:cubicBezTo>
                  <a:pt x="373" y="274"/>
                  <a:pt x="372" y="272"/>
                  <a:pt x="373" y="272"/>
                </a:cubicBezTo>
                <a:cubicBezTo>
                  <a:pt x="374" y="272"/>
                  <a:pt x="374" y="271"/>
                  <a:pt x="375" y="272"/>
                </a:cubicBezTo>
                <a:cubicBezTo>
                  <a:pt x="375" y="272"/>
                  <a:pt x="376" y="273"/>
                  <a:pt x="376" y="274"/>
                </a:cubicBezTo>
                <a:cubicBezTo>
                  <a:pt x="380" y="272"/>
                  <a:pt x="379" y="273"/>
                  <a:pt x="383" y="273"/>
                </a:cubicBezTo>
                <a:cubicBezTo>
                  <a:pt x="384" y="271"/>
                  <a:pt x="384" y="271"/>
                  <a:pt x="384" y="271"/>
                </a:cubicBezTo>
                <a:cubicBezTo>
                  <a:pt x="385" y="270"/>
                  <a:pt x="385" y="272"/>
                  <a:pt x="386" y="272"/>
                </a:cubicBezTo>
                <a:cubicBezTo>
                  <a:pt x="387" y="271"/>
                  <a:pt x="388" y="269"/>
                  <a:pt x="390" y="269"/>
                </a:cubicBezTo>
                <a:cubicBezTo>
                  <a:pt x="391" y="269"/>
                  <a:pt x="392" y="269"/>
                  <a:pt x="393" y="269"/>
                </a:cubicBezTo>
                <a:cubicBezTo>
                  <a:pt x="395" y="269"/>
                  <a:pt x="398" y="267"/>
                  <a:pt x="400" y="266"/>
                </a:cubicBezTo>
                <a:cubicBezTo>
                  <a:pt x="400" y="262"/>
                  <a:pt x="400" y="262"/>
                  <a:pt x="400" y="262"/>
                </a:cubicBezTo>
                <a:cubicBezTo>
                  <a:pt x="401" y="261"/>
                  <a:pt x="402" y="263"/>
                  <a:pt x="402" y="264"/>
                </a:cubicBezTo>
                <a:cubicBezTo>
                  <a:pt x="403" y="264"/>
                  <a:pt x="404" y="263"/>
                  <a:pt x="405" y="264"/>
                </a:cubicBezTo>
                <a:cubicBezTo>
                  <a:pt x="406" y="261"/>
                  <a:pt x="407" y="260"/>
                  <a:pt x="409" y="258"/>
                </a:cubicBezTo>
                <a:cubicBezTo>
                  <a:pt x="410" y="258"/>
                  <a:pt x="410" y="258"/>
                  <a:pt x="412" y="258"/>
                </a:cubicBezTo>
                <a:cubicBezTo>
                  <a:pt x="411" y="258"/>
                  <a:pt x="412" y="259"/>
                  <a:pt x="412" y="260"/>
                </a:cubicBezTo>
                <a:cubicBezTo>
                  <a:pt x="412" y="259"/>
                  <a:pt x="414" y="258"/>
                  <a:pt x="414" y="258"/>
                </a:cubicBezTo>
                <a:cubicBezTo>
                  <a:pt x="415" y="257"/>
                  <a:pt x="415" y="258"/>
                  <a:pt x="416" y="258"/>
                </a:cubicBezTo>
                <a:cubicBezTo>
                  <a:pt x="416" y="258"/>
                  <a:pt x="417" y="256"/>
                  <a:pt x="417" y="256"/>
                </a:cubicBezTo>
                <a:cubicBezTo>
                  <a:pt x="419" y="255"/>
                  <a:pt x="419" y="256"/>
                  <a:pt x="421" y="256"/>
                </a:cubicBezTo>
                <a:cubicBezTo>
                  <a:pt x="422" y="256"/>
                  <a:pt x="424" y="254"/>
                  <a:pt x="424" y="254"/>
                </a:cubicBezTo>
                <a:cubicBezTo>
                  <a:pt x="425" y="254"/>
                  <a:pt x="427" y="254"/>
                  <a:pt x="428" y="254"/>
                </a:cubicBezTo>
                <a:cubicBezTo>
                  <a:pt x="427" y="250"/>
                  <a:pt x="428" y="250"/>
                  <a:pt x="432" y="250"/>
                </a:cubicBezTo>
                <a:cubicBezTo>
                  <a:pt x="432" y="249"/>
                  <a:pt x="432" y="248"/>
                  <a:pt x="431" y="247"/>
                </a:cubicBezTo>
                <a:cubicBezTo>
                  <a:pt x="432" y="246"/>
                  <a:pt x="434" y="245"/>
                  <a:pt x="434" y="244"/>
                </a:cubicBezTo>
                <a:cubicBezTo>
                  <a:pt x="436" y="244"/>
                  <a:pt x="437" y="244"/>
                  <a:pt x="438" y="244"/>
                </a:cubicBezTo>
                <a:cubicBezTo>
                  <a:pt x="439" y="243"/>
                  <a:pt x="439" y="241"/>
                  <a:pt x="439" y="241"/>
                </a:cubicBezTo>
                <a:cubicBezTo>
                  <a:pt x="434" y="242"/>
                  <a:pt x="429" y="242"/>
                  <a:pt x="425" y="240"/>
                </a:cubicBezTo>
                <a:cubicBezTo>
                  <a:pt x="424" y="240"/>
                  <a:pt x="422" y="238"/>
                  <a:pt x="421" y="238"/>
                </a:cubicBezTo>
                <a:cubicBezTo>
                  <a:pt x="419" y="238"/>
                  <a:pt x="420" y="239"/>
                  <a:pt x="418" y="238"/>
                </a:cubicBezTo>
                <a:cubicBezTo>
                  <a:pt x="418" y="237"/>
                  <a:pt x="418" y="237"/>
                  <a:pt x="418" y="237"/>
                </a:cubicBezTo>
                <a:cubicBezTo>
                  <a:pt x="414" y="237"/>
                  <a:pt x="412" y="240"/>
                  <a:pt x="410" y="240"/>
                </a:cubicBezTo>
                <a:cubicBezTo>
                  <a:pt x="405" y="241"/>
                  <a:pt x="403" y="240"/>
                  <a:pt x="399" y="240"/>
                </a:cubicBezTo>
                <a:cubicBezTo>
                  <a:pt x="411" y="232"/>
                  <a:pt x="389" y="236"/>
                  <a:pt x="384" y="237"/>
                </a:cubicBezTo>
                <a:cubicBezTo>
                  <a:pt x="384" y="235"/>
                  <a:pt x="383" y="234"/>
                  <a:pt x="382" y="232"/>
                </a:cubicBezTo>
                <a:cubicBezTo>
                  <a:pt x="383" y="232"/>
                  <a:pt x="383" y="232"/>
                  <a:pt x="383" y="231"/>
                </a:cubicBezTo>
                <a:cubicBezTo>
                  <a:pt x="384" y="232"/>
                  <a:pt x="385" y="230"/>
                  <a:pt x="385" y="230"/>
                </a:cubicBezTo>
                <a:cubicBezTo>
                  <a:pt x="385" y="232"/>
                  <a:pt x="385" y="235"/>
                  <a:pt x="386" y="236"/>
                </a:cubicBezTo>
                <a:cubicBezTo>
                  <a:pt x="391" y="234"/>
                  <a:pt x="397" y="233"/>
                  <a:pt x="403" y="234"/>
                </a:cubicBezTo>
                <a:cubicBezTo>
                  <a:pt x="403" y="234"/>
                  <a:pt x="406" y="236"/>
                  <a:pt x="408" y="235"/>
                </a:cubicBezTo>
                <a:cubicBezTo>
                  <a:pt x="408" y="235"/>
                  <a:pt x="409" y="234"/>
                  <a:pt x="410" y="234"/>
                </a:cubicBezTo>
                <a:cubicBezTo>
                  <a:pt x="409" y="232"/>
                  <a:pt x="409" y="230"/>
                  <a:pt x="408" y="228"/>
                </a:cubicBezTo>
                <a:cubicBezTo>
                  <a:pt x="402" y="230"/>
                  <a:pt x="399" y="229"/>
                  <a:pt x="392" y="230"/>
                </a:cubicBezTo>
                <a:cubicBezTo>
                  <a:pt x="391" y="230"/>
                  <a:pt x="383" y="232"/>
                  <a:pt x="386" y="229"/>
                </a:cubicBezTo>
                <a:cubicBezTo>
                  <a:pt x="386" y="229"/>
                  <a:pt x="388" y="227"/>
                  <a:pt x="388" y="227"/>
                </a:cubicBezTo>
                <a:cubicBezTo>
                  <a:pt x="388" y="226"/>
                  <a:pt x="388" y="226"/>
                  <a:pt x="388" y="226"/>
                </a:cubicBezTo>
                <a:cubicBezTo>
                  <a:pt x="390" y="226"/>
                  <a:pt x="390" y="227"/>
                  <a:pt x="391" y="228"/>
                </a:cubicBezTo>
                <a:cubicBezTo>
                  <a:pt x="394" y="228"/>
                  <a:pt x="400" y="229"/>
                  <a:pt x="402" y="228"/>
                </a:cubicBezTo>
                <a:cubicBezTo>
                  <a:pt x="403" y="228"/>
                  <a:pt x="405" y="226"/>
                  <a:pt x="405" y="226"/>
                </a:cubicBezTo>
                <a:cubicBezTo>
                  <a:pt x="407" y="226"/>
                  <a:pt x="409" y="226"/>
                  <a:pt x="411" y="226"/>
                </a:cubicBezTo>
                <a:cubicBezTo>
                  <a:pt x="411" y="225"/>
                  <a:pt x="411" y="225"/>
                  <a:pt x="411" y="225"/>
                </a:cubicBezTo>
                <a:cubicBezTo>
                  <a:pt x="410" y="224"/>
                  <a:pt x="410" y="224"/>
                  <a:pt x="410" y="222"/>
                </a:cubicBezTo>
                <a:cubicBezTo>
                  <a:pt x="408" y="222"/>
                  <a:pt x="405" y="222"/>
                  <a:pt x="404" y="221"/>
                </a:cubicBezTo>
                <a:cubicBezTo>
                  <a:pt x="403" y="219"/>
                  <a:pt x="403" y="219"/>
                  <a:pt x="403" y="219"/>
                </a:cubicBezTo>
                <a:cubicBezTo>
                  <a:pt x="397" y="220"/>
                  <a:pt x="390" y="220"/>
                  <a:pt x="384" y="221"/>
                </a:cubicBezTo>
                <a:cubicBezTo>
                  <a:pt x="384" y="220"/>
                  <a:pt x="384" y="220"/>
                  <a:pt x="384" y="220"/>
                </a:cubicBezTo>
                <a:cubicBezTo>
                  <a:pt x="385" y="219"/>
                  <a:pt x="386" y="219"/>
                  <a:pt x="388" y="219"/>
                </a:cubicBezTo>
                <a:cubicBezTo>
                  <a:pt x="387" y="218"/>
                  <a:pt x="389" y="218"/>
                  <a:pt x="388" y="216"/>
                </a:cubicBezTo>
                <a:cubicBezTo>
                  <a:pt x="386" y="216"/>
                  <a:pt x="386" y="216"/>
                  <a:pt x="386" y="216"/>
                </a:cubicBezTo>
                <a:cubicBezTo>
                  <a:pt x="385" y="215"/>
                  <a:pt x="386" y="214"/>
                  <a:pt x="386" y="213"/>
                </a:cubicBezTo>
                <a:cubicBezTo>
                  <a:pt x="388" y="214"/>
                  <a:pt x="389" y="215"/>
                  <a:pt x="391" y="217"/>
                </a:cubicBezTo>
                <a:cubicBezTo>
                  <a:pt x="395" y="216"/>
                  <a:pt x="398" y="215"/>
                  <a:pt x="402" y="216"/>
                </a:cubicBezTo>
                <a:cubicBezTo>
                  <a:pt x="404" y="218"/>
                  <a:pt x="404" y="218"/>
                  <a:pt x="404" y="218"/>
                </a:cubicBezTo>
                <a:cubicBezTo>
                  <a:pt x="405" y="218"/>
                  <a:pt x="407" y="217"/>
                  <a:pt x="408" y="218"/>
                </a:cubicBezTo>
                <a:cubicBezTo>
                  <a:pt x="408" y="218"/>
                  <a:pt x="408" y="221"/>
                  <a:pt x="410" y="221"/>
                </a:cubicBezTo>
                <a:cubicBezTo>
                  <a:pt x="412" y="222"/>
                  <a:pt x="414" y="220"/>
                  <a:pt x="417" y="222"/>
                </a:cubicBezTo>
                <a:cubicBezTo>
                  <a:pt x="418" y="222"/>
                  <a:pt x="418" y="224"/>
                  <a:pt x="418" y="225"/>
                </a:cubicBezTo>
                <a:cubicBezTo>
                  <a:pt x="420" y="228"/>
                  <a:pt x="424" y="234"/>
                  <a:pt x="427" y="236"/>
                </a:cubicBezTo>
                <a:cubicBezTo>
                  <a:pt x="428" y="237"/>
                  <a:pt x="431" y="238"/>
                  <a:pt x="432" y="238"/>
                </a:cubicBezTo>
                <a:cubicBezTo>
                  <a:pt x="432" y="239"/>
                  <a:pt x="432" y="239"/>
                  <a:pt x="432" y="239"/>
                </a:cubicBezTo>
                <a:cubicBezTo>
                  <a:pt x="434" y="239"/>
                  <a:pt x="433" y="237"/>
                  <a:pt x="434" y="237"/>
                </a:cubicBezTo>
                <a:cubicBezTo>
                  <a:pt x="436" y="236"/>
                  <a:pt x="440" y="238"/>
                  <a:pt x="442" y="239"/>
                </a:cubicBezTo>
                <a:cubicBezTo>
                  <a:pt x="443" y="240"/>
                  <a:pt x="443" y="240"/>
                  <a:pt x="443" y="240"/>
                </a:cubicBezTo>
                <a:cubicBezTo>
                  <a:pt x="446" y="237"/>
                  <a:pt x="443" y="236"/>
                  <a:pt x="441" y="235"/>
                </a:cubicBezTo>
                <a:cubicBezTo>
                  <a:pt x="442" y="234"/>
                  <a:pt x="443" y="234"/>
                  <a:pt x="443" y="234"/>
                </a:cubicBezTo>
                <a:cubicBezTo>
                  <a:pt x="444" y="233"/>
                  <a:pt x="442" y="233"/>
                  <a:pt x="443" y="232"/>
                </a:cubicBezTo>
                <a:cubicBezTo>
                  <a:pt x="445" y="231"/>
                  <a:pt x="443" y="225"/>
                  <a:pt x="441" y="224"/>
                </a:cubicBezTo>
                <a:cubicBezTo>
                  <a:pt x="440" y="224"/>
                  <a:pt x="440" y="224"/>
                  <a:pt x="440" y="224"/>
                </a:cubicBezTo>
                <a:cubicBezTo>
                  <a:pt x="439" y="223"/>
                  <a:pt x="440" y="222"/>
                  <a:pt x="439" y="220"/>
                </a:cubicBezTo>
                <a:cubicBezTo>
                  <a:pt x="439" y="221"/>
                  <a:pt x="438" y="220"/>
                  <a:pt x="437" y="220"/>
                </a:cubicBezTo>
                <a:cubicBezTo>
                  <a:pt x="437" y="222"/>
                  <a:pt x="438" y="222"/>
                  <a:pt x="436" y="222"/>
                </a:cubicBezTo>
                <a:cubicBezTo>
                  <a:pt x="436" y="222"/>
                  <a:pt x="436" y="219"/>
                  <a:pt x="436" y="219"/>
                </a:cubicBezTo>
                <a:cubicBezTo>
                  <a:pt x="437" y="219"/>
                  <a:pt x="437" y="219"/>
                  <a:pt x="437" y="218"/>
                </a:cubicBezTo>
                <a:cubicBezTo>
                  <a:pt x="435" y="218"/>
                  <a:pt x="435" y="218"/>
                  <a:pt x="433" y="218"/>
                </a:cubicBezTo>
                <a:cubicBezTo>
                  <a:pt x="433" y="217"/>
                  <a:pt x="434" y="217"/>
                  <a:pt x="434" y="216"/>
                </a:cubicBezTo>
                <a:cubicBezTo>
                  <a:pt x="433" y="215"/>
                  <a:pt x="431" y="213"/>
                  <a:pt x="430" y="212"/>
                </a:cubicBezTo>
                <a:cubicBezTo>
                  <a:pt x="429" y="212"/>
                  <a:pt x="428" y="213"/>
                  <a:pt x="426" y="212"/>
                </a:cubicBezTo>
                <a:cubicBezTo>
                  <a:pt x="425" y="211"/>
                  <a:pt x="423" y="208"/>
                  <a:pt x="421" y="208"/>
                </a:cubicBezTo>
                <a:cubicBezTo>
                  <a:pt x="418" y="207"/>
                  <a:pt x="415" y="208"/>
                  <a:pt x="412" y="208"/>
                </a:cubicBezTo>
                <a:cubicBezTo>
                  <a:pt x="412" y="207"/>
                  <a:pt x="412" y="207"/>
                  <a:pt x="412" y="207"/>
                </a:cubicBezTo>
                <a:cubicBezTo>
                  <a:pt x="414" y="206"/>
                  <a:pt x="416" y="206"/>
                  <a:pt x="418" y="206"/>
                </a:cubicBezTo>
                <a:cubicBezTo>
                  <a:pt x="416" y="204"/>
                  <a:pt x="416" y="202"/>
                  <a:pt x="413" y="201"/>
                </a:cubicBezTo>
                <a:cubicBezTo>
                  <a:pt x="412" y="201"/>
                  <a:pt x="411" y="202"/>
                  <a:pt x="412" y="202"/>
                </a:cubicBezTo>
                <a:cubicBezTo>
                  <a:pt x="411" y="202"/>
                  <a:pt x="410" y="204"/>
                  <a:pt x="410" y="204"/>
                </a:cubicBezTo>
                <a:cubicBezTo>
                  <a:pt x="408" y="204"/>
                  <a:pt x="406" y="204"/>
                  <a:pt x="406" y="204"/>
                </a:cubicBezTo>
                <a:cubicBezTo>
                  <a:pt x="406" y="204"/>
                  <a:pt x="405" y="206"/>
                  <a:pt x="405" y="206"/>
                </a:cubicBezTo>
                <a:cubicBezTo>
                  <a:pt x="404" y="206"/>
                  <a:pt x="402" y="206"/>
                  <a:pt x="402" y="205"/>
                </a:cubicBezTo>
                <a:cubicBezTo>
                  <a:pt x="402" y="205"/>
                  <a:pt x="402" y="204"/>
                  <a:pt x="402" y="203"/>
                </a:cubicBezTo>
                <a:cubicBezTo>
                  <a:pt x="401" y="203"/>
                  <a:pt x="400" y="202"/>
                  <a:pt x="400" y="202"/>
                </a:cubicBezTo>
                <a:cubicBezTo>
                  <a:pt x="400" y="202"/>
                  <a:pt x="398" y="203"/>
                  <a:pt x="398" y="202"/>
                </a:cubicBezTo>
                <a:cubicBezTo>
                  <a:pt x="397" y="202"/>
                  <a:pt x="398" y="200"/>
                  <a:pt x="398" y="200"/>
                </a:cubicBezTo>
                <a:cubicBezTo>
                  <a:pt x="397" y="199"/>
                  <a:pt x="397" y="199"/>
                  <a:pt x="396" y="199"/>
                </a:cubicBezTo>
                <a:cubicBezTo>
                  <a:pt x="395" y="198"/>
                  <a:pt x="396" y="198"/>
                  <a:pt x="395" y="197"/>
                </a:cubicBezTo>
                <a:cubicBezTo>
                  <a:pt x="395" y="196"/>
                  <a:pt x="395" y="196"/>
                  <a:pt x="395" y="196"/>
                </a:cubicBezTo>
                <a:cubicBezTo>
                  <a:pt x="396" y="196"/>
                  <a:pt x="397" y="196"/>
                  <a:pt x="398" y="196"/>
                </a:cubicBezTo>
                <a:cubicBezTo>
                  <a:pt x="401" y="194"/>
                  <a:pt x="399" y="195"/>
                  <a:pt x="400" y="194"/>
                </a:cubicBezTo>
                <a:cubicBezTo>
                  <a:pt x="398" y="194"/>
                  <a:pt x="398" y="193"/>
                  <a:pt x="398" y="193"/>
                </a:cubicBezTo>
                <a:cubicBezTo>
                  <a:pt x="401" y="193"/>
                  <a:pt x="403" y="194"/>
                  <a:pt x="406" y="193"/>
                </a:cubicBezTo>
                <a:cubicBezTo>
                  <a:pt x="408" y="193"/>
                  <a:pt x="409" y="190"/>
                  <a:pt x="411" y="190"/>
                </a:cubicBezTo>
                <a:cubicBezTo>
                  <a:pt x="411" y="190"/>
                  <a:pt x="412" y="190"/>
                  <a:pt x="413" y="190"/>
                </a:cubicBezTo>
                <a:cubicBezTo>
                  <a:pt x="413" y="190"/>
                  <a:pt x="414" y="188"/>
                  <a:pt x="414" y="188"/>
                </a:cubicBezTo>
                <a:cubicBezTo>
                  <a:pt x="415" y="187"/>
                  <a:pt x="417" y="187"/>
                  <a:pt x="418" y="187"/>
                </a:cubicBezTo>
                <a:cubicBezTo>
                  <a:pt x="418" y="186"/>
                  <a:pt x="418" y="184"/>
                  <a:pt x="418" y="183"/>
                </a:cubicBezTo>
                <a:cubicBezTo>
                  <a:pt x="419" y="183"/>
                  <a:pt x="420" y="183"/>
                  <a:pt x="421" y="183"/>
                </a:cubicBezTo>
                <a:cubicBezTo>
                  <a:pt x="420" y="185"/>
                  <a:pt x="419" y="187"/>
                  <a:pt x="421" y="188"/>
                </a:cubicBezTo>
                <a:cubicBezTo>
                  <a:pt x="423" y="189"/>
                  <a:pt x="425" y="189"/>
                  <a:pt x="427" y="189"/>
                </a:cubicBezTo>
                <a:cubicBezTo>
                  <a:pt x="429" y="190"/>
                  <a:pt x="429" y="190"/>
                  <a:pt x="429" y="190"/>
                </a:cubicBezTo>
                <a:cubicBezTo>
                  <a:pt x="430" y="191"/>
                  <a:pt x="432" y="190"/>
                  <a:pt x="433" y="190"/>
                </a:cubicBezTo>
                <a:cubicBezTo>
                  <a:pt x="434" y="191"/>
                  <a:pt x="436" y="192"/>
                  <a:pt x="436" y="192"/>
                </a:cubicBezTo>
                <a:cubicBezTo>
                  <a:pt x="439" y="193"/>
                  <a:pt x="443" y="190"/>
                  <a:pt x="445" y="189"/>
                </a:cubicBezTo>
                <a:cubicBezTo>
                  <a:pt x="445" y="189"/>
                  <a:pt x="445" y="187"/>
                  <a:pt x="445" y="187"/>
                </a:cubicBezTo>
                <a:cubicBezTo>
                  <a:pt x="447" y="186"/>
                  <a:pt x="451" y="186"/>
                  <a:pt x="452" y="186"/>
                </a:cubicBezTo>
                <a:cubicBezTo>
                  <a:pt x="451" y="185"/>
                  <a:pt x="452" y="181"/>
                  <a:pt x="452" y="181"/>
                </a:cubicBezTo>
                <a:cubicBezTo>
                  <a:pt x="451" y="180"/>
                  <a:pt x="450" y="181"/>
                  <a:pt x="449" y="181"/>
                </a:cubicBezTo>
                <a:cubicBezTo>
                  <a:pt x="443" y="180"/>
                  <a:pt x="444" y="176"/>
                  <a:pt x="441" y="183"/>
                </a:cubicBezTo>
                <a:cubicBezTo>
                  <a:pt x="441" y="182"/>
                  <a:pt x="440" y="180"/>
                  <a:pt x="439" y="179"/>
                </a:cubicBezTo>
                <a:cubicBezTo>
                  <a:pt x="439" y="179"/>
                  <a:pt x="438" y="179"/>
                  <a:pt x="437" y="179"/>
                </a:cubicBezTo>
                <a:cubicBezTo>
                  <a:pt x="434" y="178"/>
                  <a:pt x="438" y="175"/>
                  <a:pt x="438" y="174"/>
                </a:cubicBezTo>
                <a:cubicBezTo>
                  <a:pt x="438" y="173"/>
                  <a:pt x="438" y="171"/>
                  <a:pt x="438" y="169"/>
                </a:cubicBezTo>
                <a:cubicBezTo>
                  <a:pt x="440" y="170"/>
                  <a:pt x="442" y="172"/>
                  <a:pt x="443" y="172"/>
                </a:cubicBezTo>
                <a:cubicBezTo>
                  <a:pt x="447" y="173"/>
                  <a:pt x="451" y="172"/>
                  <a:pt x="455" y="173"/>
                </a:cubicBezTo>
                <a:cubicBezTo>
                  <a:pt x="457" y="174"/>
                  <a:pt x="458" y="177"/>
                  <a:pt x="462" y="176"/>
                </a:cubicBezTo>
                <a:cubicBezTo>
                  <a:pt x="462" y="176"/>
                  <a:pt x="464" y="174"/>
                  <a:pt x="464" y="174"/>
                </a:cubicBezTo>
                <a:cubicBezTo>
                  <a:pt x="465" y="175"/>
                  <a:pt x="465" y="172"/>
                  <a:pt x="465" y="171"/>
                </a:cubicBezTo>
                <a:cubicBezTo>
                  <a:pt x="463" y="171"/>
                  <a:pt x="461" y="170"/>
                  <a:pt x="459" y="170"/>
                </a:cubicBezTo>
                <a:cubicBezTo>
                  <a:pt x="457" y="171"/>
                  <a:pt x="457" y="171"/>
                  <a:pt x="457" y="171"/>
                </a:cubicBezTo>
                <a:cubicBezTo>
                  <a:pt x="455" y="171"/>
                  <a:pt x="452" y="171"/>
                  <a:pt x="449" y="171"/>
                </a:cubicBezTo>
                <a:cubicBezTo>
                  <a:pt x="450" y="169"/>
                  <a:pt x="450" y="169"/>
                  <a:pt x="450" y="169"/>
                </a:cubicBezTo>
                <a:cubicBezTo>
                  <a:pt x="452" y="169"/>
                  <a:pt x="453" y="164"/>
                  <a:pt x="447" y="166"/>
                </a:cubicBezTo>
                <a:cubicBezTo>
                  <a:pt x="447" y="168"/>
                  <a:pt x="447" y="168"/>
                  <a:pt x="447" y="168"/>
                </a:cubicBezTo>
                <a:cubicBezTo>
                  <a:pt x="446" y="168"/>
                  <a:pt x="443" y="167"/>
                  <a:pt x="443" y="167"/>
                </a:cubicBezTo>
                <a:cubicBezTo>
                  <a:pt x="445" y="167"/>
                  <a:pt x="446" y="167"/>
                  <a:pt x="447" y="164"/>
                </a:cubicBezTo>
                <a:cubicBezTo>
                  <a:pt x="448" y="163"/>
                  <a:pt x="449" y="163"/>
                  <a:pt x="449" y="163"/>
                </a:cubicBezTo>
                <a:cubicBezTo>
                  <a:pt x="446" y="158"/>
                  <a:pt x="446" y="159"/>
                  <a:pt x="440" y="157"/>
                </a:cubicBezTo>
                <a:cubicBezTo>
                  <a:pt x="441" y="155"/>
                  <a:pt x="441" y="155"/>
                  <a:pt x="441" y="155"/>
                </a:cubicBezTo>
                <a:cubicBezTo>
                  <a:pt x="441" y="155"/>
                  <a:pt x="444" y="155"/>
                  <a:pt x="443" y="156"/>
                </a:cubicBezTo>
                <a:cubicBezTo>
                  <a:pt x="443" y="156"/>
                  <a:pt x="444" y="157"/>
                  <a:pt x="444" y="157"/>
                </a:cubicBezTo>
                <a:cubicBezTo>
                  <a:pt x="446" y="157"/>
                  <a:pt x="448" y="158"/>
                  <a:pt x="450" y="157"/>
                </a:cubicBezTo>
                <a:cubicBezTo>
                  <a:pt x="451" y="157"/>
                  <a:pt x="451" y="155"/>
                  <a:pt x="453" y="156"/>
                </a:cubicBezTo>
                <a:cubicBezTo>
                  <a:pt x="453" y="156"/>
                  <a:pt x="453" y="158"/>
                  <a:pt x="453" y="158"/>
                </a:cubicBezTo>
                <a:cubicBezTo>
                  <a:pt x="455" y="159"/>
                  <a:pt x="455" y="159"/>
                  <a:pt x="455" y="159"/>
                </a:cubicBezTo>
                <a:cubicBezTo>
                  <a:pt x="455" y="159"/>
                  <a:pt x="455" y="159"/>
                  <a:pt x="455" y="159"/>
                </a:cubicBezTo>
                <a:cubicBezTo>
                  <a:pt x="455" y="159"/>
                  <a:pt x="457" y="159"/>
                  <a:pt x="457" y="159"/>
                </a:cubicBezTo>
                <a:cubicBezTo>
                  <a:pt x="459" y="154"/>
                  <a:pt x="458" y="151"/>
                  <a:pt x="457" y="145"/>
                </a:cubicBezTo>
                <a:cubicBezTo>
                  <a:pt x="454" y="145"/>
                  <a:pt x="454" y="145"/>
                  <a:pt x="454" y="145"/>
                </a:cubicBezTo>
                <a:cubicBezTo>
                  <a:pt x="454" y="144"/>
                  <a:pt x="455" y="144"/>
                  <a:pt x="455" y="143"/>
                </a:cubicBezTo>
                <a:cubicBezTo>
                  <a:pt x="456" y="142"/>
                  <a:pt x="455" y="140"/>
                  <a:pt x="455" y="139"/>
                </a:cubicBezTo>
                <a:cubicBezTo>
                  <a:pt x="449" y="138"/>
                  <a:pt x="450" y="139"/>
                  <a:pt x="447" y="143"/>
                </a:cubicBezTo>
                <a:cubicBezTo>
                  <a:pt x="445" y="142"/>
                  <a:pt x="446" y="142"/>
                  <a:pt x="445" y="141"/>
                </a:cubicBezTo>
                <a:cubicBezTo>
                  <a:pt x="444" y="141"/>
                  <a:pt x="442" y="141"/>
                  <a:pt x="441" y="141"/>
                </a:cubicBezTo>
                <a:cubicBezTo>
                  <a:pt x="442" y="141"/>
                  <a:pt x="441" y="138"/>
                  <a:pt x="441" y="138"/>
                </a:cubicBezTo>
                <a:cubicBezTo>
                  <a:pt x="443" y="138"/>
                  <a:pt x="443" y="139"/>
                  <a:pt x="445" y="139"/>
                </a:cubicBezTo>
                <a:cubicBezTo>
                  <a:pt x="445" y="139"/>
                  <a:pt x="446" y="137"/>
                  <a:pt x="446" y="137"/>
                </a:cubicBezTo>
                <a:cubicBezTo>
                  <a:pt x="448" y="135"/>
                  <a:pt x="449" y="135"/>
                  <a:pt x="447" y="133"/>
                </a:cubicBezTo>
                <a:cubicBezTo>
                  <a:pt x="448" y="133"/>
                  <a:pt x="449" y="131"/>
                  <a:pt x="446" y="131"/>
                </a:cubicBezTo>
                <a:cubicBezTo>
                  <a:pt x="446" y="131"/>
                  <a:pt x="447" y="129"/>
                  <a:pt x="447" y="129"/>
                </a:cubicBezTo>
                <a:cubicBezTo>
                  <a:pt x="451" y="130"/>
                  <a:pt x="456" y="129"/>
                  <a:pt x="460" y="131"/>
                </a:cubicBezTo>
                <a:cubicBezTo>
                  <a:pt x="461" y="131"/>
                  <a:pt x="463" y="133"/>
                  <a:pt x="464" y="133"/>
                </a:cubicBezTo>
                <a:cubicBezTo>
                  <a:pt x="466" y="134"/>
                  <a:pt x="469" y="133"/>
                  <a:pt x="470" y="133"/>
                </a:cubicBezTo>
                <a:cubicBezTo>
                  <a:pt x="469" y="131"/>
                  <a:pt x="469" y="131"/>
                  <a:pt x="469" y="131"/>
                </a:cubicBezTo>
                <a:cubicBezTo>
                  <a:pt x="470" y="127"/>
                  <a:pt x="469" y="129"/>
                  <a:pt x="468" y="126"/>
                </a:cubicBezTo>
                <a:cubicBezTo>
                  <a:pt x="468" y="125"/>
                  <a:pt x="468" y="124"/>
                  <a:pt x="467" y="123"/>
                </a:cubicBezTo>
                <a:cubicBezTo>
                  <a:pt x="467" y="122"/>
                  <a:pt x="466" y="122"/>
                  <a:pt x="465" y="121"/>
                </a:cubicBezTo>
                <a:cubicBezTo>
                  <a:pt x="466" y="121"/>
                  <a:pt x="464" y="120"/>
                  <a:pt x="464" y="120"/>
                </a:cubicBezTo>
                <a:cubicBezTo>
                  <a:pt x="464" y="120"/>
                  <a:pt x="462" y="120"/>
                  <a:pt x="462" y="120"/>
                </a:cubicBezTo>
                <a:cubicBezTo>
                  <a:pt x="462" y="120"/>
                  <a:pt x="462" y="123"/>
                  <a:pt x="461" y="123"/>
                </a:cubicBezTo>
                <a:cubicBezTo>
                  <a:pt x="459" y="123"/>
                  <a:pt x="459" y="122"/>
                  <a:pt x="457" y="122"/>
                </a:cubicBezTo>
                <a:cubicBezTo>
                  <a:pt x="456" y="122"/>
                  <a:pt x="455" y="122"/>
                  <a:pt x="453" y="123"/>
                </a:cubicBezTo>
                <a:cubicBezTo>
                  <a:pt x="453" y="121"/>
                  <a:pt x="453" y="117"/>
                  <a:pt x="453" y="115"/>
                </a:cubicBezTo>
                <a:cubicBezTo>
                  <a:pt x="456" y="116"/>
                  <a:pt x="457" y="117"/>
                  <a:pt x="459" y="117"/>
                </a:cubicBezTo>
                <a:cubicBezTo>
                  <a:pt x="465" y="115"/>
                  <a:pt x="458" y="114"/>
                  <a:pt x="456" y="113"/>
                </a:cubicBezTo>
                <a:cubicBezTo>
                  <a:pt x="456" y="112"/>
                  <a:pt x="455" y="111"/>
                  <a:pt x="455" y="111"/>
                </a:cubicBezTo>
                <a:cubicBezTo>
                  <a:pt x="453" y="110"/>
                  <a:pt x="451" y="112"/>
                  <a:pt x="450" y="112"/>
                </a:cubicBezTo>
                <a:cubicBezTo>
                  <a:pt x="448" y="112"/>
                  <a:pt x="445" y="110"/>
                  <a:pt x="443" y="109"/>
                </a:cubicBezTo>
                <a:cubicBezTo>
                  <a:pt x="444" y="110"/>
                  <a:pt x="441" y="111"/>
                  <a:pt x="441" y="111"/>
                </a:cubicBezTo>
                <a:cubicBezTo>
                  <a:pt x="440" y="110"/>
                  <a:pt x="439" y="108"/>
                  <a:pt x="441" y="109"/>
                </a:cubicBezTo>
                <a:cubicBezTo>
                  <a:pt x="441" y="107"/>
                  <a:pt x="441" y="106"/>
                  <a:pt x="441" y="105"/>
                </a:cubicBezTo>
                <a:cubicBezTo>
                  <a:pt x="447" y="106"/>
                  <a:pt x="450" y="107"/>
                  <a:pt x="454" y="109"/>
                </a:cubicBezTo>
                <a:cubicBezTo>
                  <a:pt x="454" y="107"/>
                  <a:pt x="455" y="104"/>
                  <a:pt x="455" y="103"/>
                </a:cubicBezTo>
                <a:cubicBezTo>
                  <a:pt x="456" y="101"/>
                  <a:pt x="460" y="100"/>
                  <a:pt x="461" y="99"/>
                </a:cubicBezTo>
                <a:cubicBezTo>
                  <a:pt x="461" y="98"/>
                  <a:pt x="460" y="98"/>
                  <a:pt x="461" y="97"/>
                </a:cubicBezTo>
                <a:cubicBezTo>
                  <a:pt x="461" y="97"/>
                  <a:pt x="462" y="94"/>
                  <a:pt x="461" y="93"/>
                </a:cubicBezTo>
                <a:cubicBezTo>
                  <a:pt x="465" y="90"/>
                  <a:pt x="466" y="89"/>
                  <a:pt x="461" y="86"/>
                </a:cubicBezTo>
                <a:cubicBezTo>
                  <a:pt x="464" y="85"/>
                  <a:pt x="468" y="85"/>
                  <a:pt x="473" y="85"/>
                </a:cubicBezTo>
                <a:cubicBezTo>
                  <a:pt x="474" y="84"/>
                  <a:pt x="473" y="82"/>
                  <a:pt x="473" y="81"/>
                </a:cubicBezTo>
                <a:cubicBezTo>
                  <a:pt x="479" y="77"/>
                  <a:pt x="482" y="75"/>
                  <a:pt x="472" y="73"/>
                </a:cubicBezTo>
                <a:cubicBezTo>
                  <a:pt x="470" y="73"/>
                  <a:pt x="467" y="72"/>
                  <a:pt x="464" y="73"/>
                </a:cubicBezTo>
                <a:cubicBezTo>
                  <a:pt x="463" y="73"/>
                  <a:pt x="463" y="75"/>
                  <a:pt x="462" y="75"/>
                </a:cubicBezTo>
                <a:cubicBezTo>
                  <a:pt x="459" y="76"/>
                  <a:pt x="457" y="77"/>
                  <a:pt x="455" y="78"/>
                </a:cubicBezTo>
                <a:cubicBezTo>
                  <a:pt x="455" y="76"/>
                  <a:pt x="455" y="76"/>
                  <a:pt x="454" y="75"/>
                </a:cubicBezTo>
                <a:cubicBezTo>
                  <a:pt x="453" y="73"/>
                  <a:pt x="451" y="71"/>
                  <a:pt x="453" y="69"/>
                </a:cubicBezTo>
                <a:cubicBezTo>
                  <a:pt x="459" y="66"/>
                  <a:pt x="468" y="70"/>
                  <a:pt x="473" y="71"/>
                </a:cubicBezTo>
                <a:cubicBezTo>
                  <a:pt x="476" y="71"/>
                  <a:pt x="478" y="71"/>
                  <a:pt x="481" y="71"/>
                </a:cubicBezTo>
                <a:cubicBezTo>
                  <a:pt x="481" y="71"/>
                  <a:pt x="483" y="72"/>
                  <a:pt x="484" y="71"/>
                </a:cubicBezTo>
                <a:cubicBezTo>
                  <a:pt x="485" y="71"/>
                  <a:pt x="491" y="64"/>
                  <a:pt x="492" y="63"/>
                </a:cubicBezTo>
                <a:cubicBezTo>
                  <a:pt x="493" y="63"/>
                  <a:pt x="492" y="61"/>
                  <a:pt x="493" y="61"/>
                </a:cubicBezTo>
                <a:cubicBezTo>
                  <a:pt x="490" y="61"/>
                  <a:pt x="487" y="60"/>
                  <a:pt x="485" y="60"/>
                </a:cubicBezTo>
                <a:cubicBezTo>
                  <a:pt x="485" y="60"/>
                  <a:pt x="484" y="63"/>
                  <a:pt x="483" y="63"/>
                </a:cubicBezTo>
                <a:cubicBezTo>
                  <a:pt x="482" y="63"/>
                  <a:pt x="480" y="62"/>
                  <a:pt x="478" y="62"/>
                </a:cubicBezTo>
                <a:cubicBezTo>
                  <a:pt x="476" y="62"/>
                  <a:pt x="472" y="64"/>
                  <a:pt x="469" y="64"/>
                </a:cubicBezTo>
                <a:cubicBezTo>
                  <a:pt x="468" y="64"/>
                  <a:pt x="465" y="62"/>
                  <a:pt x="464" y="61"/>
                </a:cubicBezTo>
                <a:cubicBezTo>
                  <a:pt x="467" y="61"/>
                  <a:pt x="470" y="61"/>
                  <a:pt x="472" y="60"/>
                </a:cubicBezTo>
                <a:cubicBezTo>
                  <a:pt x="472" y="60"/>
                  <a:pt x="473" y="58"/>
                  <a:pt x="473" y="58"/>
                </a:cubicBezTo>
                <a:cubicBezTo>
                  <a:pt x="477" y="57"/>
                  <a:pt x="481" y="60"/>
                  <a:pt x="485" y="60"/>
                </a:cubicBezTo>
                <a:cubicBezTo>
                  <a:pt x="486" y="59"/>
                  <a:pt x="487" y="58"/>
                  <a:pt x="489" y="58"/>
                </a:cubicBezTo>
                <a:cubicBezTo>
                  <a:pt x="490" y="58"/>
                  <a:pt x="494" y="60"/>
                  <a:pt x="495" y="60"/>
                </a:cubicBezTo>
                <a:cubicBezTo>
                  <a:pt x="495" y="59"/>
                  <a:pt x="496" y="57"/>
                  <a:pt x="497" y="57"/>
                </a:cubicBezTo>
                <a:cubicBezTo>
                  <a:pt x="499" y="56"/>
                  <a:pt x="502" y="56"/>
                  <a:pt x="505" y="56"/>
                </a:cubicBezTo>
                <a:cubicBezTo>
                  <a:pt x="505" y="54"/>
                  <a:pt x="504" y="53"/>
                  <a:pt x="505" y="52"/>
                </a:cubicBezTo>
                <a:cubicBezTo>
                  <a:pt x="506" y="52"/>
                  <a:pt x="508" y="52"/>
                  <a:pt x="509" y="52"/>
                </a:cubicBezTo>
                <a:cubicBezTo>
                  <a:pt x="511" y="52"/>
                  <a:pt x="512" y="49"/>
                  <a:pt x="513" y="49"/>
                </a:cubicBezTo>
                <a:cubicBezTo>
                  <a:pt x="515" y="48"/>
                  <a:pt x="516" y="50"/>
                  <a:pt x="519" y="50"/>
                </a:cubicBezTo>
                <a:cubicBezTo>
                  <a:pt x="519" y="49"/>
                  <a:pt x="520" y="48"/>
                  <a:pt x="521" y="48"/>
                </a:cubicBezTo>
                <a:cubicBezTo>
                  <a:pt x="519" y="46"/>
                  <a:pt x="518" y="43"/>
                  <a:pt x="516" y="43"/>
                </a:cubicBezTo>
                <a:cubicBezTo>
                  <a:pt x="513" y="42"/>
                  <a:pt x="507" y="44"/>
                  <a:pt x="505" y="44"/>
                </a:cubicBezTo>
                <a:cubicBezTo>
                  <a:pt x="502" y="43"/>
                  <a:pt x="495" y="41"/>
                  <a:pt x="491" y="41"/>
                </a:cubicBezTo>
                <a:cubicBezTo>
                  <a:pt x="487" y="40"/>
                  <a:pt x="485" y="42"/>
                  <a:pt x="481" y="42"/>
                </a:cubicBezTo>
                <a:cubicBezTo>
                  <a:pt x="481" y="42"/>
                  <a:pt x="476" y="40"/>
                  <a:pt x="475" y="41"/>
                </a:cubicBezTo>
                <a:cubicBezTo>
                  <a:pt x="474" y="44"/>
                  <a:pt x="474" y="44"/>
                  <a:pt x="474" y="44"/>
                </a:cubicBezTo>
                <a:cubicBezTo>
                  <a:pt x="470" y="45"/>
                  <a:pt x="468" y="45"/>
                  <a:pt x="465" y="46"/>
                </a:cubicBezTo>
                <a:cubicBezTo>
                  <a:pt x="465" y="46"/>
                  <a:pt x="465" y="48"/>
                  <a:pt x="465" y="48"/>
                </a:cubicBezTo>
                <a:cubicBezTo>
                  <a:pt x="463" y="49"/>
                  <a:pt x="463" y="47"/>
                  <a:pt x="462" y="47"/>
                </a:cubicBezTo>
                <a:cubicBezTo>
                  <a:pt x="458" y="45"/>
                  <a:pt x="458" y="45"/>
                  <a:pt x="455" y="48"/>
                </a:cubicBezTo>
                <a:cubicBezTo>
                  <a:pt x="454" y="46"/>
                  <a:pt x="454" y="45"/>
                  <a:pt x="453" y="43"/>
                </a:cubicBezTo>
                <a:cubicBezTo>
                  <a:pt x="451" y="44"/>
                  <a:pt x="446" y="49"/>
                  <a:pt x="444" y="50"/>
                </a:cubicBezTo>
                <a:cubicBezTo>
                  <a:pt x="443" y="50"/>
                  <a:pt x="442" y="49"/>
                  <a:pt x="441" y="50"/>
                </a:cubicBezTo>
                <a:cubicBezTo>
                  <a:pt x="439" y="50"/>
                  <a:pt x="439" y="53"/>
                  <a:pt x="437" y="54"/>
                </a:cubicBezTo>
                <a:cubicBezTo>
                  <a:pt x="435" y="55"/>
                  <a:pt x="429" y="56"/>
                  <a:pt x="425" y="56"/>
                </a:cubicBezTo>
                <a:cubicBezTo>
                  <a:pt x="425" y="55"/>
                  <a:pt x="423" y="55"/>
                  <a:pt x="421" y="55"/>
                </a:cubicBezTo>
                <a:cubicBezTo>
                  <a:pt x="421" y="55"/>
                  <a:pt x="420" y="56"/>
                  <a:pt x="419" y="56"/>
                </a:cubicBezTo>
                <a:cubicBezTo>
                  <a:pt x="418" y="56"/>
                  <a:pt x="416" y="54"/>
                  <a:pt x="416" y="54"/>
                </a:cubicBezTo>
                <a:cubicBezTo>
                  <a:pt x="418" y="53"/>
                  <a:pt x="419" y="51"/>
                  <a:pt x="423" y="51"/>
                </a:cubicBezTo>
                <a:cubicBezTo>
                  <a:pt x="423" y="51"/>
                  <a:pt x="425" y="52"/>
                  <a:pt x="426" y="52"/>
                </a:cubicBezTo>
                <a:cubicBezTo>
                  <a:pt x="427" y="51"/>
                  <a:pt x="427" y="50"/>
                  <a:pt x="427" y="50"/>
                </a:cubicBezTo>
                <a:cubicBezTo>
                  <a:pt x="429" y="49"/>
                  <a:pt x="431" y="49"/>
                  <a:pt x="432" y="48"/>
                </a:cubicBezTo>
                <a:cubicBezTo>
                  <a:pt x="433" y="48"/>
                  <a:pt x="437" y="41"/>
                  <a:pt x="437" y="40"/>
                </a:cubicBezTo>
                <a:cubicBezTo>
                  <a:pt x="438" y="38"/>
                  <a:pt x="437" y="39"/>
                  <a:pt x="437" y="37"/>
                </a:cubicBezTo>
                <a:cubicBezTo>
                  <a:pt x="433" y="37"/>
                  <a:pt x="429" y="38"/>
                  <a:pt x="426" y="38"/>
                </a:cubicBezTo>
                <a:cubicBezTo>
                  <a:pt x="426" y="38"/>
                  <a:pt x="423" y="36"/>
                  <a:pt x="421" y="37"/>
                </a:cubicBezTo>
                <a:cubicBezTo>
                  <a:pt x="421" y="37"/>
                  <a:pt x="421" y="38"/>
                  <a:pt x="420" y="38"/>
                </a:cubicBezTo>
                <a:cubicBezTo>
                  <a:pt x="420" y="40"/>
                  <a:pt x="420" y="42"/>
                  <a:pt x="420" y="44"/>
                </a:cubicBezTo>
                <a:cubicBezTo>
                  <a:pt x="415" y="43"/>
                  <a:pt x="407" y="44"/>
                  <a:pt x="400" y="44"/>
                </a:cubicBezTo>
                <a:cubicBezTo>
                  <a:pt x="400" y="43"/>
                  <a:pt x="401" y="43"/>
                  <a:pt x="402" y="43"/>
                </a:cubicBezTo>
                <a:cubicBezTo>
                  <a:pt x="402" y="41"/>
                  <a:pt x="401" y="39"/>
                  <a:pt x="402" y="38"/>
                </a:cubicBezTo>
                <a:cubicBezTo>
                  <a:pt x="400" y="37"/>
                  <a:pt x="400" y="38"/>
                  <a:pt x="400" y="37"/>
                </a:cubicBezTo>
                <a:cubicBezTo>
                  <a:pt x="393" y="37"/>
                  <a:pt x="386" y="37"/>
                  <a:pt x="378" y="38"/>
                </a:cubicBezTo>
                <a:cubicBezTo>
                  <a:pt x="378" y="38"/>
                  <a:pt x="374" y="39"/>
                  <a:pt x="374" y="39"/>
                </a:cubicBezTo>
                <a:cubicBezTo>
                  <a:pt x="371" y="39"/>
                  <a:pt x="369" y="38"/>
                  <a:pt x="368" y="38"/>
                </a:cubicBezTo>
                <a:cubicBezTo>
                  <a:pt x="365" y="37"/>
                  <a:pt x="365" y="39"/>
                  <a:pt x="364" y="39"/>
                </a:cubicBezTo>
                <a:cubicBezTo>
                  <a:pt x="362" y="39"/>
                  <a:pt x="362" y="38"/>
                  <a:pt x="360" y="38"/>
                </a:cubicBezTo>
                <a:cubicBezTo>
                  <a:pt x="357" y="39"/>
                  <a:pt x="353" y="42"/>
                  <a:pt x="350" y="43"/>
                </a:cubicBezTo>
                <a:cubicBezTo>
                  <a:pt x="348" y="43"/>
                  <a:pt x="345" y="42"/>
                  <a:pt x="342" y="43"/>
                </a:cubicBezTo>
                <a:cubicBezTo>
                  <a:pt x="341" y="43"/>
                  <a:pt x="341" y="45"/>
                  <a:pt x="340" y="46"/>
                </a:cubicBezTo>
                <a:cubicBezTo>
                  <a:pt x="339" y="46"/>
                  <a:pt x="339" y="45"/>
                  <a:pt x="337" y="46"/>
                </a:cubicBezTo>
                <a:cubicBezTo>
                  <a:pt x="338" y="45"/>
                  <a:pt x="338" y="43"/>
                  <a:pt x="338" y="43"/>
                </a:cubicBezTo>
                <a:cubicBezTo>
                  <a:pt x="341" y="41"/>
                  <a:pt x="347" y="42"/>
                  <a:pt x="350" y="41"/>
                </a:cubicBezTo>
                <a:cubicBezTo>
                  <a:pt x="351" y="41"/>
                  <a:pt x="352" y="40"/>
                  <a:pt x="352" y="39"/>
                </a:cubicBezTo>
                <a:cubicBezTo>
                  <a:pt x="352" y="38"/>
                  <a:pt x="352" y="38"/>
                  <a:pt x="352" y="38"/>
                </a:cubicBezTo>
                <a:cubicBezTo>
                  <a:pt x="355" y="37"/>
                  <a:pt x="357" y="39"/>
                  <a:pt x="359" y="38"/>
                </a:cubicBezTo>
                <a:cubicBezTo>
                  <a:pt x="360" y="37"/>
                  <a:pt x="359" y="36"/>
                  <a:pt x="360" y="35"/>
                </a:cubicBezTo>
                <a:cubicBezTo>
                  <a:pt x="361" y="34"/>
                  <a:pt x="364" y="33"/>
                  <a:pt x="365" y="33"/>
                </a:cubicBezTo>
                <a:cubicBezTo>
                  <a:pt x="367" y="33"/>
                  <a:pt x="370" y="33"/>
                  <a:pt x="372" y="34"/>
                </a:cubicBezTo>
                <a:cubicBezTo>
                  <a:pt x="377" y="34"/>
                  <a:pt x="383" y="33"/>
                  <a:pt x="387" y="33"/>
                </a:cubicBezTo>
                <a:cubicBezTo>
                  <a:pt x="391" y="34"/>
                  <a:pt x="391" y="34"/>
                  <a:pt x="391" y="34"/>
                </a:cubicBezTo>
                <a:cubicBezTo>
                  <a:pt x="398" y="34"/>
                  <a:pt x="405" y="33"/>
                  <a:pt x="414" y="34"/>
                </a:cubicBezTo>
                <a:cubicBezTo>
                  <a:pt x="416" y="34"/>
                  <a:pt x="420" y="35"/>
                  <a:pt x="423" y="35"/>
                </a:cubicBezTo>
                <a:cubicBezTo>
                  <a:pt x="425" y="35"/>
                  <a:pt x="428" y="33"/>
                  <a:pt x="430" y="33"/>
                </a:cubicBezTo>
                <a:cubicBezTo>
                  <a:pt x="434" y="33"/>
                  <a:pt x="437" y="34"/>
                  <a:pt x="440" y="34"/>
                </a:cubicBezTo>
                <a:close/>
              </a:path>
            </a:pathLst>
          </a:cu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2" name="Google Shape;542;p102"/>
          <p:cNvSpPr/>
          <p:nvPr/>
        </p:nvSpPr>
        <p:spPr>
          <a:xfrm>
            <a:off x="4446512" y="1642304"/>
            <a:ext cx="1498266" cy="1114405"/>
          </a:xfrm>
          <a:custGeom>
            <a:avLst/>
            <a:gdLst/>
            <a:ahLst/>
            <a:cxnLst/>
            <a:rect l="l" t="t" r="r" b="b"/>
            <a:pathLst>
              <a:path w="521" h="402" extrusionOk="0">
                <a:moveTo>
                  <a:pt x="460" y="133"/>
                </a:moveTo>
                <a:cubicBezTo>
                  <a:pt x="461" y="135"/>
                  <a:pt x="461" y="135"/>
                  <a:pt x="461" y="135"/>
                </a:cubicBezTo>
                <a:cubicBezTo>
                  <a:pt x="460" y="134"/>
                  <a:pt x="461" y="133"/>
                  <a:pt x="460" y="133"/>
                </a:cubicBezTo>
                <a:close/>
                <a:moveTo>
                  <a:pt x="247" y="398"/>
                </a:moveTo>
                <a:cubicBezTo>
                  <a:pt x="247" y="401"/>
                  <a:pt x="247" y="401"/>
                  <a:pt x="247" y="401"/>
                </a:cubicBezTo>
                <a:cubicBezTo>
                  <a:pt x="248" y="400"/>
                  <a:pt x="248" y="402"/>
                  <a:pt x="250" y="401"/>
                </a:cubicBezTo>
                <a:cubicBezTo>
                  <a:pt x="251" y="401"/>
                  <a:pt x="250" y="399"/>
                  <a:pt x="250" y="399"/>
                </a:cubicBezTo>
                <a:cubicBezTo>
                  <a:pt x="249" y="399"/>
                  <a:pt x="248" y="399"/>
                  <a:pt x="247" y="398"/>
                </a:cubicBezTo>
                <a:close/>
                <a:moveTo>
                  <a:pt x="236" y="383"/>
                </a:moveTo>
                <a:cubicBezTo>
                  <a:pt x="236" y="383"/>
                  <a:pt x="236" y="385"/>
                  <a:pt x="235" y="385"/>
                </a:cubicBezTo>
                <a:cubicBezTo>
                  <a:pt x="234" y="386"/>
                  <a:pt x="236" y="383"/>
                  <a:pt x="236" y="383"/>
                </a:cubicBezTo>
                <a:close/>
                <a:moveTo>
                  <a:pt x="439" y="172"/>
                </a:moveTo>
                <a:cubicBezTo>
                  <a:pt x="439" y="172"/>
                  <a:pt x="439" y="175"/>
                  <a:pt x="439" y="177"/>
                </a:cubicBezTo>
                <a:cubicBezTo>
                  <a:pt x="440" y="177"/>
                  <a:pt x="440" y="177"/>
                  <a:pt x="441" y="178"/>
                </a:cubicBezTo>
                <a:cubicBezTo>
                  <a:pt x="443" y="178"/>
                  <a:pt x="446" y="177"/>
                  <a:pt x="447" y="177"/>
                </a:cubicBezTo>
                <a:cubicBezTo>
                  <a:pt x="453" y="174"/>
                  <a:pt x="441" y="172"/>
                  <a:pt x="439" y="172"/>
                </a:cubicBezTo>
                <a:close/>
                <a:moveTo>
                  <a:pt x="392" y="63"/>
                </a:moveTo>
                <a:cubicBezTo>
                  <a:pt x="397" y="61"/>
                  <a:pt x="390" y="65"/>
                  <a:pt x="390" y="65"/>
                </a:cubicBezTo>
                <a:cubicBezTo>
                  <a:pt x="389" y="65"/>
                  <a:pt x="388" y="67"/>
                  <a:pt x="388" y="67"/>
                </a:cubicBezTo>
                <a:cubicBezTo>
                  <a:pt x="385" y="69"/>
                  <a:pt x="387" y="64"/>
                  <a:pt x="392" y="63"/>
                </a:cubicBezTo>
                <a:close/>
                <a:moveTo>
                  <a:pt x="269" y="31"/>
                </a:moveTo>
                <a:cubicBezTo>
                  <a:pt x="270" y="31"/>
                  <a:pt x="273" y="34"/>
                  <a:pt x="269" y="33"/>
                </a:cubicBezTo>
                <a:cubicBezTo>
                  <a:pt x="269" y="33"/>
                  <a:pt x="267" y="30"/>
                  <a:pt x="269" y="31"/>
                </a:cubicBezTo>
                <a:close/>
                <a:moveTo>
                  <a:pt x="305" y="304"/>
                </a:moveTo>
                <a:cubicBezTo>
                  <a:pt x="307" y="305"/>
                  <a:pt x="307" y="304"/>
                  <a:pt x="309" y="305"/>
                </a:cubicBezTo>
                <a:cubicBezTo>
                  <a:pt x="308" y="305"/>
                  <a:pt x="308" y="307"/>
                  <a:pt x="307" y="308"/>
                </a:cubicBezTo>
                <a:cubicBezTo>
                  <a:pt x="306" y="308"/>
                  <a:pt x="305" y="308"/>
                  <a:pt x="304" y="309"/>
                </a:cubicBezTo>
                <a:cubicBezTo>
                  <a:pt x="304" y="308"/>
                  <a:pt x="304" y="306"/>
                  <a:pt x="303" y="305"/>
                </a:cubicBezTo>
                <a:cubicBezTo>
                  <a:pt x="303" y="305"/>
                  <a:pt x="305" y="304"/>
                  <a:pt x="305" y="304"/>
                </a:cubicBezTo>
                <a:close/>
                <a:moveTo>
                  <a:pt x="174" y="299"/>
                </a:moveTo>
                <a:cubicBezTo>
                  <a:pt x="175" y="300"/>
                  <a:pt x="177" y="302"/>
                  <a:pt x="175" y="301"/>
                </a:cubicBezTo>
                <a:cubicBezTo>
                  <a:pt x="175" y="301"/>
                  <a:pt x="172" y="299"/>
                  <a:pt x="174" y="299"/>
                </a:cubicBezTo>
                <a:close/>
                <a:moveTo>
                  <a:pt x="198" y="297"/>
                </a:moveTo>
                <a:cubicBezTo>
                  <a:pt x="200" y="297"/>
                  <a:pt x="198" y="298"/>
                  <a:pt x="198" y="298"/>
                </a:cubicBezTo>
                <a:cubicBezTo>
                  <a:pt x="198" y="299"/>
                  <a:pt x="198" y="300"/>
                  <a:pt x="198" y="300"/>
                </a:cubicBezTo>
                <a:cubicBezTo>
                  <a:pt x="196" y="301"/>
                  <a:pt x="193" y="303"/>
                  <a:pt x="192" y="303"/>
                </a:cubicBezTo>
                <a:cubicBezTo>
                  <a:pt x="189" y="303"/>
                  <a:pt x="191" y="302"/>
                  <a:pt x="192" y="301"/>
                </a:cubicBezTo>
                <a:cubicBezTo>
                  <a:pt x="192" y="301"/>
                  <a:pt x="193" y="300"/>
                  <a:pt x="194" y="299"/>
                </a:cubicBezTo>
                <a:cubicBezTo>
                  <a:pt x="195" y="299"/>
                  <a:pt x="197" y="297"/>
                  <a:pt x="198" y="297"/>
                </a:cubicBezTo>
                <a:close/>
                <a:moveTo>
                  <a:pt x="195" y="286"/>
                </a:moveTo>
                <a:cubicBezTo>
                  <a:pt x="197" y="286"/>
                  <a:pt x="195" y="287"/>
                  <a:pt x="194" y="288"/>
                </a:cubicBezTo>
                <a:cubicBezTo>
                  <a:pt x="194" y="287"/>
                  <a:pt x="194" y="286"/>
                  <a:pt x="195" y="286"/>
                </a:cubicBezTo>
                <a:close/>
                <a:moveTo>
                  <a:pt x="196" y="284"/>
                </a:moveTo>
                <a:cubicBezTo>
                  <a:pt x="198" y="283"/>
                  <a:pt x="196" y="285"/>
                  <a:pt x="196" y="285"/>
                </a:cubicBezTo>
                <a:cubicBezTo>
                  <a:pt x="196" y="285"/>
                  <a:pt x="194" y="284"/>
                  <a:pt x="196" y="284"/>
                </a:cubicBezTo>
                <a:close/>
                <a:moveTo>
                  <a:pt x="395" y="240"/>
                </a:moveTo>
                <a:cubicBezTo>
                  <a:pt x="398" y="240"/>
                  <a:pt x="396" y="243"/>
                  <a:pt x="396" y="243"/>
                </a:cubicBezTo>
                <a:cubicBezTo>
                  <a:pt x="395" y="243"/>
                  <a:pt x="391" y="242"/>
                  <a:pt x="391" y="242"/>
                </a:cubicBezTo>
                <a:cubicBezTo>
                  <a:pt x="391" y="242"/>
                  <a:pt x="392" y="242"/>
                  <a:pt x="393" y="242"/>
                </a:cubicBezTo>
                <a:cubicBezTo>
                  <a:pt x="393" y="241"/>
                  <a:pt x="394" y="240"/>
                  <a:pt x="395" y="240"/>
                </a:cubicBezTo>
                <a:close/>
                <a:moveTo>
                  <a:pt x="174" y="223"/>
                </a:moveTo>
                <a:cubicBezTo>
                  <a:pt x="172" y="223"/>
                  <a:pt x="175" y="224"/>
                  <a:pt x="176" y="224"/>
                </a:cubicBezTo>
                <a:cubicBezTo>
                  <a:pt x="176" y="224"/>
                  <a:pt x="177" y="223"/>
                  <a:pt x="174" y="223"/>
                </a:cubicBezTo>
                <a:close/>
                <a:moveTo>
                  <a:pt x="166" y="221"/>
                </a:moveTo>
                <a:cubicBezTo>
                  <a:pt x="164" y="221"/>
                  <a:pt x="164" y="223"/>
                  <a:pt x="164" y="224"/>
                </a:cubicBezTo>
                <a:cubicBezTo>
                  <a:pt x="164" y="224"/>
                  <a:pt x="165" y="225"/>
                  <a:pt x="165" y="225"/>
                </a:cubicBezTo>
                <a:cubicBezTo>
                  <a:pt x="165" y="225"/>
                  <a:pt x="166" y="225"/>
                  <a:pt x="167" y="225"/>
                </a:cubicBezTo>
                <a:cubicBezTo>
                  <a:pt x="167" y="223"/>
                  <a:pt x="167" y="221"/>
                  <a:pt x="166" y="221"/>
                </a:cubicBezTo>
                <a:close/>
                <a:moveTo>
                  <a:pt x="418" y="189"/>
                </a:moveTo>
                <a:cubicBezTo>
                  <a:pt x="417" y="190"/>
                  <a:pt x="417" y="190"/>
                  <a:pt x="417" y="190"/>
                </a:cubicBezTo>
                <a:cubicBezTo>
                  <a:pt x="416" y="191"/>
                  <a:pt x="413" y="191"/>
                  <a:pt x="412" y="192"/>
                </a:cubicBezTo>
                <a:cubicBezTo>
                  <a:pt x="412" y="192"/>
                  <a:pt x="412" y="194"/>
                  <a:pt x="412" y="194"/>
                </a:cubicBezTo>
                <a:cubicBezTo>
                  <a:pt x="412" y="195"/>
                  <a:pt x="413" y="195"/>
                  <a:pt x="414" y="196"/>
                </a:cubicBezTo>
                <a:cubicBezTo>
                  <a:pt x="410" y="195"/>
                  <a:pt x="405" y="193"/>
                  <a:pt x="402" y="195"/>
                </a:cubicBezTo>
                <a:cubicBezTo>
                  <a:pt x="401" y="196"/>
                  <a:pt x="400" y="196"/>
                  <a:pt x="400" y="197"/>
                </a:cubicBezTo>
                <a:cubicBezTo>
                  <a:pt x="400" y="197"/>
                  <a:pt x="400" y="200"/>
                  <a:pt x="400" y="200"/>
                </a:cubicBezTo>
                <a:cubicBezTo>
                  <a:pt x="400" y="200"/>
                  <a:pt x="402" y="200"/>
                  <a:pt x="403" y="200"/>
                </a:cubicBezTo>
                <a:cubicBezTo>
                  <a:pt x="403" y="201"/>
                  <a:pt x="404" y="203"/>
                  <a:pt x="404" y="203"/>
                </a:cubicBezTo>
                <a:cubicBezTo>
                  <a:pt x="406" y="202"/>
                  <a:pt x="406" y="203"/>
                  <a:pt x="408" y="202"/>
                </a:cubicBezTo>
                <a:cubicBezTo>
                  <a:pt x="408" y="202"/>
                  <a:pt x="409" y="200"/>
                  <a:pt x="410" y="200"/>
                </a:cubicBezTo>
                <a:cubicBezTo>
                  <a:pt x="411" y="200"/>
                  <a:pt x="412" y="200"/>
                  <a:pt x="413" y="200"/>
                </a:cubicBezTo>
                <a:cubicBezTo>
                  <a:pt x="414" y="199"/>
                  <a:pt x="413" y="197"/>
                  <a:pt x="414" y="196"/>
                </a:cubicBezTo>
                <a:cubicBezTo>
                  <a:pt x="415" y="197"/>
                  <a:pt x="415" y="196"/>
                  <a:pt x="416" y="196"/>
                </a:cubicBezTo>
                <a:cubicBezTo>
                  <a:pt x="417" y="197"/>
                  <a:pt x="417" y="199"/>
                  <a:pt x="418" y="199"/>
                </a:cubicBezTo>
                <a:cubicBezTo>
                  <a:pt x="420" y="200"/>
                  <a:pt x="423" y="200"/>
                  <a:pt x="425" y="200"/>
                </a:cubicBezTo>
                <a:cubicBezTo>
                  <a:pt x="425" y="200"/>
                  <a:pt x="426" y="201"/>
                  <a:pt x="426" y="201"/>
                </a:cubicBezTo>
                <a:cubicBezTo>
                  <a:pt x="425" y="202"/>
                  <a:pt x="422" y="202"/>
                  <a:pt x="424" y="203"/>
                </a:cubicBezTo>
                <a:cubicBezTo>
                  <a:pt x="425" y="203"/>
                  <a:pt x="424" y="204"/>
                  <a:pt x="425" y="204"/>
                </a:cubicBezTo>
                <a:cubicBezTo>
                  <a:pt x="420" y="209"/>
                  <a:pt x="431" y="211"/>
                  <a:pt x="434" y="212"/>
                </a:cubicBezTo>
                <a:cubicBezTo>
                  <a:pt x="435" y="213"/>
                  <a:pt x="437" y="215"/>
                  <a:pt x="438" y="216"/>
                </a:cubicBezTo>
                <a:cubicBezTo>
                  <a:pt x="440" y="216"/>
                  <a:pt x="441" y="215"/>
                  <a:pt x="443" y="216"/>
                </a:cubicBezTo>
                <a:cubicBezTo>
                  <a:pt x="443" y="216"/>
                  <a:pt x="444" y="214"/>
                  <a:pt x="443" y="213"/>
                </a:cubicBezTo>
                <a:cubicBezTo>
                  <a:pt x="439" y="210"/>
                  <a:pt x="435" y="214"/>
                  <a:pt x="441" y="209"/>
                </a:cubicBezTo>
                <a:cubicBezTo>
                  <a:pt x="441" y="208"/>
                  <a:pt x="441" y="208"/>
                  <a:pt x="441" y="208"/>
                </a:cubicBezTo>
                <a:cubicBezTo>
                  <a:pt x="439" y="207"/>
                  <a:pt x="437" y="207"/>
                  <a:pt x="435" y="206"/>
                </a:cubicBezTo>
                <a:cubicBezTo>
                  <a:pt x="435" y="206"/>
                  <a:pt x="433" y="204"/>
                  <a:pt x="433" y="204"/>
                </a:cubicBezTo>
                <a:cubicBezTo>
                  <a:pt x="431" y="204"/>
                  <a:pt x="435" y="204"/>
                  <a:pt x="435" y="204"/>
                </a:cubicBezTo>
                <a:cubicBezTo>
                  <a:pt x="436" y="204"/>
                  <a:pt x="437" y="206"/>
                  <a:pt x="437" y="206"/>
                </a:cubicBezTo>
                <a:cubicBezTo>
                  <a:pt x="439" y="206"/>
                  <a:pt x="439" y="205"/>
                  <a:pt x="441" y="205"/>
                </a:cubicBezTo>
                <a:cubicBezTo>
                  <a:pt x="441" y="203"/>
                  <a:pt x="441" y="203"/>
                  <a:pt x="442" y="200"/>
                </a:cubicBezTo>
                <a:cubicBezTo>
                  <a:pt x="436" y="199"/>
                  <a:pt x="435" y="199"/>
                  <a:pt x="429" y="200"/>
                </a:cubicBezTo>
                <a:cubicBezTo>
                  <a:pt x="430" y="200"/>
                  <a:pt x="431" y="198"/>
                  <a:pt x="432" y="198"/>
                </a:cubicBezTo>
                <a:cubicBezTo>
                  <a:pt x="433" y="198"/>
                  <a:pt x="434" y="198"/>
                  <a:pt x="435" y="198"/>
                </a:cubicBezTo>
                <a:cubicBezTo>
                  <a:pt x="435" y="198"/>
                  <a:pt x="435" y="196"/>
                  <a:pt x="435" y="196"/>
                </a:cubicBezTo>
                <a:cubicBezTo>
                  <a:pt x="428" y="196"/>
                  <a:pt x="428" y="196"/>
                  <a:pt x="428" y="196"/>
                </a:cubicBezTo>
                <a:cubicBezTo>
                  <a:pt x="429" y="195"/>
                  <a:pt x="430" y="193"/>
                  <a:pt x="430" y="193"/>
                </a:cubicBezTo>
                <a:cubicBezTo>
                  <a:pt x="427" y="192"/>
                  <a:pt x="421" y="189"/>
                  <a:pt x="418" y="189"/>
                </a:cubicBezTo>
                <a:close/>
                <a:moveTo>
                  <a:pt x="136" y="168"/>
                </a:moveTo>
                <a:cubicBezTo>
                  <a:pt x="135" y="168"/>
                  <a:pt x="130" y="171"/>
                  <a:pt x="134" y="171"/>
                </a:cubicBezTo>
                <a:cubicBezTo>
                  <a:pt x="135" y="170"/>
                  <a:pt x="139" y="169"/>
                  <a:pt x="138" y="169"/>
                </a:cubicBezTo>
                <a:cubicBezTo>
                  <a:pt x="137" y="168"/>
                  <a:pt x="137" y="168"/>
                  <a:pt x="136" y="168"/>
                </a:cubicBezTo>
                <a:close/>
                <a:moveTo>
                  <a:pt x="466" y="167"/>
                </a:moveTo>
                <a:cubicBezTo>
                  <a:pt x="466" y="167"/>
                  <a:pt x="465" y="168"/>
                  <a:pt x="465" y="168"/>
                </a:cubicBezTo>
                <a:cubicBezTo>
                  <a:pt x="466" y="168"/>
                  <a:pt x="467" y="168"/>
                  <a:pt x="467" y="169"/>
                </a:cubicBezTo>
                <a:cubicBezTo>
                  <a:pt x="466" y="168"/>
                  <a:pt x="469" y="166"/>
                  <a:pt x="466" y="167"/>
                </a:cubicBezTo>
                <a:close/>
                <a:moveTo>
                  <a:pt x="454" y="162"/>
                </a:moveTo>
                <a:cubicBezTo>
                  <a:pt x="454" y="164"/>
                  <a:pt x="453" y="166"/>
                  <a:pt x="455" y="168"/>
                </a:cubicBezTo>
                <a:cubicBezTo>
                  <a:pt x="455" y="168"/>
                  <a:pt x="457" y="168"/>
                  <a:pt x="457" y="169"/>
                </a:cubicBezTo>
                <a:cubicBezTo>
                  <a:pt x="457" y="168"/>
                  <a:pt x="458" y="167"/>
                  <a:pt x="459" y="167"/>
                </a:cubicBezTo>
                <a:cubicBezTo>
                  <a:pt x="459" y="166"/>
                  <a:pt x="459" y="166"/>
                  <a:pt x="459" y="165"/>
                </a:cubicBezTo>
                <a:cubicBezTo>
                  <a:pt x="459" y="164"/>
                  <a:pt x="457" y="165"/>
                  <a:pt x="457" y="165"/>
                </a:cubicBezTo>
                <a:cubicBezTo>
                  <a:pt x="456" y="164"/>
                  <a:pt x="456" y="163"/>
                  <a:pt x="456" y="163"/>
                </a:cubicBezTo>
                <a:cubicBezTo>
                  <a:pt x="456" y="162"/>
                  <a:pt x="455" y="162"/>
                  <a:pt x="454" y="162"/>
                </a:cubicBezTo>
                <a:close/>
                <a:moveTo>
                  <a:pt x="436" y="157"/>
                </a:moveTo>
                <a:cubicBezTo>
                  <a:pt x="439" y="157"/>
                  <a:pt x="438" y="160"/>
                  <a:pt x="438" y="163"/>
                </a:cubicBezTo>
                <a:cubicBezTo>
                  <a:pt x="438" y="163"/>
                  <a:pt x="436" y="162"/>
                  <a:pt x="436" y="163"/>
                </a:cubicBezTo>
                <a:cubicBezTo>
                  <a:pt x="436" y="162"/>
                  <a:pt x="434" y="157"/>
                  <a:pt x="436" y="157"/>
                </a:cubicBezTo>
                <a:close/>
                <a:moveTo>
                  <a:pt x="467" y="151"/>
                </a:moveTo>
                <a:cubicBezTo>
                  <a:pt x="467" y="151"/>
                  <a:pt x="467" y="152"/>
                  <a:pt x="466" y="153"/>
                </a:cubicBezTo>
                <a:cubicBezTo>
                  <a:pt x="465" y="153"/>
                  <a:pt x="464" y="152"/>
                  <a:pt x="463" y="153"/>
                </a:cubicBezTo>
                <a:cubicBezTo>
                  <a:pt x="464" y="157"/>
                  <a:pt x="463" y="164"/>
                  <a:pt x="470" y="161"/>
                </a:cubicBezTo>
                <a:cubicBezTo>
                  <a:pt x="471" y="161"/>
                  <a:pt x="471" y="159"/>
                  <a:pt x="472" y="159"/>
                </a:cubicBezTo>
                <a:cubicBezTo>
                  <a:pt x="473" y="158"/>
                  <a:pt x="473" y="159"/>
                  <a:pt x="474" y="159"/>
                </a:cubicBezTo>
                <a:cubicBezTo>
                  <a:pt x="473" y="160"/>
                  <a:pt x="476" y="159"/>
                  <a:pt x="476" y="159"/>
                </a:cubicBezTo>
                <a:cubicBezTo>
                  <a:pt x="476" y="157"/>
                  <a:pt x="475" y="155"/>
                  <a:pt x="475" y="155"/>
                </a:cubicBezTo>
                <a:cubicBezTo>
                  <a:pt x="475" y="155"/>
                  <a:pt x="473" y="157"/>
                  <a:pt x="473" y="157"/>
                </a:cubicBezTo>
                <a:cubicBezTo>
                  <a:pt x="469" y="156"/>
                  <a:pt x="470" y="154"/>
                  <a:pt x="469" y="151"/>
                </a:cubicBezTo>
                <a:lnTo>
                  <a:pt x="467" y="151"/>
                </a:lnTo>
                <a:close/>
                <a:moveTo>
                  <a:pt x="461" y="135"/>
                </a:moveTo>
                <a:cubicBezTo>
                  <a:pt x="461" y="136"/>
                  <a:pt x="460" y="136"/>
                  <a:pt x="460" y="137"/>
                </a:cubicBezTo>
                <a:cubicBezTo>
                  <a:pt x="462" y="137"/>
                  <a:pt x="465" y="148"/>
                  <a:pt x="464" y="143"/>
                </a:cubicBezTo>
                <a:cubicBezTo>
                  <a:pt x="464" y="142"/>
                  <a:pt x="464" y="141"/>
                  <a:pt x="464" y="140"/>
                </a:cubicBezTo>
                <a:cubicBezTo>
                  <a:pt x="464" y="140"/>
                  <a:pt x="462" y="138"/>
                  <a:pt x="462" y="138"/>
                </a:cubicBezTo>
                <a:cubicBezTo>
                  <a:pt x="462" y="137"/>
                  <a:pt x="463" y="136"/>
                  <a:pt x="463" y="136"/>
                </a:cubicBezTo>
                <a:lnTo>
                  <a:pt x="461" y="135"/>
                </a:lnTo>
                <a:close/>
                <a:moveTo>
                  <a:pt x="10" y="119"/>
                </a:moveTo>
                <a:cubicBezTo>
                  <a:pt x="11" y="120"/>
                  <a:pt x="11" y="120"/>
                  <a:pt x="11" y="120"/>
                </a:cubicBezTo>
                <a:cubicBezTo>
                  <a:pt x="13" y="120"/>
                  <a:pt x="13" y="120"/>
                  <a:pt x="11" y="119"/>
                </a:cubicBezTo>
                <a:cubicBezTo>
                  <a:pt x="11" y="119"/>
                  <a:pt x="11" y="119"/>
                  <a:pt x="10" y="119"/>
                </a:cubicBezTo>
                <a:close/>
                <a:moveTo>
                  <a:pt x="1" y="117"/>
                </a:moveTo>
                <a:cubicBezTo>
                  <a:pt x="1" y="117"/>
                  <a:pt x="0" y="120"/>
                  <a:pt x="1" y="120"/>
                </a:cubicBezTo>
                <a:cubicBezTo>
                  <a:pt x="4" y="120"/>
                  <a:pt x="4" y="118"/>
                  <a:pt x="5" y="118"/>
                </a:cubicBezTo>
                <a:cubicBezTo>
                  <a:pt x="3" y="118"/>
                  <a:pt x="3" y="118"/>
                  <a:pt x="1" y="117"/>
                </a:cubicBezTo>
                <a:close/>
                <a:moveTo>
                  <a:pt x="457" y="69"/>
                </a:moveTo>
                <a:cubicBezTo>
                  <a:pt x="457" y="69"/>
                  <a:pt x="456" y="71"/>
                  <a:pt x="456" y="72"/>
                </a:cubicBezTo>
                <a:cubicBezTo>
                  <a:pt x="460" y="71"/>
                  <a:pt x="460" y="72"/>
                  <a:pt x="457" y="69"/>
                </a:cubicBezTo>
                <a:close/>
                <a:moveTo>
                  <a:pt x="400" y="60"/>
                </a:moveTo>
                <a:cubicBezTo>
                  <a:pt x="407" y="58"/>
                  <a:pt x="396" y="63"/>
                  <a:pt x="396" y="63"/>
                </a:cubicBezTo>
                <a:cubicBezTo>
                  <a:pt x="395" y="63"/>
                  <a:pt x="392" y="62"/>
                  <a:pt x="393" y="62"/>
                </a:cubicBezTo>
                <a:cubicBezTo>
                  <a:pt x="394" y="62"/>
                  <a:pt x="395" y="62"/>
                  <a:pt x="396" y="62"/>
                </a:cubicBezTo>
                <a:cubicBezTo>
                  <a:pt x="397" y="61"/>
                  <a:pt x="399" y="60"/>
                  <a:pt x="400" y="60"/>
                </a:cubicBezTo>
                <a:close/>
                <a:moveTo>
                  <a:pt x="463" y="37"/>
                </a:moveTo>
                <a:cubicBezTo>
                  <a:pt x="463" y="37"/>
                  <a:pt x="463" y="39"/>
                  <a:pt x="463" y="39"/>
                </a:cubicBezTo>
                <a:cubicBezTo>
                  <a:pt x="465" y="40"/>
                  <a:pt x="464" y="37"/>
                  <a:pt x="463" y="37"/>
                </a:cubicBezTo>
                <a:close/>
                <a:moveTo>
                  <a:pt x="455" y="36"/>
                </a:moveTo>
                <a:cubicBezTo>
                  <a:pt x="456" y="37"/>
                  <a:pt x="455" y="39"/>
                  <a:pt x="455" y="41"/>
                </a:cubicBezTo>
                <a:cubicBezTo>
                  <a:pt x="457" y="41"/>
                  <a:pt x="457" y="41"/>
                  <a:pt x="457" y="41"/>
                </a:cubicBezTo>
                <a:cubicBezTo>
                  <a:pt x="457" y="40"/>
                  <a:pt x="456" y="38"/>
                  <a:pt x="457" y="37"/>
                </a:cubicBezTo>
                <a:lnTo>
                  <a:pt x="455" y="36"/>
                </a:lnTo>
                <a:close/>
                <a:moveTo>
                  <a:pt x="166" y="30"/>
                </a:moveTo>
                <a:cubicBezTo>
                  <a:pt x="167" y="31"/>
                  <a:pt x="166" y="33"/>
                  <a:pt x="167" y="34"/>
                </a:cubicBezTo>
                <a:cubicBezTo>
                  <a:pt x="169" y="38"/>
                  <a:pt x="180" y="41"/>
                  <a:pt x="186" y="42"/>
                </a:cubicBezTo>
                <a:cubicBezTo>
                  <a:pt x="186" y="42"/>
                  <a:pt x="189" y="43"/>
                  <a:pt x="187" y="41"/>
                </a:cubicBezTo>
                <a:cubicBezTo>
                  <a:pt x="187" y="41"/>
                  <a:pt x="187" y="39"/>
                  <a:pt x="186" y="39"/>
                </a:cubicBezTo>
                <a:cubicBezTo>
                  <a:pt x="186" y="39"/>
                  <a:pt x="180" y="36"/>
                  <a:pt x="180" y="36"/>
                </a:cubicBezTo>
                <a:cubicBezTo>
                  <a:pt x="179" y="36"/>
                  <a:pt x="178" y="37"/>
                  <a:pt x="177" y="36"/>
                </a:cubicBezTo>
                <a:cubicBezTo>
                  <a:pt x="176" y="36"/>
                  <a:pt x="175" y="34"/>
                  <a:pt x="175" y="34"/>
                </a:cubicBezTo>
                <a:cubicBezTo>
                  <a:pt x="174" y="33"/>
                  <a:pt x="173" y="34"/>
                  <a:pt x="172" y="33"/>
                </a:cubicBezTo>
                <a:cubicBezTo>
                  <a:pt x="170" y="32"/>
                  <a:pt x="168" y="30"/>
                  <a:pt x="166" y="30"/>
                </a:cubicBezTo>
                <a:close/>
                <a:moveTo>
                  <a:pt x="327" y="18"/>
                </a:moveTo>
                <a:cubicBezTo>
                  <a:pt x="332" y="17"/>
                  <a:pt x="324" y="20"/>
                  <a:pt x="324" y="20"/>
                </a:cubicBezTo>
                <a:cubicBezTo>
                  <a:pt x="324" y="20"/>
                  <a:pt x="324" y="21"/>
                  <a:pt x="324" y="22"/>
                </a:cubicBezTo>
                <a:cubicBezTo>
                  <a:pt x="324" y="22"/>
                  <a:pt x="321" y="21"/>
                  <a:pt x="320" y="20"/>
                </a:cubicBezTo>
                <a:cubicBezTo>
                  <a:pt x="320" y="21"/>
                  <a:pt x="320" y="22"/>
                  <a:pt x="319" y="22"/>
                </a:cubicBezTo>
                <a:cubicBezTo>
                  <a:pt x="317" y="22"/>
                  <a:pt x="319" y="19"/>
                  <a:pt x="319" y="19"/>
                </a:cubicBezTo>
                <a:cubicBezTo>
                  <a:pt x="322" y="19"/>
                  <a:pt x="325" y="18"/>
                  <a:pt x="327" y="18"/>
                </a:cubicBezTo>
                <a:close/>
                <a:moveTo>
                  <a:pt x="366" y="14"/>
                </a:moveTo>
                <a:cubicBezTo>
                  <a:pt x="368" y="14"/>
                  <a:pt x="372" y="15"/>
                  <a:pt x="373" y="15"/>
                </a:cubicBezTo>
                <a:cubicBezTo>
                  <a:pt x="377" y="15"/>
                  <a:pt x="379" y="14"/>
                  <a:pt x="383" y="14"/>
                </a:cubicBezTo>
                <a:cubicBezTo>
                  <a:pt x="384" y="14"/>
                  <a:pt x="390" y="16"/>
                  <a:pt x="392" y="16"/>
                </a:cubicBezTo>
                <a:cubicBezTo>
                  <a:pt x="386" y="16"/>
                  <a:pt x="379" y="18"/>
                  <a:pt x="374" y="18"/>
                </a:cubicBezTo>
                <a:cubicBezTo>
                  <a:pt x="371" y="18"/>
                  <a:pt x="367" y="16"/>
                  <a:pt x="364" y="17"/>
                </a:cubicBezTo>
                <a:cubicBezTo>
                  <a:pt x="362" y="18"/>
                  <a:pt x="362" y="18"/>
                  <a:pt x="362" y="18"/>
                </a:cubicBezTo>
                <a:cubicBezTo>
                  <a:pt x="359" y="19"/>
                  <a:pt x="356" y="18"/>
                  <a:pt x="353" y="18"/>
                </a:cubicBezTo>
                <a:cubicBezTo>
                  <a:pt x="354" y="17"/>
                  <a:pt x="354" y="17"/>
                  <a:pt x="354" y="17"/>
                </a:cubicBezTo>
                <a:cubicBezTo>
                  <a:pt x="354" y="17"/>
                  <a:pt x="356" y="17"/>
                  <a:pt x="356" y="17"/>
                </a:cubicBezTo>
                <a:cubicBezTo>
                  <a:pt x="359" y="16"/>
                  <a:pt x="363" y="15"/>
                  <a:pt x="366" y="14"/>
                </a:cubicBezTo>
                <a:close/>
                <a:moveTo>
                  <a:pt x="335" y="12"/>
                </a:moveTo>
                <a:cubicBezTo>
                  <a:pt x="336" y="12"/>
                  <a:pt x="336" y="12"/>
                  <a:pt x="336" y="12"/>
                </a:cubicBezTo>
                <a:cubicBezTo>
                  <a:pt x="337" y="13"/>
                  <a:pt x="336" y="14"/>
                  <a:pt x="336" y="15"/>
                </a:cubicBezTo>
                <a:cubicBezTo>
                  <a:pt x="337" y="15"/>
                  <a:pt x="339" y="17"/>
                  <a:pt x="339" y="18"/>
                </a:cubicBezTo>
                <a:cubicBezTo>
                  <a:pt x="346" y="15"/>
                  <a:pt x="346" y="16"/>
                  <a:pt x="352" y="18"/>
                </a:cubicBezTo>
                <a:cubicBezTo>
                  <a:pt x="350" y="18"/>
                  <a:pt x="347" y="18"/>
                  <a:pt x="346" y="18"/>
                </a:cubicBezTo>
                <a:cubicBezTo>
                  <a:pt x="345" y="18"/>
                  <a:pt x="341" y="18"/>
                  <a:pt x="339" y="18"/>
                </a:cubicBezTo>
                <a:cubicBezTo>
                  <a:pt x="339" y="18"/>
                  <a:pt x="339" y="20"/>
                  <a:pt x="339" y="20"/>
                </a:cubicBezTo>
                <a:cubicBezTo>
                  <a:pt x="338" y="20"/>
                  <a:pt x="339" y="21"/>
                  <a:pt x="338" y="21"/>
                </a:cubicBezTo>
                <a:cubicBezTo>
                  <a:pt x="337" y="21"/>
                  <a:pt x="337" y="19"/>
                  <a:pt x="336" y="19"/>
                </a:cubicBezTo>
                <a:cubicBezTo>
                  <a:pt x="336" y="19"/>
                  <a:pt x="334" y="19"/>
                  <a:pt x="334" y="18"/>
                </a:cubicBezTo>
                <a:cubicBezTo>
                  <a:pt x="334" y="18"/>
                  <a:pt x="334" y="18"/>
                  <a:pt x="334" y="18"/>
                </a:cubicBezTo>
                <a:cubicBezTo>
                  <a:pt x="337" y="16"/>
                  <a:pt x="334" y="11"/>
                  <a:pt x="335" y="12"/>
                </a:cubicBezTo>
                <a:close/>
                <a:moveTo>
                  <a:pt x="440" y="34"/>
                </a:moveTo>
                <a:cubicBezTo>
                  <a:pt x="442" y="33"/>
                  <a:pt x="443" y="30"/>
                  <a:pt x="444" y="30"/>
                </a:cubicBezTo>
                <a:cubicBezTo>
                  <a:pt x="445" y="29"/>
                  <a:pt x="446" y="30"/>
                  <a:pt x="447" y="30"/>
                </a:cubicBezTo>
                <a:cubicBezTo>
                  <a:pt x="448" y="29"/>
                  <a:pt x="450" y="28"/>
                  <a:pt x="451" y="27"/>
                </a:cubicBezTo>
                <a:cubicBezTo>
                  <a:pt x="451" y="27"/>
                  <a:pt x="451" y="25"/>
                  <a:pt x="451" y="25"/>
                </a:cubicBezTo>
                <a:cubicBezTo>
                  <a:pt x="449" y="24"/>
                  <a:pt x="447" y="24"/>
                  <a:pt x="445" y="24"/>
                </a:cubicBezTo>
                <a:cubicBezTo>
                  <a:pt x="444" y="23"/>
                  <a:pt x="443" y="22"/>
                  <a:pt x="443" y="22"/>
                </a:cubicBezTo>
                <a:cubicBezTo>
                  <a:pt x="439" y="21"/>
                  <a:pt x="435" y="24"/>
                  <a:pt x="432" y="22"/>
                </a:cubicBezTo>
                <a:cubicBezTo>
                  <a:pt x="432" y="22"/>
                  <a:pt x="432" y="20"/>
                  <a:pt x="432" y="20"/>
                </a:cubicBezTo>
                <a:cubicBezTo>
                  <a:pt x="431" y="20"/>
                  <a:pt x="430" y="19"/>
                  <a:pt x="429" y="18"/>
                </a:cubicBezTo>
                <a:cubicBezTo>
                  <a:pt x="428" y="19"/>
                  <a:pt x="428" y="18"/>
                  <a:pt x="427" y="18"/>
                </a:cubicBezTo>
                <a:cubicBezTo>
                  <a:pt x="426" y="18"/>
                  <a:pt x="426" y="20"/>
                  <a:pt x="425" y="20"/>
                </a:cubicBezTo>
                <a:cubicBezTo>
                  <a:pt x="425" y="20"/>
                  <a:pt x="425" y="18"/>
                  <a:pt x="425" y="18"/>
                </a:cubicBezTo>
                <a:cubicBezTo>
                  <a:pt x="424" y="17"/>
                  <a:pt x="424" y="17"/>
                  <a:pt x="423" y="17"/>
                </a:cubicBezTo>
                <a:cubicBezTo>
                  <a:pt x="418" y="19"/>
                  <a:pt x="417" y="21"/>
                  <a:pt x="410" y="22"/>
                </a:cubicBezTo>
                <a:cubicBezTo>
                  <a:pt x="410" y="20"/>
                  <a:pt x="410" y="20"/>
                  <a:pt x="410" y="20"/>
                </a:cubicBezTo>
                <a:cubicBezTo>
                  <a:pt x="413" y="19"/>
                  <a:pt x="414" y="20"/>
                  <a:pt x="417" y="19"/>
                </a:cubicBezTo>
                <a:cubicBezTo>
                  <a:pt x="417" y="19"/>
                  <a:pt x="417" y="18"/>
                  <a:pt x="418" y="18"/>
                </a:cubicBezTo>
                <a:cubicBezTo>
                  <a:pt x="418" y="17"/>
                  <a:pt x="419" y="15"/>
                  <a:pt x="418" y="14"/>
                </a:cubicBezTo>
                <a:cubicBezTo>
                  <a:pt x="418" y="13"/>
                  <a:pt x="412" y="9"/>
                  <a:pt x="410" y="9"/>
                </a:cubicBezTo>
                <a:cubicBezTo>
                  <a:pt x="408" y="9"/>
                  <a:pt x="407" y="12"/>
                  <a:pt x="406" y="12"/>
                </a:cubicBezTo>
                <a:cubicBezTo>
                  <a:pt x="403" y="14"/>
                  <a:pt x="398" y="14"/>
                  <a:pt x="394" y="15"/>
                </a:cubicBezTo>
                <a:cubicBezTo>
                  <a:pt x="395" y="14"/>
                  <a:pt x="397" y="11"/>
                  <a:pt x="398" y="10"/>
                </a:cubicBezTo>
                <a:cubicBezTo>
                  <a:pt x="399" y="10"/>
                  <a:pt x="401" y="10"/>
                  <a:pt x="402" y="9"/>
                </a:cubicBezTo>
                <a:cubicBezTo>
                  <a:pt x="403" y="9"/>
                  <a:pt x="403" y="7"/>
                  <a:pt x="404" y="6"/>
                </a:cubicBezTo>
                <a:cubicBezTo>
                  <a:pt x="403" y="6"/>
                  <a:pt x="401" y="5"/>
                  <a:pt x="400" y="5"/>
                </a:cubicBezTo>
                <a:cubicBezTo>
                  <a:pt x="396" y="5"/>
                  <a:pt x="391" y="6"/>
                  <a:pt x="386" y="5"/>
                </a:cubicBezTo>
                <a:cubicBezTo>
                  <a:pt x="383" y="5"/>
                  <a:pt x="380" y="3"/>
                  <a:pt x="376" y="3"/>
                </a:cubicBezTo>
                <a:cubicBezTo>
                  <a:pt x="376" y="3"/>
                  <a:pt x="376" y="4"/>
                  <a:pt x="376" y="4"/>
                </a:cubicBezTo>
                <a:cubicBezTo>
                  <a:pt x="374" y="4"/>
                  <a:pt x="373" y="4"/>
                  <a:pt x="371" y="4"/>
                </a:cubicBezTo>
                <a:cubicBezTo>
                  <a:pt x="369" y="4"/>
                  <a:pt x="367" y="6"/>
                  <a:pt x="364" y="6"/>
                </a:cubicBezTo>
                <a:cubicBezTo>
                  <a:pt x="360" y="5"/>
                  <a:pt x="355" y="1"/>
                  <a:pt x="352" y="1"/>
                </a:cubicBezTo>
                <a:cubicBezTo>
                  <a:pt x="351" y="1"/>
                  <a:pt x="349" y="3"/>
                  <a:pt x="348" y="3"/>
                </a:cubicBezTo>
                <a:cubicBezTo>
                  <a:pt x="345" y="4"/>
                  <a:pt x="342" y="2"/>
                  <a:pt x="340" y="2"/>
                </a:cubicBezTo>
                <a:cubicBezTo>
                  <a:pt x="335" y="1"/>
                  <a:pt x="333" y="3"/>
                  <a:pt x="326" y="3"/>
                </a:cubicBezTo>
                <a:cubicBezTo>
                  <a:pt x="324" y="3"/>
                  <a:pt x="310" y="0"/>
                  <a:pt x="309" y="1"/>
                </a:cubicBezTo>
                <a:cubicBezTo>
                  <a:pt x="308" y="1"/>
                  <a:pt x="308" y="3"/>
                  <a:pt x="308" y="4"/>
                </a:cubicBezTo>
                <a:cubicBezTo>
                  <a:pt x="305" y="3"/>
                  <a:pt x="303" y="3"/>
                  <a:pt x="300" y="2"/>
                </a:cubicBezTo>
                <a:cubicBezTo>
                  <a:pt x="300" y="2"/>
                  <a:pt x="299" y="4"/>
                  <a:pt x="299" y="4"/>
                </a:cubicBezTo>
                <a:cubicBezTo>
                  <a:pt x="300" y="5"/>
                  <a:pt x="300" y="5"/>
                  <a:pt x="301" y="6"/>
                </a:cubicBezTo>
                <a:cubicBezTo>
                  <a:pt x="299" y="6"/>
                  <a:pt x="294" y="7"/>
                  <a:pt x="291" y="6"/>
                </a:cubicBezTo>
                <a:cubicBezTo>
                  <a:pt x="290" y="5"/>
                  <a:pt x="293" y="4"/>
                  <a:pt x="291" y="5"/>
                </a:cubicBezTo>
                <a:cubicBezTo>
                  <a:pt x="290" y="5"/>
                  <a:pt x="290" y="6"/>
                  <a:pt x="290" y="7"/>
                </a:cubicBezTo>
                <a:cubicBezTo>
                  <a:pt x="290" y="7"/>
                  <a:pt x="286" y="9"/>
                  <a:pt x="288" y="10"/>
                </a:cubicBezTo>
                <a:cubicBezTo>
                  <a:pt x="289" y="10"/>
                  <a:pt x="290" y="9"/>
                  <a:pt x="291" y="10"/>
                </a:cubicBezTo>
                <a:cubicBezTo>
                  <a:pt x="293" y="11"/>
                  <a:pt x="293" y="11"/>
                  <a:pt x="293" y="11"/>
                </a:cubicBezTo>
                <a:cubicBezTo>
                  <a:pt x="277" y="11"/>
                  <a:pt x="282" y="13"/>
                  <a:pt x="288" y="19"/>
                </a:cubicBezTo>
                <a:cubicBezTo>
                  <a:pt x="287" y="19"/>
                  <a:pt x="286" y="19"/>
                  <a:pt x="285" y="19"/>
                </a:cubicBezTo>
                <a:cubicBezTo>
                  <a:pt x="284" y="19"/>
                  <a:pt x="281" y="14"/>
                  <a:pt x="281" y="14"/>
                </a:cubicBezTo>
                <a:cubicBezTo>
                  <a:pt x="279" y="13"/>
                  <a:pt x="278" y="14"/>
                  <a:pt x="277" y="14"/>
                </a:cubicBezTo>
                <a:cubicBezTo>
                  <a:pt x="278" y="14"/>
                  <a:pt x="278" y="15"/>
                  <a:pt x="279" y="15"/>
                </a:cubicBezTo>
                <a:cubicBezTo>
                  <a:pt x="280" y="16"/>
                  <a:pt x="279" y="17"/>
                  <a:pt x="280" y="18"/>
                </a:cubicBezTo>
                <a:cubicBezTo>
                  <a:pt x="276" y="16"/>
                  <a:pt x="277" y="14"/>
                  <a:pt x="275" y="20"/>
                </a:cubicBezTo>
                <a:cubicBezTo>
                  <a:pt x="273" y="19"/>
                  <a:pt x="268" y="17"/>
                  <a:pt x="267" y="16"/>
                </a:cubicBezTo>
                <a:cubicBezTo>
                  <a:pt x="267" y="15"/>
                  <a:pt x="267" y="12"/>
                  <a:pt x="267" y="12"/>
                </a:cubicBezTo>
                <a:cubicBezTo>
                  <a:pt x="265" y="11"/>
                  <a:pt x="259" y="9"/>
                  <a:pt x="255" y="10"/>
                </a:cubicBezTo>
                <a:cubicBezTo>
                  <a:pt x="253" y="11"/>
                  <a:pt x="258" y="13"/>
                  <a:pt x="255" y="14"/>
                </a:cubicBezTo>
                <a:cubicBezTo>
                  <a:pt x="254" y="14"/>
                  <a:pt x="250" y="12"/>
                  <a:pt x="249" y="12"/>
                </a:cubicBezTo>
                <a:cubicBezTo>
                  <a:pt x="250" y="12"/>
                  <a:pt x="247" y="12"/>
                  <a:pt x="247" y="12"/>
                </a:cubicBezTo>
                <a:cubicBezTo>
                  <a:pt x="247" y="13"/>
                  <a:pt x="247" y="14"/>
                  <a:pt x="248" y="14"/>
                </a:cubicBezTo>
                <a:cubicBezTo>
                  <a:pt x="248" y="15"/>
                  <a:pt x="248" y="15"/>
                  <a:pt x="248" y="15"/>
                </a:cubicBezTo>
                <a:cubicBezTo>
                  <a:pt x="248" y="15"/>
                  <a:pt x="250" y="16"/>
                  <a:pt x="250" y="16"/>
                </a:cubicBezTo>
                <a:cubicBezTo>
                  <a:pt x="250" y="16"/>
                  <a:pt x="251" y="17"/>
                  <a:pt x="251" y="18"/>
                </a:cubicBezTo>
                <a:cubicBezTo>
                  <a:pt x="250" y="18"/>
                  <a:pt x="248" y="18"/>
                  <a:pt x="247" y="18"/>
                </a:cubicBezTo>
                <a:cubicBezTo>
                  <a:pt x="248" y="18"/>
                  <a:pt x="247" y="20"/>
                  <a:pt x="247" y="21"/>
                </a:cubicBezTo>
                <a:cubicBezTo>
                  <a:pt x="248" y="21"/>
                  <a:pt x="252" y="21"/>
                  <a:pt x="253" y="22"/>
                </a:cubicBezTo>
                <a:cubicBezTo>
                  <a:pt x="255" y="23"/>
                  <a:pt x="255" y="23"/>
                  <a:pt x="255" y="23"/>
                </a:cubicBezTo>
                <a:cubicBezTo>
                  <a:pt x="258" y="23"/>
                  <a:pt x="260" y="21"/>
                  <a:pt x="263" y="23"/>
                </a:cubicBezTo>
                <a:cubicBezTo>
                  <a:pt x="265" y="24"/>
                  <a:pt x="264" y="26"/>
                  <a:pt x="265" y="28"/>
                </a:cubicBezTo>
                <a:cubicBezTo>
                  <a:pt x="265" y="28"/>
                  <a:pt x="267" y="30"/>
                  <a:pt x="268" y="31"/>
                </a:cubicBezTo>
                <a:cubicBezTo>
                  <a:pt x="266" y="30"/>
                  <a:pt x="265" y="30"/>
                  <a:pt x="264" y="28"/>
                </a:cubicBezTo>
                <a:cubicBezTo>
                  <a:pt x="264" y="27"/>
                  <a:pt x="264" y="27"/>
                  <a:pt x="264" y="27"/>
                </a:cubicBezTo>
                <a:cubicBezTo>
                  <a:pt x="263" y="24"/>
                  <a:pt x="256" y="23"/>
                  <a:pt x="253" y="23"/>
                </a:cubicBezTo>
                <a:cubicBezTo>
                  <a:pt x="249" y="22"/>
                  <a:pt x="238" y="20"/>
                  <a:pt x="242" y="27"/>
                </a:cubicBezTo>
                <a:cubicBezTo>
                  <a:pt x="242" y="28"/>
                  <a:pt x="244" y="28"/>
                  <a:pt x="245" y="28"/>
                </a:cubicBezTo>
                <a:cubicBezTo>
                  <a:pt x="245" y="29"/>
                  <a:pt x="245" y="30"/>
                  <a:pt x="245" y="31"/>
                </a:cubicBezTo>
                <a:cubicBezTo>
                  <a:pt x="244" y="30"/>
                  <a:pt x="239" y="25"/>
                  <a:pt x="239" y="25"/>
                </a:cubicBezTo>
                <a:cubicBezTo>
                  <a:pt x="234" y="23"/>
                  <a:pt x="231" y="26"/>
                  <a:pt x="227" y="26"/>
                </a:cubicBezTo>
                <a:cubicBezTo>
                  <a:pt x="225" y="27"/>
                  <a:pt x="223" y="26"/>
                  <a:pt x="220" y="26"/>
                </a:cubicBezTo>
                <a:cubicBezTo>
                  <a:pt x="220" y="26"/>
                  <a:pt x="220" y="28"/>
                  <a:pt x="220" y="28"/>
                </a:cubicBezTo>
                <a:cubicBezTo>
                  <a:pt x="220" y="29"/>
                  <a:pt x="222" y="30"/>
                  <a:pt x="223" y="30"/>
                </a:cubicBezTo>
                <a:cubicBezTo>
                  <a:pt x="223" y="31"/>
                  <a:pt x="223" y="33"/>
                  <a:pt x="223" y="33"/>
                </a:cubicBezTo>
                <a:cubicBezTo>
                  <a:pt x="224" y="34"/>
                  <a:pt x="225" y="33"/>
                  <a:pt x="226" y="34"/>
                </a:cubicBezTo>
                <a:cubicBezTo>
                  <a:pt x="227" y="34"/>
                  <a:pt x="228" y="36"/>
                  <a:pt x="228" y="36"/>
                </a:cubicBezTo>
                <a:cubicBezTo>
                  <a:pt x="230" y="38"/>
                  <a:pt x="232" y="39"/>
                  <a:pt x="234" y="40"/>
                </a:cubicBezTo>
                <a:cubicBezTo>
                  <a:pt x="235" y="41"/>
                  <a:pt x="236" y="43"/>
                  <a:pt x="237" y="44"/>
                </a:cubicBezTo>
                <a:cubicBezTo>
                  <a:pt x="240" y="46"/>
                  <a:pt x="245" y="46"/>
                  <a:pt x="249" y="48"/>
                </a:cubicBezTo>
                <a:cubicBezTo>
                  <a:pt x="250" y="49"/>
                  <a:pt x="250" y="51"/>
                  <a:pt x="251" y="52"/>
                </a:cubicBezTo>
                <a:cubicBezTo>
                  <a:pt x="249" y="51"/>
                  <a:pt x="247" y="48"/>
                  <a:pt x="245" y="48"/>
                </a:cubicBezTo>
                <a:cubicBezTo>
                  <a:pt x="245" y="48"/>
                  <a:pt x="244" y="49"/>
                  <a:pt x="243" y="49"/>
                </a:cubicBezTo>
                <a:cubicBezTo>
                  <a:pt x="241" y="48"/>
                  <a:pt x="241" y="48"/>
                  <a:pt x="241" y="48"/>
                </a:cubicBezTo>
                <a:cubicBezTo>
                  <a:pt x="236" y="46"/>
                  <a:pt x="236" y="49"/>
                  <a:pt x="233" y="52"/>
                </a:cubicBezTo>
                <a:cubicBezTo>
                  <a:pt x="233" y="52"/>
                  <a:pt x="231" y="52"/>
                  <a:pt x="230" y="52"/>
                </a:cubicBezTo>
                <a:cubicBezTo>
                  <a:pt x="229" y="51"/>
                  <a:pt x="229" y="49"/>
                  <a:pt x="228" y="49"/>
                </a:cubicBezTo>
                <a:cubicBezTo>
                  <a:pt x="227" y="48"/>
                  <a:pt x="227" y="50"/>
                  <a:pt x="225" y="50"/>
                </a:cubicBezTo>
                <a:cubicBezTo>
                  <a:pt x="224" y="49"/>
                  <a:pt x="217" y="43"/>
                  <a:pt x="217" y="42"/>
                </a:cubicBezTo>
                <a:cubicBezTo>
                  <a:pt x="216" y="40"/>
                  <a:pt x="217" y="38"/>
                  <a:pt x="216" y="36"/>
                </a:cubicBezTo>
                <a:cubicBezTo>
                  <a:pt x="215" y="36"/>
                  <a:pt x="215" y="36"/>
                  <a:pt x="215" y="36"/>
                </a:cubicBezTo>
                <a:cubicBezTo>
                  <a:pt x="213" y="35"/>
                  <a:pt x="209" y="30"/>
                  <a:pt x="207" y="28"/>
                </a:cubicBezTo>
                <a:cubicBezTo>
                  <a:pt x="207" y="28"/>
                  <a:pt x="198" y="26"/>
                  <a:pt x="198" y="26"/>
                </a:cubicBezTo>
                <a:cubicBezTo>
                  <a:pt x="196" y="26"/>
                  <a:pt x="195" y="26"/>
                  <a:pt x="194" y="26"/>
                </a:cubicBezTo>
                <a:cubicBezTo>
                  <a:pt x="194" y="28"/>
                  <a:pt x="194" y="31"/>
                  <a:pt x="195" y="34"/>
                </a:cubicBezTo>
                <a:cubicBezTo>
                  <a:pt x="195" y="34"/>
                  <a:pt x="197" y="36"/>
                  <a:pt x="197" y="36"/>
                </a:cubicBezTo>
                <a:cubicBezTo>
                  <a:pt x="197" y="36"/>
                  <a:pt x="196" y="39"/>
                  <a:pt x="196" y="38"/>
                </a:cubicBezTo>
                <a:cubicBezTo>
                  <a:pt x="197" y="37"/>
                  <a:pt x="194" y="37"/>
                  <a:pt x="194" y="37"/>
                </a:cubicBezTo>
                <a:cubicBezTo>
                  <a:pt x="193" y="38"/>
                  <a:pt x="193" y="40"/>
                  <a:pt x="194" y="40"/>
                </a:cubicBezTo>
                <a:cubicBezTo>
                  <a:pt x="194" y="41"/>
                  <a:pt x="194" y="43"/>
                  <a:pt x="194" y="43"/>
                </a:cubicBezTo>
                <a:cubicBezTo>
                  <a:pt x="193" y="43"/>
                  <a:pt x="195" y="47"/>
                  <a:pt x="195" y="47"/>
                </a:cubicBezTo>
                <a:cubicBezTo>
                  <a:pt x="194" y="48"/>
                  <a:pt x="194" y="47"/>
                  <a:pt x="194" y="49"/>
                </a:cubicBezTo>
                <a:cubicBezTo>
                  <a:pt x="193" y="49"/>
                  <a:pt x="192" y="49"/>
                  <a:pt x="192" y="49"/>
                </a:cubicBezTo>
                <a:cubicBezTo>
                  <a:pt x="189" y="47"/>
                  <a:pt x="186" y="44"/>
                  <a:pt x="182" y="44"/>
                </a:cubicBezTo>
                <a:cubicBezTo>
                  <a:pt x="181" y="43"/>
                  <a:pt x="181" y="44"/>
                  <a:pt x="180" y="44"/>
                </a:cubicBezTo>
                <a:cubicBezTo>
                  <a:pt x="180" y="42"/>
                  <a:pt x="180" y="42"/>
                  <a:pt x="180" y="42"/>
                </a:cubicBezTo>
                <a:cubicBezTo>
                  <a:pt x="178" y="42"/>
                  <a:pt x="180" y="43"/>
                  <a:pt x="179" y="44"/>
                </a:cubicBezTo>
                <a:cubicBezTo>
                  <a:pt x="176" y="45"/>
                  <a:pt x="172" y="41"/>
                  <a:pt x="171" y="40"/>
                </a:cubicBezTo>
                <a:cubicBezTo>
                  <a:pt x="170" y="41"/>
                  <a:pt x="170" y="42"/>
                  <a:pt x="170" y="43"/>
                </a:cubicBezTo>
                <a:cubicBezTo>
                  <a:pt x="168" y="44"/>
                  <a:pt x="166" y="45"/>
                  <a:pt x="164" y="47"/>
                </a:cubicBezTo>
                <a:cubicBezTo>
                  <a:pt x="165" y="48"/>
                  <a:pt x="165" y="48"/>
                  <a:pt x="165" y="49"/>
                </a:cubicBezTo>
                <a:cubicBezTo>
                  <a:pt x="164" y="49"/>
                  <a:pt x="164" y="49"/>
                  <a:pt x="164" y="49"/>
                </a:cubicBezTo>
                <a:cubicBezTo>
                  <a:pt x="162" y="43"/>
                  <a:pt x="164" y="30"/>
                  <a:pt x="156" y="30"/>
                </a:cubicBezTo>
                <a:cubicBezTo>
                  <a:pt x="155" y="30"/>
                  <a:pt x="151" y="32"/>
                  <a:pt x="150" y="32"/>
                </a:cubicBezTo>
                <a:cubicBezTo>
                  <a:pt x="150" y="36"/>
                  <a:pt x="150" y="36"/>
                  <a:pt x="150" y="36"/>
                </a:cubicBezTo>
                <a:cubicBezTo>
                  <a:pt x="149" y="36"/>
                  <a:pt x="147" y="33"/>
                  <a:pt x="146" y="33"/>
                </a:cubicBezTo>
                <a:cubicBezTo>
                  <a:pt x="144" y="33"/>
                  <a:pt x="145" y="34"/>
                  <a:pt x="144" y="34"/>
                </a:cubicBezTo>
                <a:cubicBezTo>
                  <a:pt x="143" y="34"/>
                  <a:pt x="143" y="36"/>
                  <a:pt x="143" y="36"/>
                </a:cubicBezTo>
                <a:cubicBezTo>
                  <a:pt x="142" y="37"/>
                  <a:pt x="141" y="36"/>
                  <a:pt x="141" y="37"/>
                </a:cubicBezTo>
                <a:cubicBezTo>
                  <a:pt x="140" y="36"/>
                  <a:pt x="140" y="34"/>
                  <a:pt x="138" y="34"/>
                </a:cubicBezTo>
                <a:cubicBezTo>
                  <a:pt x="135" y="33"/>
                  <a:pt x="131" y="35"/>
                  <a:pt x="128" y="36"/>
                </a:cubicBezTo>
                <a:cubicBezTo>
                  <a:pt x="123" y="36"/>
                  <a:pt x="119" y="36"/>
                  <a:pt x="114" y="37"/>
                </a:cubicBezTo>
                <a:cubicBezTo>
                  <a:pt x="113" y="37"/>
                  <a:pt x="111" y="40"/>
                  <a:pt x="110" y="40"/>
                </a:cubicBezTo>
                <a:cubicBezTo>
                  <a:pt x="109" y="41"/>
                  <a:pt x="108" y="40"/>
                  <a:pt x="106" y="40"/>
                </a:cubicBezTo>
                <a:cubicBezTo>
                  <a:pt x="107" y="41"/>
                  <a:pt x="108" y="42"/>
                  <a:pt x="108" y="43"/>
                </a:cubicBezTo>
                <a:cubicBezTo>
                  <a:pt x="109" y="45"/>
                  <a:pt x="108" y="47"/>
                  <a:pt x="109" y="49"/>
                </a:cubicBezTo>
                <a:cubicBezTo>
                  <a:pt x="109" y="49"/>
                  <a:pt x="111" y="50"/>
                  <a:pt x="111" y="51"/>
                </a:cubicBezTo>
                <a:cubicBezTo>
                  <a:pt x="110" y="50"/>
                  <a:pt x="108" y="50"/>
                  <a:pt x="107" y="48"/>
                </a:cubicBezTo>
                <a:cubicBezTo>
                  <a:pt x="106" y="46"/>
                  <a:pt x="106" y="43"/>
                  <a:pt x="104" y="42"/>
                </a:cubicBezTo>
                <a:cubicBezTo>
                  <a:pt x="103" y="41"/>
                  <a:pt x="102" y="41"/>
                  <a:pt x="100" y="40"/>
                </a:cubicBezTo>
                <a:cubicBezTo>
                  <a:pt x="101" y="40"/>
                  <a:pt x="97" y="40"/>
                  <a:pt x="96" y="42"/>
                </a:cubicBezTo>
                <a:cubicBezTo>
                  <a:pt x="95" y="43"/>
                  <a:pt x="94" y="47"/>
                  <a:pt x="93" y="49"/>
                </a:cubicBezTo>
                <a:cubicBezTo>
                  <a:pt x="92" y="49"/>
                  <a:pt x="92" y="49"/>
                  <a:pt x="92" y="49"/>
                </a:cubicBezTo>
                <a:cubicBezTo>
                  <a:pt x="92" y="50"/>
                  <a:pt x="93" y="52"/>
                  <a:pt x="93" y="52"/>
                </a:cubicBezTo>
                <a:cubicBezTo>
                  <a:pt x="94" y="53"/>
                  <a:pt x="95" y="54"/>
                  <a:pt x="96" y="55"/>
                </a:cubicBezTo>
                <a:cubicBezTo>
                  <a:pt x="96" y="55"/>
                  <a:pt x="95" y="56"/>
                  <a:pt x="94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2" y="56"/>
                  <a:pt x="93" y="54"/>
                  <a:pt x="92" y="54"/>
                </a:cubicBezTo>
                <a:cubicBezTo>
                  <a:pt x="91" y="53"/>
                  <a:pt x="84" y="51"/>
                  <a:pt x="83" y="52"/>
                </a:cubicBezTo>
                <a:cubicBezTo>
                  <a:pt x="74" y="52"/>
                  <a:pt x="68" y="58"/>
                  <a:pt x="61" y="60"/>
                </a:cubicBezTo>
                <a:cubicBezTo>
                  <a:pt x="56" y="61"/>
                  <a:pt x="49" y="61"/>
                  <a:pt x="47" y="64"/>
                </a:cubicBezTo>
                <a:cubicBezTo>
                  <a:pt x="46" y="64"/>
                  <a:pt x="45" y="67"/>
                  <a:pt x="45" y="67"/>
                </a:cubicBezTo>
                <a:cubicBezTo>
                  <a:pt x="43" y="72"/>
                  <a:pt x="44" y="70"/>
                  <a:pt x="46" y="73"/>
                </a:cubicBezTo>
                <a:cubicBezTo>
                  <a:pt x="49" y="73"/>
                  <a:pt x="53" y="70"/>
                  <a:pt x="57" y="71"/>
                </a:cubicBezTo>
                <a:cubicBezTo>
                  <a:pt x="57" y="71"/>
                  <a:pt x="59" y="73"/>
                  <a:pt x="59" y="74"/>
                </a:cubicBezTo>
                <a:cubicBezTo>
                  <a:pt x="61" y="73"/>
                  <a:pt x="63" y="72"/>
                  <a:pt x="64" y="71"/>
                </a:cubicBezTo>
                <a:cubicBezTo>
                  <a:pt x="65" y="71"/>
                  <a:pt x="67" y="72"/>
                  <a:pt x="67" y="72"/>
                </a:cubicBezTo>
                <a:cubicBezTo>
                  <a:pt x="70" y="72"/>
                  <a:pt x="72" y="71"/>
                  <a:pt x="75" y="71"/>
                </a:cubicBezTo>
                <a:cubicBezTo>
                  <a:pt x="73" y="75"/>
                  <a:pt x="72" y="71"/>
                  <a:pt x="75" y="76"/>
                </a:cubicBezTo>
                <a:cubicBezTo>
                  <a:pt x="74" y="77"/>
                  <a:pt x="72" y="77"/>
                  <a:pt x="72" y="79"/>
                </a:cubicBezTo>
                <a:cubicBezTo>
                  <a:pt x="72" y="79"/>
                  <a:pt x="74" y="82"/>
                  <a:pt x="73" y="84"/>
                </a:cubicBezTo>
                <a:cubicBezTo>
                  <a:pt x="65" y="91"/>
                  <a:pt x="65" y="91"/>
                  <a:pt x="65" y="91"/>
                </a:cubicBezTo>
                <a:cubicBezTo>
                  <a:pt x="64" y="91"/>
                  <a:pt x="63" y="90"/>
                  <a:pt x="62" y="91"/>
                </a:cubicBezTo>
                <a:cubicBezTo>
                  <a:pt x="61" y="91"/>
                  <a:pt x="60" y="93"/>
                  <a:pt x="60" y="93"/>
                </a:cubicBezTo>
                <a:cubicBezTo>
                  <a:pt x="59" y="94"/>
                  <a:pt x="58" y="92"/>
                  <a:pt x="57" y="91"/>
                </a:cubicBezTo>
                <a:cubicBezTo>
                  <a:pt x="57" y="91"/>
                  <a:pt x="46" y="91"/>
                  <a:pt x="45" y="91"/>
                </a:cubicBezTo>
                <a:cubicBezTo>
                  <a:pt x="42" y="92"/>
                  <a:pt x="37" y="95"/>
                  <a:pt x="35" y="95"/>
                </a:cubicBezTo>
                <a:cubicBezTo>
                  <a:pt x="33" y="96"/>
                  <a:pt x="32" y="95"/>
                  <a:pt x="30" y="95"/>
                </a:cubicBezTo>
                <a:cubicBezTo>
                  <a:pt x="28" y="95"/>
                  <a:pt x="23" y="97"/>
                  <a:pt x="21" y="97"/>
                </a:cubicBezTo>
                <a:cubicBezTo>
                  <a:pt x="19" y="97"/>
                  <a:pt x="17" y="96"/>
                  <a:pt x="15" y="97"/>
                </a:cubicBezTo>
                <a:cubicBezTo>
                  <a:pt x="14" y="98"/>
                  <a:pt x="14" y="98"/>
                  <a:pt x="14" y="98"/>
                </a:cubicBezTo>
                <a:cubicBezTo>
                  <a:pt x="11" y="98"/>
                  <a:pt x="9" y="97"/>
                  <a:pt x="6" y="98"/>
                </a:cubicBezTo>
                <a:cubicBezTo>
                  <a:pt x="5" y="98"/>
                  <a:pt x="2" y="102"/>
                  <a:pt x="1" y="103"/>
                </a:cubicBezTo>
                <a:cubicBezTo>
                  <a:pt x="2" y="103"/>
                  <a:pt x="1" y="104"/>
                  <a:pt x="1" y="105"/>
                </a:cubicBezTo>
                <a:cubicBezTo>
                  <a:pt x="1" y="105"/>
                  <a:pt x="3" y="105"/>
                  <a:pt x="3" y="105"/>
                </a:cubicBezTo>
                <a:cubicBezTo>
                  <a:pt x="4" y="106"/>
                  <a:pt x="4" y="109"/>
                  <a:pt x="5" y="109"/>
                </a:cubicBezTo>
                <a:cubicBezTo>
                  <a:pt x="6" y="110"/>
                  <a:pt x="7" y="109"/>
                  <a:pt x="7" y="110"/>
                </a:cubicBezTo>
                <a:cubicBezTo>
                  <a:pt x="8" y="110"/>
                  <a:pt x="8" y="113"/>
                  <a:pt x="8" y="113"/>
                </a:cubicBezTo>
                <a:cubicBezTo>
                  <a:pt x="9" y="113"/>
                  <a:pt x="11" y="112"/>
                  <a:pt x="12" y="113"/>
                </a:cubicBezTo>
                <a:cubicBezTo>
                  <a:pt x="12" y="113"/>
                  <a:pt x="12" y="113"/>
                  <a:pt x="12" y="113"/>
                </a:cubicBezTo>
                <a:cubicBezTo>
                  <a:pt x="12" y="114"/>
                  <a:pt x="14" y="114"/>
                  <a:pt x="15" y="115"/>
                </a:cubicBezTo>
                <a:cubicBezTo>
                  <a:pt x="15" y="115"/>
                  <a:pt x="15" y="116"/>
                  <a:pt x="15" y="117"/>
                </a:cubicBezTo>
                <a:cubicBezTo>
                  <a:pt x="17" y="117"/>
                  <a:pt x="19" y="116"/>
                  <a:pt x="20" y="117"/>
                </a:cubicBezTo>
                <a:cubicBezTo>
                  <a:pt x="27" y="118"/>
                  <a:pt x="27" y="119"/>
                  <a:pt x="29" y="111"/>
                </a:cubicBezTo>
                <a:cubicBezTo>
                  <a:pt x="30" y="112"/>
                  <a:pt x="31" y="111"/>
                  <a:pt x="32" y="112"/>
                </a:cubicBezTo>
                <a:cubicBezTo>
                  <a:pt x="32" y="112"/>
                  <a:pt x="34" y="117"/>
                  <a:pt x="35" y="117"/>
                </a:cubicBezTo>
                <a:cubicBezTo>
                  <a:pt x="42" y="117"/>
                  <a:pt x="49" y="115"/>
                  <a:pt x="58" y="115"/>
                </a:cubicBezTo>
                <a:cubicBezTo>
                  <a:pt x="58" y="116"/>
                  <a:pt x="59" y="118"/>
                  <a:pt x="59" y="119"/>
                </a:cubicBezTo>
                <a:cubicBezTo>
                  <a:pt x="58" y="119"/>
                  <a:pt x="58" y="120"/>
                  <a:pt x="57" y="120"/>
                </a:cubicBezTo>
                <a:cubicBezTo>
                  <a:pt x="57" y="121"/>
                  <a:pt x="57" y="121"/>
                  <a:pt x="57" y="121"/>
                </a:cubicBezTo>
                <a:cubicBezTo>
                  <a:pt x="55" y="121"/>
                  <a:pt x="55" y="121"/>
                  <a:pt x="55" y="121"/>
                </a:cubicBezTo>
                <a:cubicBezTo>
                  <a:pt x="54" y="121"/>
                  <a:pt x="54" y="119"/>
                  <a:pt x="53" y="119"/>
                </a:cubicBezTo>
                <a:cubicBezTo>
                  <a:pt x="52" y="118"/>
                  <a:pt x="45" y="119"/>
                  <a:pt x="43" y="119"/>
                </a:cubicBezTo>
                <a:cubicBezTo>
                  <a:pt x="41" y="121"/>
                  <a:pt x="41" y="121"/>
                  <a:pt x="41" y="121"/>
                </a:cubicBezTo>
                <a:cubicBezTo>
                  <a:pt x="39" y="121"/>
                  <a:pt x="37" y="120"/>
                  <a:pt x="35" y="120"/>
                </a:cubicBezTo>
                <a:cubicBezTo>
                  <a:pt x="32" y="120"/>
                  <a:pt x="27" y="123"/>
                  <a:pt x="23" y="124"/>
                </a:cubicBezTo>
                <a:cubicBezTo>
                  <a:pt x="23" y="124"/>
                  <a:pt x="23" y="126"/>
                  <a:pt x="23" y="126"/>
                </a:cubicBezTo>
                <a:cubicBezTo>
                  <a:pt x="24" y="127"/>
                  <a:pt x="24" y="127"/>
                  <a:pt x="25" y="127"/>
                </a:cubicBezTo>
                <a:cubicBezTo>
                  <a:pt x="23" y="127"/>
                  <a:pt x="20" y="128"/>
                  <a:pt x="17" y="127"/>
                </a:cubicBezTo>
                <a:cubicBezTo>
                  <a:pt x="13" y="126"/>
                  <a:pt x="16" y="122"/>
                  <a:pt x="8" y="126"/>
                </a:cubicBezTo>
                <a:cubicBezTo>
                  <a:pt x="9" y="128"/>
                  <a:pt x="10" y="130"/>
                  <a:pt x="11" y="132"/>
                </a:cubicBezTo>
                <a:cubicBezTo>
                  <a:pt x="12" y="132"/>
                  <a:pt x="13" y="131"/>
                  <a:pt x="15" y="131"/>
                </a:cubicBezTo>
                <a:cubicBezTo>
                  <a:pt x="15" y="131"/>
                  <a:pt x="16" y="133"/>
                  <a:pt x="16" y="133"/>
                </a:cubicBezTo>
                <a:cubicBezTo>
                  <a:pt x="18" y="135"/>
                  <a:pt x="20" y="134"/>
                  <a:pt x="23" y="135"/>
                </a:cubicBezTo>
                <a:cubicBezTo>
                  <a:pt x="22" y="135"/>
                  <a:pt x="21" y="136"/>
                  <a:pt x="20" y="137"/>
                </a:cubicBezTo>
                <a:cubicBezTo>
                  <a:pt x="22" y="139"/>
                  <a:pt x="24" y="144"/>
                  <a:pt x="27" y="145"/>
                </a:cubicBezTo>
                <a:cubicBezTo>
                  <a:pt x="29" y="145"/>
                  <a:pt x="30" y="144"/>
                  <a:pt x="33" y="144"/>
                </a:cubicBezTo>
                <a:cubicBezTo>
                  <a:pt x="35" y="144"/>
                  <a:pt x="38" y="146"/>
                  <a:pt x="41" y="146"/>
                </a:cubicBezTo>
                <a:cubicBezTo>
                  <a:pt x="40" y="140"/>
                  <a:pt x="40" y="140"/>
                  <a:pt x="43" y="137"/>
                </a:cubicBezTo>
                <a:cubicBezTo>
                  <a:pt x="45" y="138"/>
                  <a:pt x="47" y="140"/>
                  <a:pt x="49" y="141"/>
                </a:cubicBezTo>
                <a:cubicBezTo>
                  <a:pt x="49" y="140"/>
                  <a:pt x="49" y="140"/>
                  <a:pt x="49" y="139"/>
                </a:cubicBezTo>
                <a:cubicBezTo>
                  <a:pt x="51" y="137"/>
                  <a:pt x="55" y="137"/>
                  <a:pt x="58" y="137"/>
                </a:cubicBezTo>
                <a:cubicBezTo>
                  <a:pt x="58" y="138"/>
                  <a:pt x="58" y="139"/>
                  <a:pt x="58" y="140"/>
                </a:cubicBezTo>
                <a:cubicBezTo>
                  <a:pt x="58" y="141"/>
                  <a:pt x="61" y="142"/>
                  <a:pt x="63" y="143"/>
                </a:cubicBezTo>
                <a:cubicBezTo>
                  <a:pt x="63" y="141"/>
                  <a:pt x="64" y="140"/>
                  <a:pt x="65" y="139"/>
                </a:cubicBezTo>
                <a:cubicBezTo>
                  <a:pt x="65" y="139"/>
                  <a:pt x="66" y="140"/>
                  <a:pt x="67" y="140"/>
                </a:cubicBezTo>
                <a:cubicBezTo>
                  <a:pt x="68" y="140"/>
                  <a:pt x="68" y="140"/>
                  <a:pt x="68" y="140"/>
                </a:cubicBezTo>
                <a:cubicBezTo>
                  <a:pt x="69" y="139"/>
                  <a:pt x="69" y="139"/>
                  <a:pt x="69" y="139"/>
                </a:cubicBezTo>
                <a:cubicBezTo>
                  <a:pt x="71" y="139"/>
                  <a:pt x="74" y="139"/>
                  <a:pt x="77" y="139"/>
                </a:cubicBezTo>
                <a:cubicBezTo>
                  <a:pt x="77" y="139"/>
                  <a:pt x="77" y="137"/>
                  <a:pt x="77" y="137"/>
                </a:cubicBezTo>
                <a:cubicBezTo>
                  <a:pt x="78" y="136"/>
                  <a:pt x="80" y="135"/>
                  <a:pt x="81" y="135"/>
                </a:cubicBezTo>
                <a:cubicBezTo>
                  <a:pt x="81" y="135"/>
                  <a:pt x="82" y="136"/>
                  <a:pt x="83" y="137"/>
                </a:cubicBezTo>
                <a:cubicBezTo>
                  <a:pt x="83" y="138"/>
                  <a:pt x="83" y="139"/>
                  <a:pt x="83" y="141"/>
                </a:cubicBezTo>
                <a:cubicBezTo>
                  <a:pt x="85" y="139"/>
                  <a:pt x="86" y="138"/>
                  <a:pt x="88" y="136"/>
                </a:cubicBezTo>
                <a:cubicBezTo>
                  <a:pt x="89" y="136"/>
                  <a:pt x="90" y="136"/>
                  <a:pt x="91" y="136"/>
                </a:cubicBezTo>
                <a:cubicBezTo>
                  <a:pt x="92" y="139"/>
                  <a:pt x="92" y="139"/>
                  <a:pt x="92" y="139"/>
                </a:cubicBezTo>
                <a:cubicBezTo>
                  <a:pt x="96" y="140"/>
                  <a:pt x="102" y="139"/>
                  <a:pt x="106" y="141"/>
                </a:cubicBezTo>
                <a:cubicBezTo>
                  <a:pt x="106" y="141"/>
                  <a:pt x="106" y="142"/>
                  <a:pt x="106" y="143"/>
                </a:cubicBezTo>
                <a:cubicBezTo>
                  <a:pt x="108" y="144"/>
                  <a:pt x="110" y="144"/>
                  <a:pt x="112" y="146"/>
                </a:cubicBezTo>
                <a:cubicBezTo>
                  <a:pt x="112" y="146"/>
                  <a:pt x="112" y="148"/>
                  <a:pt x="112" y="148"/>
                </a:cubicBezTo>
                <a:cubicBezTo>
                  <a:pt x="114" y="148"/>
                  <a:pt x="118" y="147"/>
                  <a:pt x="121" y="148"/>
                </a:cubicBezTo>
                <a:cubicBezTo>
                  <a:pt x="121" y="148"/>
                  <a:pt x="125" y="152"/>
                  <a:pt x="125" y="152"/>
                </a:cubicBezTo>
                <a:cubicBezTo>
                  <a:pt x="126" y="154"/>
                  <a:pt x="125" y="155"/>
                  <a:pt x="126" y="156"/>
                </a:cubicBezTo>
                <a:cubicBezTo>
                  <a:pt x="126" y="156"/>
                  <a:pt x="127" y="156"/>
                  <a:pt x="128" y="156"/>
                </a:cubicBezTo>
                <a:cubicBezTo>
                  <a:pt x="128" y="156"/>
                  <a:pt x="133" y="160"/>
                  <a:pt x="134" y="160"/>
                </a:cubicBezTo>
                <a:cubicBezTo>
                  <a:pt x="134" y="160"/>
                  <a:pt x="136" y="165"/>
                  <a:pt x="136" y="165"/>
                </a:cubicBezTo>
                <a:cubicBezTo>
                  <a:pt x="138" y="165"/>
                  <a:pt x="140" y="164"/>
                  <a:pt x="141" y="165"/>
                </a:cubicBezTo>
                <a:cubicBezTo>
                  <a:pt x="141" y="165"/>
                  <a:pt x="142" y="166"/>
                  <a:pt x="142" y="166"/>
                </a:cubicBezTo>
                <a:cubicBezTo>
                  <a:pt x="143" y="165"/>
                  <a:pt x="142" y="166"/>
                  <a:pt x="142" y="167"/>
                </a:cubicBezTo>
                <a:cubicBezTo>
                  <a:pt x="143" y="166"/>
                  <a:pt x="143" y="167"/>
                  <a:pt x="143" y="167"/>
                </a:cubicBezTo>
                <a:cubicBezTo>
                  <a:pt x="143" y="167"/>
                  <a:pt x="141" y="168"/>
                  <a:pt x="141" y="169"/>
                </a:cubicBezTo>
                <a:cubicBezTo>
                  <a:pt x="141" y="169"/>
                  <a:pt x="142" y="170"/>
                  <a:pt x="142" y="171"/>
                </a:cubicBezTo>
                <a:cubicBezTo>
                  <a:pt x="142" y="172"/>
                  <a:pt x="140" y="172"/>
                  <a:pt x="140" y="173"/>
                </a:cubicBezTo>
                <a:cubicBezTo>
                  <a:pt x="139" y="174"/>
                  <a:pt x="138" y="173"/>
                  <a:pt x="137" y="174"/>
                </a:cubicBezTo>
                <a:cubicBezTo>
                  <a:pt x="137" y="174"/>
                  <a:pt x="136" y="176"/>
                  <a:pt x="136" y="176"/>
                </a:cubicBezTo>
                <a:cubicBezTo>
                  <a:pt x="138" y="175"/>
                  <a:pt x="141" y="174"/>
                  <a:pt x="143" y="174"/>
                </a:cubicBezTo>
                <a:cubicBezTo>
                  <a:pt x="143" y="174"/>
                  <a:pt x="143" y="175"/>
                  <a:pt x="143" y="176"/>
                </a:cubicBezTo>
                <a:cubicBezTo>
                  <a:pt x="143" y="176"/>
                  <a:pt x="149" y="183"/>
                  <a:pt x="150" y="183"/>
                </a:cubicBezTo>
                <a:cubicBezTo>
                  <a:pt x="150" y="183"/>
                  <a:pt x="149" y="185"/>
                  <a:pt x="148" y="184"/>
                </a:cubicBezTo>
                <a:cubicBezTo>
                  <a:pt x="148" y="185"/>
                  <a:pt x="148" y="185"/>
                  <a:pt x="148" y="185"/>
                </a:cubicBezTo>
                <a:cubicBezTo>
                  <a:pt x="149" y="186"/>
                  <a:pt x="152" y="188"/>
                  <a:pt x="152" y="190"/>
                </a:cubicBezTo>
                <a:cubicBezTo>
                  <a:pt x="153" y="192"/>
                  <a:pt x="151" y="191"/>
                  <a:pt x="152" y="192"/>
                </a:cubicBezTo>
                <a:cubicBezTo>
                  <a:pt x="153" y="192"/>
                  <a:pt x="154" y="192"/>
                  <a:pt x="156" y="192"/>
                </a:cubicBezTo>
                <a:cubicBezTo>
                  <a:pt x="155" y="193"/>
                  <a:pt x="157" y="195"/>
                  <a:pt x="154" y="194"/>
                </a:cubicBezTo>
                <a:cubicBezTo>
                  <a:pt x="154" y="195"/>
                  <a:pt x="155" y="196"/>
                  <a:pt x="155" y="197"/>
                </a:cubicBezTo>
                <a:cubicBezTo>
                  <a:pt x="153" y="198"/>
                  <a:pt x="154" y="198"/>
                  <a:pt x="154" y="200"/>
                </a:cubicBezTo>
                <a:cubicBezTo>
                  <a:pt x="154" y="201"/>
                  <a:pt x="154" y="201"/>
                  <a:pt x="154" y="201"/>
                </a:cubicBezTo>
                <a:cubicBezTo>
                  <a:pt x="153" y="202"/>
                  <a:pt x="148" y="202"/>
                  <a:pt x="147" y="202"/>
                </a:cubicBezTo>
                <a:cubicBezTo>
                  <a:pt x="147" y="203"/>
                  <a:pt x="147" y="203"/>
                  <a:pt x="147" y="203"/>
                </a:cubicBezTo>
                <a:cubicBezTo>
                  <a:pt x="148" y="203"/>
                  <a:pt x="149" y="203"/>
                  <a:pt x="150" y="203"/>
                </a:cubicBezTo>
                <a:cubicBezTo>
                  <a:pt x="149" y="205"/>
                  <a:pt x="149" y="207"/>
                  <a:pt x="148" y="208"/>
                </a:cubicBezTo>
                <a:cubicBezTo>
                  <a:pt x="147" y="209"/>
                  <a:pt x="146" y="209"/>
                  <a:pt x="146" y="209"/>
                </a:cubicBezTo>
                <a:cubicBezTo>
                  <a:pt x="146" y="209"/>
                  <a:pt x="146" y="212"/>
                  <a:pt x="146" y="212"/>
                </a:cubicBezTo>
                <a:cubicBezTo>
                  <a:pt x="147" y="212"/>
                  <a:pt x="148" y="211"/>
                  <a:pt x="149" y="211"/>
                </a:cubicBezTo>
                <a:cubicBezTo>
                  <a:pt x="148" y="212"/>
                  <a:pt x="148" y="214"/>
                  <a:pt x="148" y="214"/>
                </a:cubicBezTo>
                <a:cubicBezTo>
                  <a:pt x="147" y="215"/>
                  <a:pt x="145" y="215"/>
                  <a:pt x="145" y="216"/>
                </a:cubicBezTo>
                <a:cubicBezTo>
                  <a:pt x="145" y="217"/>
                  <a:pt x="145" y="217"/>
                  <a:pt x="145" y="217"/>
                </a:cubicBezTo>
                <a:cubicBezTo>
                  <a:pt x="147" y="219"/>
                  <a:pt x="153" y="222"/>
                  <a:pt x="157" y="219"/>
                </a:cubicBezTo>
                <a:cubicBezTo>
                  <a:pt x="157" y="219"/>
                  <a:pt x="158" y="213"/>
                  <a:pt x="159" y="212"/>
                </a:cubicBezTo>
                <a:cubicBezTo>
                  <a:pt x="160" y="212"/>
                  <a:pt x="160" y="212"/>
                  <a:pt x="160" y="212"/>
                </a:cubicBezTo>
                <a:cubicBezTo>
                  <a:pt x="161" y="214"/>
                  <a:pt x="160" y="214"/>
                  <a:pt x="161" y="216"/>
                </a:cubicBezTo>
                <a:cubicBezTo>
                  <a:pt x="166" y="215"/>
                  <a:pt x="169" y="217"/>
                  <a:pt x="176" y="218"/>
                </a:cubicBezTo>
                <a:cubicBezTo>
                  <a:pt x="175" y="218"/>
                  <a:pt x="175" y="219"/>
                  <a:pt x="174" y="219"/>
                </a:cubicBezTo>
                <a:cubicBezTo>
                  <a:pt x="175" y="221"/>
                  <a:pt x="175" y="221"/>
                  <a:pt x="175" y="221"/>
                </a:cubicBezTo>
                <a:cubicBezTo>
                  <a:pt x="177" y="221"/>
                  <a:pt x="179" y="221"/>
                  <a:pt x="182" y="220"/>
                </a:cubicBezTo>
                <a:cubicBezTo>
                  <a:pt x="182" y="220"/>
                  <a:pt x="184" y="218"/>
                  <a:pt x="184" y="218"/>
                </a:cubicBezTo>
                <a:cubicBezTo>
                  <a:pt x="186" y="218"/>
                  <a:pt x="185" y="219"/>
                  <a:pt x="186" y="219"/>
                </a:cubicBezTo>
                <a:cubicBezTo>
                  <a:pt x="185" y="219"/>
                  <a:pt x="182" y="221"/>
                  <a:pt x="182" y="222"/>
                </a:cubicBezTo>
                <a:cubicBezTo>
                  <a:pt x="178" y="223"/>
                  <a:pt x="187" y="223"/>
                  <a:pt x="190" y="223"/>
                </a:cubicBezTo>
                <a:cubicBezTo>
                  <a:pt x="189" y="223"/>
                  <a:pt x="190" y="225"/>
                  <a:pt x="190" y="226"/>
                </a:cubicBezTo>
                <a:cubicBezTo>
                  <a:pt x="188" y="226"/>
                  <a:pt x="186" y="226"/>
                  <a:pt x="184" y="226"/>
                </a:cubicBezTo>
                <a:cubicBezTo>
                  <a:pt x="185" y="226"/>
                  <a:pt x="187" y="227"/>
                  <a:pt x="188" y="228"/>
                </a:cubicBezTo>
                <a:cubicBezTo>
                  <a:pt x="191" y="229"/>
                  <a:pt x="187" y="229"/>
                  <a:pt x="185" y="229"/>
                </a:cubicBezTo>
                <a:cubicBezTo>
                  <a:pt x="185" y="230"/>
                  <a:pt x="185" y="230"/>
                  <a:pt x="185" y="230"/>
                </a:cubicBezTo>
                <a:cubicBezTo>
                  <a:pt x="182" y="232"/>
                  <a:pt x="186" y="231"/>
                  <a:pt x="187" y="232"/>
                </a:cubicBezTo>
                <a:cubicBezTo>
                  <a:pt x="187" y="232"/>
                  <a:pt x="188" y="232"/>
                  <a:pt x="189" y="232"/>
                </a:cubicBezTo>
                <a:cubicBezTo>
                  <a:pt x="189" y="234"/>
                  <a:pt x="189" y="234"/>
                  <a:pt x="189" y="234"/>
                </a:cubicBezTo>
                <a:cubicBezTo>
                  <a:pt x="181" y="234"/>
                  <a:pt x="185" y="236"/>
                  <a:pt x="190" y="238"/>
                </a:cubicBezTo>
                <a:cubicBezTo>
                  <a:pt x="190" y="238"/>
                  <a:pt x="189" y="240"/>
                  <a:pt x="190" y="240"/>
                </a:cubicBezTo>
                <a:cubicBezTo>
                  <a:pt x="185" y="239"/>
                  <a:pt x="179" y="237"/>
                  <a:pt x="176" y="235"/>
                </a:cubicBezTo>
                <a:cubicBezTo>
                  <a:pt x="175" y="234"/>
                  <a:pt x="175" y="233"/>
                  <a:pt x="174" y="232"/>
                </a:cubicBezTo>
                <a:cubicBezTo>
                  <a:pt x="169" y="230"/>
                  <a:pt x="159" y="230"/>
                  <a:pt x="154" y="231"/>
                </a:cubicBezTo>
                <a:cubicBezTo>
                  <a:pt x="154" y="231"/>
                  <a:pt x="153" y="233"/>
                  <a:pt x="153" y="233"/>
                </a:cubicBezTo>
                <a:cubicBezTo>
                  <a:pt x="153" y="233"/>
                  <a:pt x="155" y="236"/>
                  <a:pt x="155" y="236"/>
                </a:cubicBezTo>
                <a:cubicBezTo>
                  <a:pt x="156" y="237"/>
                  <a:pt x="157" y="236"/>
                  <a:pt x="158" y="236"/>
                </a:cubicBezTo>
                <a:cubicBezTo>
                  <a:pt x="158" y="237"/>
                  <a:pt x="158" y="237"/>
                  <a:pt x="158" y="237"/>
                </a:cubicBezTo>
                <a:cubicBezTo>
                  <a:pt x="159" y="237"/>
                  <a:pt x="161" y="238"/>
                  <a:pt x="162" y="238"/>
                </a:cubicBezTo>
                <a:cubicBezTo>
                  <a:pt x="162" y="240"/>
                  <a:pt x="162" y="240"/>
                  <a:pt x="162" y="240"/>
                </a:cubicBezTo>
                <a:cubicBezTo>
                  <a:pt x="161" y="240"/>
                  <a:pt x="162" y="241"/>
                  <a:pt x="160" y="241"/>
                </a:cubicBezTo>
                <a:cubicBezTo>
                  <a:pt x="157" y="240"/>
                  <a:pt x="157" y="240"/>
                  <a:pt x="157" y="240"/>
                </a:cubicBezTo>
                <a:cubicBezTo>
                  <a:pt x="155" y="240"/>
                  <a:pt x="154" y="240"/>
                  <a:pt x="153" y="240"/>
                </a:cubicBezTo>
                <a:cubicBezTo>
                  <a:pt x="152" y="241"/>
                  <a:pt x="152" y="242"/>
                  <a:pt x="151" y="242"/>
                </a:cubicBezTo>
                <a:cubicBezTo>
                  <a:pt x="151" y="244"/>
                  <a:pt x="153" y="246"/>
                  <a:pt x="152" y="247"/>
                </a:cubicBezTo>
                <a:cubicBezTo>
                  <a:pt x="150" y="249"/>
                  <a:pt x="150" y="249"/>
                  <a:pt x="150" y="249"/>
                </a:cubicBezTo>
                <a:cubicBezTo>
                  <a:pt x="149" y="250"/>
                  <a:pt x="150" y="251"/>
                  <a:pt x="150" y="252"/>
                </a:cubicBezTo>
                <a:cubicBezTo>
                  <a:pt x="147" y="253"/>
                  <a:pt x="149" y="254"/>
                  <a:pt x="148" y="254"/>
                </a:cubicBezTo>
                <a:cubicBezTo>
                  <a:pt x="148" y="254"/>
                  <a:pt x="148" y="256"/>
                  <a:pt x="149" y="256"/>
                </a:cubicBezTo>
                <a:cubicBezTo>
                  <a:pt x="151" y="257"/>
                  <a:pt x="154" y="256"/>
                  <a:pt x="155" y="256"/>
                </a:cubicBezTo>
                <a:cubicBezTo>
                  <a:pt x="157" y="256"/>
                  <a:pt x="157" y="258"/>
                  <a:pt x="159" y="257"/>
                </a:cubicBezTo>
                <a:cubicBezTo>
                  <a:pt x="160" y="257"/>
                  <a:pt x="158" y="256"/>
                  <a:pt x="160" y="256"/>
                </a:cubicBezTo>
                <a:cubicBezTo>
                  <a:pt x="160" y="256"/>
                  <a:pt x="160" y="259"/>
                  <a:pt x="160" y="259"/>
                </a:cubicBezTo>
                <a:cubicBezTo>
                  <a:pt x="152" y="259"/>
                  <a:pt x="152" y="259"/>
                  <a:pt x="152" y="259"/>
                </a:cubicBezTo>
                <a:cubicBezTo>
                  <a:pt x="152" y="260"/>
                  <a:pt x="152" y="260"/>
                  <a:pt x="152" y="260"/>
                </a:cubicBezTo>
                <a:cubicBezTo>
                  <a:pt x="154" y="261"/>
                  <a:pt x="155" y="263"/>
                  <a:pt x="157" y="263"/>
                </a:cubicBezTo>
                <a:cubicBezTo>
                  <a:pt x="162" y="264"/>
                  <a:pt x="163" y="262"/>
                  <a:pt x="165" y="261"/>
                </a:cubicBezTo>
                <a:cubicBezTo>
                  <a:pt x="167" y="260"/>
                  <a:pt x="169" y="261"/>
                  <a:pt x="170" y="260"/>
                </a:cubicBezTo>
                <a:cubicBezTo>
                  <a:pt x="177" y="256"/>
                  <a:pt x="177" y="256"/>
                  <a:pt x="177" y="256"/>
                </a:cubicBezTo>
                <a:cubicBezTo>
                  <a:pt x="178" y="255"/>
                  <a:pt x="177" y="254"/>
                  <a:pt x="178" y="253"/>
                </a:cubicBezTo>
                <a:cubicBezTo>
                  <a:pt x="175" y="251"/>
                  <a:pt x="173" y="250"/>
                  <a:pt x="172" y="248"/>
                </a:cubicBezTo>
                <a:cubicBezTo>
                  <a:pt x="171" y="247"/>
                  <a:pt x="170" y="245"/>
                  <a:pt x="169" y="244"/>
                </a:cubicBezTo>
                <a:cubicBezTo>
                  <a:pt x="167" y="243"/>
                  <a:pt x="165" y="243"/>
                  <a:pt x="164" y="242"/>
                </a:cubicBezTo>
                <a:cubicBezTo>
                  <a:pt x="164" y="241"/>
                  <a:pt x="163" y="239"/>
                  <a:pt x="163" y="239"/>
                </a:cubicBezTo>
                <a:cubicBezTo>
                  <a:pt x="167" y="240"/>
                  <a:pt x="168" y="240"/>
                  <a:pt x="171" y="242"/>
                </a:cubicBezTo>
                <a:cubicBezTo>
                  <a:pt x="173" y="243"/>
                  <a:pt x="175" y="247"/>
                  <a:pt x="180" y="246"/>
                </a:cubicBezTo>
                <a:cubicBezTo>
                  <a:pt x="181" y="245"/>
                  <a:pt x="182" y="244"/>
                  <a:pt x="183" y="244"/>
                </a:cubicBezTo>
                <a:cubicBezTo>
                  <a:pt x="184" y="246"/>
                  <a:pt x="184" y="246"/>
                  <a:pt x="184" y="246"/>
                </a:cubicBezTo>
                <a:cubicBezTo>
                  <a:pt x="186" y="246"/>
                  <a:pt x="187" y="246"/>
                  <a:pt x="190" y="245"/>
                </a:cubicBezTo>
                <a:cubicBezTo>
                  <a:pt x="190" y="246"/>
                  <a:pt x="190" y="246"/>
                  <a:pt x="190" y="246"/>
                </a:cubicBezTo>
                <a:cubicBezTo>
                  <a:pt x="190" y="246"/>
                  <a:pt x="189" y="248"/>
                  <a:pt x="189" y="248"/>
                </a:cubicBezTo>
                <a:cubicBezTo>
                  <a:pt x="189" y="248"/>
                  <a:pt x="191" y="249"/>
                  <a:pt x="190" y="250"/>
                </a:cubicBezTo>
                <a:cubicBezTo>
                  <a:pt x="190" y="250"/>
                  <a:pt x="188" y="250"/>
                  <a:pt x="188" y="250"/>
                </a:cubicBezTo>
                <a:cubicBezTo>
                  <a:pt x="187" y="252"/>
                  <a:pt x="188" y="252"/>
                  <a:pt x="187" y="254"/>
                </a:cubicBezTo>
                <a:cubicBezTo>
                  <a:pt x="187" y="254"/>
                  <a:pt x="189" y="255"/>
                  <a:pt x="190" y="255"/>
                </a:cubicBezTo>
                <a:cubicBezTo>
                  <a:pt x="189" y="256"/>
                  <a:pt x="188" y="256"/>
                  <a:pt x="187" y="256"/>
                </a:cubicBezTo>
                <a:cubicBezTo>
                  <a:pt x="187" y="258"/>
                  <a:pt x="187" y="258"/>
                  <a:pt x="187" y="258"/>
                </a:cubicBezTo>
                <a:cubicBezTo>
                  <a:pt x="192" y="257"/>
                  <a:pt x="192" y="256"/>
                  <a:pt x="191" y="261"/>
                </a:cubicBezTo>
                <a:cubicBezTo>
                  <a:pt x="191" y="261"/>
                  <a:pt x="193" y="261"/>
                  <a:pt x="193" y="261"/>
                </a:cubicBezTo>
                <a:cubicBezTo>
                  <a:pt x="193" y="261"/>
                  <a:pt x="193" y="263"/>
                  <a:pt x="193" y="264"/>
                </a:cubicBezTo>
                <a:cubicBezTo>
                  <a:pt x="191" y="265"/>
                  <a:pt x="192" y="264"/>
                  <a:pt x="192" y="266"/>
                </a:cubicBezTo>
                <a:cubicBezTo>
                  <a:pt x="190" y="266"/>
                  <a:pt x="190" y="266"/>
                  <a:pt x="190" y="266"/>
                </a:cubicBezTo>
                <a:cubicBezTo>
                  <a:pt x="189" y="265"/>
                  <a:pt x="189" y="264"/>
                  <a:pt x="189" y="262"/>
                </a:cubicBezTo>
                <a:cubicBezTo>
                  <a:pt x="189" y="263"/>
                  <a:pt x="187" y="262"/>
                  <a:pt x="186" y="262"/>
                </a:cubicBezTo>
                <a:cubicBezTo>
                  <a:pt x="186" y="265"/>
                  <a:pt x="186" y="269"/>
                  <a:pt x="186" y="269"/>
                </a:cubicBezTo>
                <a:cubicBezTo>
                  <a:pt x="186" y="270"/>
                  <a:pt x="186" y="270"/>
                  <a:pt x="186" y="270"/>
                </a:cubicBezTo>
                <a:cubicBezTo>
                  <a:pt x="187" y="270"/>
                  <a:pt x="188" y="270"/>
                  <a:pt x="188" y="270"/>
                </a:cubicBezTo>
                <a:cubicBezTo>
                  <a:pt x="188" y="272"/>
                  <a:pt x="187" y="273"/>
                  <a:pt x="187" y="274"/>
                </a:cubicBezTo>
                <a:cubicBezTo>
                  <a:pt x="185" y="275"/>
                  <a:pt x="182" y="276"/>
                  <a:pt x="180" y="275"/>
                </a:cubicBezTo>
                <a:cubicBezTo>
                  <a:pt x="179" y="275"/>
                  <a:pt x="178" y="273"/>
                  <a:pt x="178" y="274"/>
                </a:cubicBezTo>
                <a:cubicBezTo>
                  <a:pt x="176" y="274"/>
                  <a:pt x="177" y="276"/>
                  <a:pt x="176" y="276"/>
                </a:cubicBezTo>
                <a:cubicBezTo>
                  <a:pt x="175" y="277"/>
                  <a:pt x="174" y="277"/>
                  <a:pt x="173" y="278"/>
                </a:cubicBezTo>
                <a:cubicBezTo>
                  <a:pt x="173" y="277"/>
                  <a:pt x="171" y="277"/>
                  <a:pt x="170" y="278"/>
                </a:cubicBezTo>
                <a:cubicBezTo>
                  <a:pt x="170" y="279"/>
                  <a:pt x="170" y="279"/>
                  <a:pt x="170" y="279"/>
                </a:cubicBezTo>
                <a:cubicBezTo>
                  <a:pt x="179" y="279"/>
                  <a:pt x="183" y="280"/>
                  <a:pt x="188" y="276"/>
                </a:cubicBezTo>
                <a:cubicBezTo>
                  <a:pt x="190" y="283"/>
                  <a:pt x="191" y="280"/>
                  <a:pt x="184" y="281"/>
                </a:cubicBezTo>
                <a:cubicBezTo>
                  <a:pt x="183" y="281"/>
                  <a:pt x="179" y="283"/>
                  <a:pt x="177" y="282"/>
                </a:cubicBezTo>
                <a:cubicBezTo>
                  <a:pt x="177" y="282"/>
                  <a:pt x="176" y="280"/>
                  <a:pt x="176" y="280"/>
                </a:cubicBezTo>
                <a:cubicBezTo>
                  <a:pt x="174" y="279"/>
                  <a:pt x="173" y="280"/>
                  <a:pt x="172" y="280"/>
                </a:cubicBezTo>
                <a:cubicBezTo>
                  <a:pt x="172" y="282"/>
                  <a:pt x="172" y="282"/>
                  <a:pt x="172" y="282"/>
                </a:cubicBezTo>
                <a:cubicBezTo>
                  <a:pt x="173" y="283"/>
                  <a:pt x="180" y="286"/>
                  <a:pt x="177" y="286"/>
                </a:cubicBezTo>
                <a:cubicBezTo>
                  <a:pt x="176" y="285"/>
                  <a:pt x="175" y="285"/>
                  <a:pt x="174" y="285"/>
                </a:cubicBezTo>
                <a:cubicBezTo>
                  <a:pt x="174" y="285"/>
                  <a:pt x="172" y="283"/>
                  <a:pt x="172" y="283"/>
                </a:cubicBezTo>
                <a:cubicBezTo>
                  <a:pt x="169" y="282"/>
                  <a:pt x="167" y="285"/>
                  <a:pt x="166" y="286"/>
                </a:cubicBezTo>
                <a:cubicBezTo>
                  <a:pt x="166" y="287"/>
                  <a:pt x="164" y="288"/>
                  <a:pt x="164" y="289"/>
                </a:cubicBezTo>
                <a:cubicBezTo>
                  <a:pt x="163" y="290"/>
                  <a:pt x="164" y="291"/>
                  <a:pt x="164" y="292"/>
                </a:cubicBezTo>
                <a:cubicBezTo>
                  <a:pt x="166" y="291"/>
                  <a:pt x="168" y="289"/>
                  <a:pt x="170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1" y="287"/>
                  <a:pt x="171" y="288"/>
                  <a:pt x="173" y="288"/>
                </a:cubicBezTo>
                <a:cubicBezTo>
                  <a:pt x="175" y="288"/>
                  <a:pt x="178" y="286"/>
                  <a:pt x="181" y="286"/>
                </a:cubicBezTo>
                <a:cubicBezTo>
                  <a:pt x="178" y="288"/>
                  <a:pt x="179" y="288"/>
                  <a:pt x="182" y="290"/>
                </a:cubicBezTo>
                <a:cubicBezTo>
                  <a:pt x="182" y="291"/>
                  <a:pt x="182" y="291"/>
                  <a:pt x="182" y="291"/>
                </a:cubicBezTo>
                <a:cubicBezTo>
                  <a:pt x="184" y="291"/>
                  <a:pt x="186" y="290"/>
                  <a:pt x="187" y="290"/>
                </a:cubicBezTo>
                <a:cubicBezTo>
                  <a:pt x="187" y="288"/>
                  <a:pt x="187" y="287"/>
                  <a:pt x="186" y="285"/>
                </a:cubicBezTo>
                <a:cubicBezTo>
                  <a:pt x="187" y="285"/>
                  <a:pt x="189" y="285"/>
                  <a:pt x="191" y="285"/>
                </a:cubicBezTo>
                <a:cubicBezTo>
                  <a:pt x="190" y="286"/>
                  <a:pt x="188" y="289"/>
                  <a:pt x="190" y="288"/>
                </a:cubicBezTo>
                <a:cubicBezTo>
                  <a:pt x="190" y="288"/>
                  <a:pt x="190" y="290"/>
                  <a:pt x="189" y="290"/>
                </a:cubicBezTo>
                <a:cubicBezTo>
                  <a:pt x="189" y="290"/>
                  <a:pt x="189" y="292"/>
                  <a:pt x="188" y="292"/>
                </a:cubicBezTo>
                <a:cubicBezTo>
                  <a:pt x="186" y="292"/>
                  <a:pt x="184" y="293"/>
                  <a:pt x="182" y="292"/>
                </a:cubicBezTo>
                <a:cubicBezTo>
                  <a:pt x="179" y="292"/>
                  <a:pt x="175" y="287"/>
                  <a:pt x="170" y="289"/>
                </a:cubicBezTo>
                <a:cubicBezTo>
                  <a:pt x="170" y="290"/>
                  <a:pt x="170" y="290"/>
                  <a:pt x="170" y="290"/>
                </a:cubicBezTo>
                <a:cubicBezTo>
                  <a:pt x="168" y="291"/>
                  <a:pt x="168" y="293"/>
                  <a:pt x="168" y="294"/>
                </a:cubicBezTo>
                <a:cubicBezTo>
                  <a:pt x="167" y="294"/>
                  <a:pt x="166" y="293"/>
                  <a:pt x="165" y="294"/>
                </a:cubicBezTo>
                <a:cubicBezTo>
                  <a:pt x="165" y="294"/>
                  <a:pt x="164" y="295"/>
                  <a:pt x="163" y="296"/>
                </a:cubicBezTo>
                <a:cubicBezTo>
                  <a:pt x="163" y="296"/>
                  <a:pt x="165" y="297"/>
                  <a:pt x="165" y="298"/>
                </a:cubicBezTo>
                <a:cubicBezTo>
                  <a:pt x="165" y="299"/>
                  <a:pt x="164" y="300"/>
                  <a:pt x="164" y="300"/>
                </a:cubicBezTo>
                <a:cubicBezTo>
                  <a:pt x="165" y="301"/>
                  <a:pt x="167" y="300"/>
                  <a:pt x="168" y="301"/>
                </a:cubicBezTo>
                <a:cubicBezTo>
                  <a:pt x="169" y="301"/>
                  <a:pt x="169" y="303"/>
                  <a:pt x="168" y="303"/>
                </a:cubicBezTo>
                <a:cubicBezTo>
                  <a:pt x="170" y="303"/>
                  <a:pt x="170" y="303"/>
                  <a:pt x="170" y="303"/>
                </a:cubicBezTo>
                <a:cubicBezTo>
                  <a:pt x="169" y="304"/>
                  <a:pt x="169" y="306"/>
                  <a:pt x="168" y="306"/>
                </a:cubicBezTo>
                <a:cubicBezTo>
                  <a:pt x="168" y="306"/>
                  <a:pt x="166" y="306"/>
                  <a:pt x="166" y="306"/>
                </a:cubicBezTo>
                <a:cubicBezTo>
                  <a:pt x="166" y="307"/>
                  <a:pt x="166" y="308"/>
                  <a:pt x="166" y="308"/>
                </a:cubicBezTo>
                <a:cubicBezTo>
                  <a:pt x="166" y="309"/>
                  <a:pt x="166" y="309"/>
                  <a:pt x="166" y="309"/>
                </a:cubicBezTo>
                <a:cubicBezTo>
                  <a:pt x="166" y="309"/>
                  <a:pt x="169" y="309"/>
                  <a:pt x="168" y="309"/>
                </a:cubicBezTo>
                <a:cubicBezTo>
                  <a:pt x="168" y="310"/>
                  <a:pt x="168" y="310"/>
                  <a:pt x="168" y="310"/>
                </a:cubicBezTo>
                <a:cubicBezTo>
                  <a:pt x="167" y="311"/>
                  <a:pt x="162" y="311"/>
                  <a:pt x="165" y="313"/>
                </a:cubicBezTo>
                <a:cubicBezTo>
                  <a:pt x="166" y="315"/>
                  <a:pt x="166" y="315"/>
                  <a:pt x="166" y="315"/>
                </a:cubicBezTo>
                <a:cubicBezTo>
                  <a:pt x="168" y="314"/>
                  <a:pt x="169" y="314"/>
                  <a:pt x="171" y="314"/>
                </a:cubicBezTo>
                <a:cubicBezTo>
                  <a:pt x="171" y="314"/>
                  <a:pt x="168" y="316"/>
                  <a:pt x="168" y="316"/>
                </a:cubicBezTo>
                <a:cubicBezTo>
                  <a:pt x="168" y="317"/>
                  <a:pt x="169" y="318"/>
                  <a:pt x="168" y="319"/>
                </a:cubicBezTo>
                <a:cubicBezTo>
                  <a:pt x="170" y="318"/>
                  <a:pt x="170" y="318"/>
                  <a:pt x="172" y="318"/>
                </a:cubicBezTo>
                <a:cubicBezTo>
                  <a:pt x="172" y="318"/>
                  <a:pt x="173" y="319"/>
                  <a:pt x="174" y="319"/>
                </a:cubicBezTo>
                <a:cubicBezTo>
                  <a:pt x="175" y="319"/>
                  <a:pt x="175" y="317"/>
                  <a:pt x="176" y="317"/>
                </a:cubicBezTo>
                <a:cubicBezTo>
                  <a:pt x="177" y="316"/>
                  <a:pt x="178" y="317"/>
                  <a:pt x="179" y="316"/>
                </a:cubicBezTo>
                <a:cubicBezTo>
                  <a:pt x="177" y="318"/>
                  <a:pt x="175" y="320"/>
                  <a:pt x="174" y="321"/>
                </a:cubicBezTo>
                <a:cubicBezTo>
                  <a:pt x="175" y="322"/>
                  <a:pt x="176" y="323"/>
                  <a:pt x="178" y="323"/>
                </a:cubicBezTo>
                <a:cubicBezTo>
                  <a:pt x="178" y="325"/>
                  <a:pt x="178" y="325"/>
                  <a:pt x="178" y="325"/>
                </a:cubicBezTo>
                <a:cubicBezTo>
                  <a:pt x="176" y="325"/>
                  <a:pt x="176" y="325"/>
                  <a:pt x="175" y="325"/>
                </a:cubicBezTo>
                <a:cubicBezTo>
                  <a:pt x="175" y="325"/>
                  <a:pt x="175" y="328"/>
                  <a:pt x="175" y="328"/>
                </a:cubicBezTo>
                <a:cubicBezTo>
                  <a:pt x="176" y="328"/>
                  <a:pt x="178" y="328"/>
                  <a:pt x="178" y="328"/>
                </a:cubicBezTo>
                <a:cubicBezTo>
                  <a:pt x="178" y="328"/>
                  <a:pt x="178" y="330"/>
                  <a:pt x="178" y="330"/>
                </a:cubicBezTo>
                <a:cubicBezTo>
                  <a:pt x="178" y="330"/>
                  <a:pt x="180" y="330"/>
                  <a:pt x="180" y="331"/>
                </a:cubicBezTo>
                <a:cubicBezTo>
                  <a:pt x="179" y="334"/>
                  <a:pt x="179" y="333"/>
                  <a:pt x="179" y="337"/>
                </a:cubicBezTo>
                <a:cubicBezTo>
                  <a:pt x="184" y="332"/>
                  <a:pt x="184" y="332"/>
                  <a:pt x="184" y="332"/>
                </a:cubicBezTo>
                <a:cubicBezTo>
                  <a:pt x="185" y="332"/>
                  <a:pt x="185" y="333"/>
                  <a:pt x="187" y="333"/>
                </a:cubicBezTo>
                <a:cubicBezTo>
                  <a:pt x="187" y="333"/>
                  <a:pt x="188" y="330"/>
                  <a:pt x="188" y="330"/>
                </a:cubicBezTo>
                <a:cubicBezTo>
                  <a:pt x="190" y="330"/>
                  <a:pt x="190" y="331"/>
                  <a:pt x="192" y="331"/>
                </a:cubicBezTo>
                <a:cubicBezTo>
                  <a:pt x="190" y="332"/>
                  <a:pt x="192" y="335"/>
                  <a:pt x="192" y="335"/>
                </a:cubicBezTo>
                <a:cubicBezTo>
                  <a:pt x="191" y="336"/>
                  <a:pt x="190" y="334"/>
                  <a:pt x="188" y="334"/>
                </a:cubicBezTo>
                <a:cubicBezTo>
                  <a:pt x="188" y="334"/>
                  <a:pt x="188" y="336"/>
                  <a:pt x="188" y="336"/>
                </a:cubicBezTo>
                <a:cubicBezTo>
                  <a:pt x="189" y="336"/>
                  <a:pt x="189" y="337"/>
                  <a:pt x="189" y="338"/>
                </a:cubicBezTo>
                <a:cubicBezTo>
                  <a:pt x="185" y="339"/>
                  <a:pt x="184" y="338"/>
                  <a:pt x="181" y="339"/>
                </a:cubicBezTo>
                <a:cubicBezTo>
                  <a:pt x="181" y="341"/>
                  <a:pt x="181" y="341"/>
                  <a:pt x="181" y="341"/>
                </a:cubicBezTo>
                <a:cubicBezTo>
                  <a:pt x="182" y="341"/>
                  <a:pt x="184" y="340"/>
                  <a:pt x="186" y="341"/>
                </a:cubicBezTo>
                <a:cubicBezTo>
                  <a:pt x="186" y="342"/>
                  <a:pt x="186" y="342"/>
                  <a:pt x="186" y="342"/>
                </a:cubicBezTo>
                <a:cubicBezTo>
                  <a:pt x="184" y="342"/>
                  <a:pt x="183" y="342"/>
                  <a:pt x="182" y="342"/>
                </a:cubicBezTo>
                <a:cubicBezTo>
                  <a:pt x="182" y="342"/>
                  <a:pt x="179" y="344"/>
                  <a:pt x="181" y="343"/>
                </a:cubicBezTo>
                <a:cubicBezTo>
                  <a:pt x="181" y="344"/>
                  <a:pt x="184" y="347"/>
                  <a:pt x="183" y="345"/>
                </a:cubicBezTo>
                <a:cubicBezTo>
                  <a:pt x="183" y="345"/>
                  <a:pt x="184" y="341"/>
                  <a:pt x="183" y="347"/>
                </a:cubicBezTo>
                <a:cubicBezTo>
                  <a:pt x="182" y="350"/>
                  <a:pt x="184" y="349"/>
                  <a:pt x="188" y="349"/>
                </a:cubicBezTo>
                <a:cubicBezTo>
                  <a:pt x="187" y="349"/>
                  <a:pt x="187" y="352"/>
                  <a:pt x="187" y="352"/>
                </a:cubicBezTo>
                <a:cubicBezTo>
                  <a:pt x="185" y="351"/>
                  <a:pt x="186" y="354"/>
                  <a:pt x="186" y="354"/>
                </a:cubicBezTo>
                <a:cubicBezTo>
                  <a:pt x="187" y="354"/>
                  <a:pt x="188" y="354"/>
                  <a:pt x="189" y="354"/>
                </a:cubicBezTo>
                <a:cubicBezTo>
                  <a:pt x="186" y="355"/>
                  <a:pt x="189" y="358"/>
                  <a:pt x="188" y="358"/>
                </a:cubicBezTo>
                <a:cubicBezTo>
                  <a:pt x="188" y="358"/>
                  <a:pt x="190" y="358"/>
                  <a:pt x="189" y="357"/>
                </a:cubicBezTo>
                <a:cubicBezTo>
                  <a:pt x="189" y="357"/>
                  <a:pt x="190" y="356"/>
                  <a:pt x="190" y="356"/>
                </a:cubicBezTo>
                <a:cubicBezTo>
                  <a:pt x="190" y="356"/>
                  <a:pt x="192" y="356"/>
                  <a:pt x="194" y="355"/>
                </a:cubicBezTo>
                <a:cubicBezTo>
                  <a:pt x="192" y="360"/>
                  <a:pt x="191" y="364"/>
                  <a:pt x="198" y="361"/>
                </a:cubicBezTo>
                <a:cubicBezTo>
                  <a:pt x="197" y="361"/>
                  <a:pt x="196" y="366"/>
                  <a:pt x="197" y="367"/>
                </a:cubicBezTo>
                <a:cubicBezTo>
                  <a:pt x="199" y="368"/>
                  <a:pt x="200" y="365"/>
                  <a:pt x="202" y="364"/>
                </a:cubicBezTo>
                <a:cubicBezTo>
                  <a:pt x="203" y="364"/>
                  <a:pt x="204" y="364"/>
                  <a:pt x="205" y="364"/>
                </a:cubicBezTo>
                <a:cubicBezTo>
                  <a:pt x="205" y="364"/>
                  <a:pt x="203" y="368"/>
                  <a:pt x="204" y="368"/>
                </a:cubicBezTo>
                <a:cubicBezTo>
                  <a:pt x="202" y="368"/>
                  <a:pt x="205" y="369"/>
                  <a:pt x="205" y="369"/>
                </a:cubicBezTo>
                <a:cubicBezTo>
                  <a:pt x="206" y="369"/>
                  <a:pt x="207" y="368"/>
                  <a:pt x="208" y="367"/>
                </a:cubicBezTo>
                <a:cubicBezTo>
                  <a:pt x="208" y="368"/>
                  <a:pt x="208" y="369"/>
                  <a:pt x="208" y="369"/>
                </a:cubicBezTo>
                <a:cubicBezTo>
                  <a:pt x="208" y="370"/>
                  <a:pt x="206" y="371"/>
                  <a:pt x="206" y="371"/>
                </a:cubicBezTo>
                <a:cubicBezTo>
                  <a:pt x="205" y="374"/>
                  <a:pt x="211" y="369"/>
                  <a:pt x="209" y="375"/>
                </a:cubicBezTo>
                <a:cubicBezTo>
                  <a:pt x="209" y="375"/>
                  <a:pt x="208" y="378"/>
                  <a:pt x="208" y="377"/>
                </a:cubicBezTo>
                <a:cubicBezTo>
                  <a:pt x="207" y="378"/>
                  <a:pt x="210" y="378"/>
                  <a:pt x="210" y="378"/>
                </a:cubicBezTo>
                <a:cubicBezTo>
                  <a:pt x="211" y="378"/>
                  <a:pt x="211" y="376"/>
                  <a:pt x="211" y="376"/>
                </a:cubicBezTo>
                <a:cubicBezTo>
                  <a:pt x="211" y="376"/>
                  <a:pt x="214" y="376"/>
                  <a:pt x="213" y="377"/>
                </a:cubicBezTo>
                <a:cubicBezTo>
                  <a:pt x="213" y="377"/>
                  <a:pt x="215" y="377"/>
                  <a:pt x="213" y="377"/>
                </a:cubicBezTo>
                <a:cubicBezTo>
                  <a:pt x="213" y="377"/>
                  <a:pt x="210" y="378"/>
                  <a:pt x="213" y="378"/>
                </a:cubicBezTo>
                <a:cubicBezTo>
                  <a:pt x="211" y="379"/>
                  <a:pt x="211" y="378"/>
                  <a:pt x="209" y="379"/>
                </a:cubicBezTo>
                <a:cubicBezTo>
                  <a:pt x="209" y="380"/>
                  <a:pt x="209" y="380"/>
                  <a:pt x="209" y="380"/>
                </a:cubicBezTo>
                <a:cubicBezTo>
                  <a:pt x="210" y="380"/>
                  <a:pt x="212" y="380"/>
                  <a:pt x="213" y="380"/>
                </a:cubicBezTo>
                <a:cubicBezTo>
                  <a:pt x="213" y="380"/>
                  <a:pt x="213" y="382"/>
                  <a:pt x="212" y="382"/>
                </a:cubicBezTo>
                <a:cubicBezTo>
                  <a:pt x="212" y="382"/>
                  <a:pt x="212" y="384"/>
                  <a:pt x="212" y="385"/>
                </a:cubicBezTo>
                <a:cubicBezTo>
                  <a:pt x="217" y="385"/>
                  <a:pt x="216" y="383"/>
                  <a:pt x="215" y="388"/>
                </a:cubicBezTo>
                <a:cubicBezTo>
                  <a:pt x="215" y="387"/>
                  <a:pt x="217" y="388"/>
                  <a:pt x="217" y="388"/>
                </a:cubicBezTo>
                <a:cubicBezTo>
                  <a:pt x="217" y="388"/>
                  <a:pt x="218" y="386"/>
                  <a:pt x="219" y="385"/>
                </a:cubicBezTo>
                <a:cubicBezTo>
                  <a:pt x="219" y="385"/>
                  <a:pt x="219" y="385"/>
                  <a:pt x="219" y="385"/>
                </a:cubicBezTo>
                <a:cubicBezTo>
                  <a:pt x="221" y="384"/>
                  <a:pt x="221" y="386"/>
                  <a:pt x="221" y="386"/>
                </a:cubicBezTo>
                <a:cubicBezTo>
                  <a:pt x="222" y="386"/>
                  <a:pt x="226" y="384"/>
                  <a:pt x="226" y="384"/>
                </a:cubicBezTo>
                <a:cubicBezTo>
                  <a:pt x="227" y="383"/>
                  <a:pt x="229" y="379"/>
                  <a:pt x="230" y="378"/>
                </a:cubicBezTo>
                <a:cubicBezTo>
                  <a:pt x="230" y="378"/>
                  <a:pt x="231" y="379"/>
                  <a:pt x="231" y="379"/>
                </a:cubicBezTo>
                <a:cubicBezTo>
                  <a:pt x="231" y="381"/>
                  <a:pt x="231" y="382"/>
                  <a:pt x="230" y="384"/>
                </a:cubicBezTo>
                <a:cubicBezTo>
                  <a:pt x="233" y="383"/>
                  <a:pt x="233" y="384"/>
                  <a:pt x="231" y="385"/>
                </a:cubicBezTo>
                <a:cubicBezTo>
                  <a:pt x="227" y="387"/>
                  <a:pt x="231" y="386"/>
                  <a:pt x="234" y="387"/>
                </a:cubicBezTo>
                <a:cubicBezTo>
                  <a:pt x="234" y="386"/>
                  <a:pt x="234" y="386"/>
                  <a:pt x="235" y="386"/>
                </a:cubicBezTo>
                <a:cubicBezTo>
                  <a:pt x="235" y="386"/>
                  <a:pt x="234" y="389"/>
                  <a:pt x="234" y="389"/>
                </a:cubicBezTo>
                <a:cubicBezTo>
                  <a:pt x="235" y="390"/>
                  <a:pt x="235" y="389"/>
                  <a:pt x="235" y="390"/>
                </a:cubicBezTo>
                <a:cubicBezTo>
                  <a:pt x="235" y="390"/>
                  <a:pt x="237" y="389"/>
                  <a:pt x="237" y="389"/>
                </a:cubicBezTo>
                <a:cubicBezTo>
                  <a:pt x="238" y="389"/>
                  <a:pt x="238" y="388"/>
                  <a:pt x="238" y="387"/>
                </a:cubicBezTo>
                <a:cubicBezTo>
                  <a:pt x="239" y="387"/>
                  <a:pt x="239" y="387"/>
                  <a:pt x="239" y="387"/>
                </a:cubicBezTo>
                <a:cubicBezTo>
                  <a:pt x="240" y="387"/>
                  <a:pt x="239" y="388"/>
                  <a:pt x="241" y="389"/>
                </a:cubicBezTo>
                <a:cubicBezTo>
                  <a:pt x="242" y="388"/>
                  <a:pt x="243" y="387"/>
                  <a:pt x="243" y="387"/>
                </a:cubicBezTo>
                <a:cubicBezTo>
                  <a:pt x="243" y="387"/>
                  <a:pt x="244" y="389"/>
                  <a:pt x="243" y="390"/>
                </a:cubicBezTo>
                <a:cubicBezTo>
                  <a:pt x="243" y="390"/>
                  <a:pt x="241" y="391"/>
                  <a:pt x="241" y="391"/>
                </a:cubicBezTo>
                <a:cubicBezTo>
                  <a:pt x="240" y="392"/>
                  <a:pt x="241" y="393"/>
                  <a:pt x="240" y="394"/>
                </a:cubicBezTo>
                <a:cubicBezTo>
                  <a:pt x="239" y="395"/>
                  <a:pt x="244" y="391"/>
                  <a:pt x="245" y="390"/>
                </a:cubicBezTo>
                <a:cubicBezTo>
                  <a:pt x="245" y="391"/>
                  <a:pt x="243" y="396"/>
                  <a:pt x="245" y="395"/>
                </a:cubicBezTo>
                <a:cubicBezTo>
                  <a:pt x="244" y="396"/>
                  <a:pt x="246" y="395"/>
                  <a:pt x="247" y="395"/>
                </a:cubicBezTo>
                <a:cubicBezTo>
                  <a:pt x="247" y="394"/>
                  <a:pt x="247" y="393"/>
                  <a:pt x="247" y="391"/>
                </a:cubicBezTo>
                <a:cubicBezTo>
                  <a:pt x="249" y="391"/>
                  <a:pt x="249" y="391"/>
                  <a:pt x="249" y="391"/>
                </a:cubicBezTo>
                <a:cubicBezTo>
                  <a:pt x="248" y="392"/>
                  <a:pt x="249" y="392"/>
                  <a:pt x="249" y="393"/>
                </a:cubicBezTo>
                <a:cubicBezTo>
                  <a:pt x="249" y="393"/>
                  <a:pt x="248" y="394"/>
                  <a:pt x="248" y="394"/>
                </a:cubicBezTo>
                <a:cubicBezTo>
                  <a:pt x="248" y="394"/>
                  <a:pt x="248" y="395"/>
                  <a:pt x="248" y="396"/>
                </a:cubicBezTo>
                <a:cubicBezTo>
                  <a:pt x="248" y="396"/>
                  <a:pt x="253" y="399"/>
                  <a:pt x="253" y="399"/>
                </a:cubicBezTo>
                <a:cubicBezTo>
                  <a:pt x="254" y="399"/>
                  <a:pt x="254" y="397"/>
                  <a:pt x="255" y="397"/>
                </a:cubicBezTo>
                <a:cubicBezTo>
                  <a:pt x="255" y="397"/>
                  <a:pt x="256" y="397"/>
                  <a:pt x="257" y="397"/>
                </a:cubicBezTo>
                <a:cubicBezTo>
                  <a:pt x="257" y="397"/>
                  <a:pt x="256" y="396"/>
                  <a:pt x="256" y="396"/>
                </a:cubicBezTo>
                <a:cubicBezTo>
                  <a:pt x="256" y="396"/>
                  <a:pt x="258" y="395"/>
                  <a:pt x="259" y="395"/>
                </a:cubicBezTo>
                <a:cubicBezTo>
                  <a:pt x="258" y="395"/>
                  <a:pt x="258" y="394"/>
                  <a:pt x="258" y="393"/>
                </a:cubicBezTo>
                <a:cubicBezTo>
                  <a:pt x="257" y="393"/>
                  <a:pt x="254" y="393"/>
                  <a:pt x="256" y="391"/>
                </a:cubicBezTo>
                <a:cubicBezTo>
                  <a:pt x="258" y="390"/>
                  <a:pt x="258" y="390"/>
                  <a:pt x="256" y="389"/>
                </a:cubicBezTo>
                <a:cubicBezTo>
                  <a:pt x="255" y="387"/>
                  <a:pt x="255" y="387"/>
                  <a:pt x="255" y="387"/>
                </a:cubicBezTo>
                <a:cubicBezTo>
                  <a:pt x="254" y="387"/>
                  <a:pt x="253" y="387"/>
                  <a:pt x="252" y="387"/>
                </a:cubicBezTo>
                <a:cubicBezTo>
                  <a:pt x="252" y="385"/>
                  <a:pt x="252" y="385"/>
                  <a:pt x="252" y="385"/>
                </a:cubicBezTo>
                <a:cubicBezTo>
                  <a:pt x="253" y="385"/>
                  <a:pt x="254" y="386"/>
                  <a:pt x="256" y="386"/>
                </a:cubicBezTo>
                <a:cubicBezTo>
                  <a:pt x="256" y="386"/>
                  <a:pt x="257" y="384"/>
                  <a:pt x="256" y="384"/>
                </a:cubicBezTo>
                <a:cubicBezTo>
                  <a:pt x="258" y="383"/>
                  <a:pt x="258" y="383"/>
                  <a:pt x="258" y="383"/>
                </a:cubicBezTo>
                <a:cubicBezTo>
                  <a:pt x="258" y="381"/>
                  <a:pt x="257" y="381"/>
                  <a:pt x="257" y="379"/>
                </a:cubicBezTo>
                <a:cubicBezTo>
                  <a:pt x="261" y="377"/>
                  <a:pt x="261" y="377"/>
                  <a:pt x="261" y="377"/>
                </a:cubicBezTo>
                <a:cubicBezTo>
                  <a:pt x="261" y="374"/>
                  <a:pt x="260" y="374"/>
                  <a:pt x="259" y="373"/>
                </a:cubicBezTo>
                <a:cubicBezTo>
                  <a:pt x="260" y="372"/>
                  <a:pt x="261" y="372"/>
                  <a:pt x="262" y="372"/>
                </a:cubicBezTo>
                <a:cubicBezTo>
                  <a:pt x="262" y="371"/>
                  <a:pt x="263" y="369"/>
                  <a:pt x="264" y="368"/>
                </a:cubicBezTo>
                <a:cubicBezTo>
                  <a:pt x="265" y="367"/>
                  <a:pt x="262" y="366"/>
                  <a:pt x="262" y="366"/>
                </a:cubicBezTo>
                <a:cubicBezTo>
                  <a:pt x="262" y="365"/>
                  <a:pt x="262" y="363"/>
                  <a:pt x="263" y="361"/>
                </a:cubicBezTo>
                <a:cubicBezTo>
                  <a:pt x="263" y="361"/>
                  <a:pt x="264" y="361"/>
                  <a:pt x="265" y="361"/>
                </a:cubicBezTo>
                <a:cubicBezTo>
                  <a:pt x="264" y="363"/>
                  <a:pt x="265" y="362"/>
                  <a:pt x="266" y="362"/>
                </a:cubicBezTo>
                <a:cubicBezTo>
                  <a:pt x="266" y="361"/>
                  <a:pt x="266" y="360"/>
                  <a:pt x="267" y="359"/>
                </a:cubicBezTo>
                <a:cubicBezTo>
                  <a:pt x="266" y="359"/>
                  <a:pt x="267" y="358"/>
                  <a:pt x="267" y="357"/>
                </a:cubicBezTo>
                <a:cubicBezTo>
                  <a:pt x="266" y="357"/>
                  <a:pt x="265" y="358"/>
                  <a:pt x="265" y="357"/>
                </a:cubicBezTo>
                <a:cubicBezTo>
                  <a:pt x="264" y="357"/>
                  <a:pt x="265" y="356"/>
                  <a:pt x="265" y="355"/>
                </a:cubicBezTo>
                <a:cubicBezTo>
                  <a:pt x="266" y="355"/>
                  <a:pt x="265" y="355"/>
                  <a:pt x="266" y="353"/>
                </a:cubicBezTo>
                <a:cubicBezTo>
                  <a:pt x="268" y="354"/>
                  <a:pt x="269" y="354"/>
                  <a:pt x="271" y="355"/>
                </a:cubicBezTo>
                <a:cubicBezTo>
                  <a:pt x="271" y="355"/>
                  <a:pt x="270" y="354"/>
                  <a:pt x="271" y="352"/>
                </a:cubicBezTo>
                <a:cubicBezTo>
                  <a:pt x="272" y="351"/>
                  <a:pt x="272" y="351"/>
                  <a:pt x="272" y="351"/>
                </a:cubicBezTo>
                <a:cubicBezTo>
                  <a:pt x="272" y="348"/>
                  <a:pt x="271" y="348"/>
                  <a:pt x="269" y="345"/>
                </a:cubicBezTo>
                <a:cubicBezTo>
                  <a:pt x="270" y="345"/>
                  <a:pt x="271" y="345"/>
                  <a:pt x="271" y="345"/>
                </a:cubicBezTo>
                <a:cubicBezTo>
                  <a:pt x="272" y="345"/>
                  <a:pt x="273" y="347"/>
                  <a:pt x="273" y="347"/>
                </a:cubicBezTo>
                <a:cubicBezTo>
                  <a:pt x="277" y="348"/>
                  <a:pt x="277" y="345"/>
                  <a:pt x="275" y="345"/>
                </a:cubicBezTo>
                <a:cubicBezTo>
                  <a:pt x="276" y="341"/>
                  <a:pt x="276" y="340"/>
                  <a:pt x="278" y="337"/>
                </a:cubicBezTo>
                <a:cubicBezTo>
                  <a:pt x="275" y="336"/>
                  <a:pt x="273" y="336"/>
                  <a:pt x="271" y="335"/>
                </a:cubicBezTo>
                <a:cubicBezTo>
                  <a:pt x="271" y="334"/>
                  <a:pt x="271" y="334"/>
                  <a:pt x="271" y="334"/>
                </a:cubicBezTo>
                <a:cubicBezTo>
                  <a:pt x="271" y="334"/>
                  <a:pt x="274" y="335"/>
                  <a:pt x="273" y="335"/>
                </a:cubicBezTo>
                <a:cubicBezTo>
                  <a:pt x="275" y="335"/>
                  <a:pt x="277" y="335"/>
                  <a:pt x="279" y="335"/>
                </a:cubicBezTo>
                <a:cubicBezTo>
                  <a:pt x="280" y="328"/>
                  <a:pt x="280" y="329"/>
                  <a:pt x="277" y="324"/>
                </a:cubicBezTo>
                <a:cubicBezTo>
                  <a:pt x="275" y="323"/>
                  <a:pt x="275" y="323"/>
                  <a:pt x="275" y="323"/>
                </a:cubicBezTo>
                <a:cubicBezTo>
                  <a:pt x="275" y="321"/>
                  <a:pt x="275" y="321"/>
                  <a:pt x="275" y="321"/>
                </a:cubicBezTo>
                <a:cubicBezTo>
                  <a:pt x="277" y="322"/>
                  <a:pt x="277" y="321"/>
                  <a:pt x="278" y="321"/>
                </a:cubicBezTo>
                <a:cubicBezTo>
                  <a:pt x="275" y="321"/>
                  <a:pt x="279" y="321"/>
                  <a:pt x="279" y="321"/>
                </a:cubicBezTo>
                <a:cubicBezTo>
                  <a:pt x="278" y="321"/>
                  <a:pt x="281" y="321"/>
                  <a:pt x="281" y="321"/>
                </a:cubicBezTo>
                <a:cubicBezTo>
                  <a:pt x="282" y="321"/>
                  <a:pt x="283" y="319"/>
                  <a:pt x="283" y="319"/>
                </a:cubicBezTo>
                <a:cubicBezTo>
                  <a:pt x="283" y="318"/>
                  <a:pt x="283" y="315"/>
                  <a:pt x="283" y="316"/>
                </a:cubicBezTo>
                <a:cubicBezTo>
                  <a:pt x="283" y="315"/>
                  <a:pt x="283" y="315"/>
                  <a:pt x="283" y="315"/>
                </a:cubicBezTo>
                <a:cubicBezTo>
                  <a:pt x="284" y="314"/>
                  <a:pt x="287" y="315"/>
                  <a:pt x="288" y="315"/>
                </a:cubicBezTo>
                <a:cubicBezTo>
                  <a:pt x="289" y="315"/>
                  <a:pt x="290" y="315"/>
                  <a:pt x="290" y="315"/>
                </a:cubicBezTo>
                <a:cubicBezTo>
                  <a:pt x="290" y="315"/>
                  <a:pt x="285" y="315"/>
                  <a:pt x="290" y="314"/>
                </a:cubicBezTo>
                <a:cubicBezTo>
                  <a:pt x="292" y="314"/>
                  <a:pt x="294" y="316"/>
                  <a:pt x="297" y="315"/>
                </a:cubicBezTo>
                <a:cubicBezTo>
                  <a:pt x="299" y="314"/>
                  <a:pt x="299" y="312"/>
                  <a:pt x="301" y="311"/>
                </a:cubicBezTo>
                <a:cubicBezTo>
                  <a:pt x="302" y="311"/>
                  <a:pt x="303" y="311"/>
                  <a:pt x="304" y="311"/>
                </a:cubicBezTo>
                <a:cubicBezTo>
                  <a:pt x="305" y="313"/>
                  <a:pt x="305" y="314"/>
                  <a:pt x="306" y="315"/>
                </a:cubicBezTo>
                <a:cubicBezTo>
                  <a:pt x="307" y="317"/>
                  <a:pt x="307" y="317"/>
                  <a:pt x="307" y="317"/>
                </a:cubicBezTo>
                <a:cubicBezTo>
                  <a:pt x="307" y="317"/>
                  <a:pt x="309" y="317"/>
                  <a:pt x="307" y="316"/>
                </a:cubicBezTo>
                <a:cubicBezTo>
                  <a:pt x="307" y="316"/>
                  <a:pt x="309" y="316"/>
                  <a:pt x="308" y="315"/>
                </a:cubicBezTo>
                <a:cubicBezTo>
                  <a:pt x="308" y="315"/>
                  <a:pt x="310" y="314"/>
                  <a:pt x="310" y="313"/>
                </a:cubicBezTo>
                <a:cubicBezTo>
                  <a:pt x="311" y="312"/>
                  <a:pt x="311" y="312"/>
                  <a:pt x="311" y="310"/>
                </a:cubicBezTo>
                <a:cubicBezTo>
                  <a:pt x="312" y="310"/>
                  <a:pt x="314" y="310"/>
                  <a:pt x="316" y="310"/>
                </a:cubicBezTo>
                <a:cubicBezTo>
                  <a:pt x="316" y="311"/>
                  <a:pt x="315" y="311"/>
                  <a:pt x="316" y="311"/>
                </a:cubicBezTo>
                <a:cubicBezTo>
                  <a:pt x="316" y="313"/>
                  <a:pt x="316" y="313"/>
                  <a:pt x="316" y="313"/>
                </a:cubicBezTo>
                <a:cubicBezTo>
                  <a:pt x="318" y="313"/>
                  <a:pt x="318" y="313"/>
                  <a:pt x="318" y="313"/>
                </a:cubicBezTo>
                <a:cubicBezTo>
                  <a:pt x="318" y="312"/>
                  <a:pt x="320" y="310"/>
                  <a:pt x="320" y="309"/>
                </a:cubicBezTo>
                <a:cubicBezTo>
                  <a:pt x="320" y="308"/>
                  <a:pt x="319" y="307"/>
                  <a:pt x="319" y="307"/>
                </a:cubicBezTo>
                <a:cubicBezTo>
                  <a:pt x="320" y="306"/>
                  <a:pt x="322" y="306"/>
                  <a:pt x="323" y="305"/>
                </a:cubicBezTo>
                <a:cubicBezTo>
                  <a:pt x="324" y="304"/>
                  <a:pt x="323" y="301"/>
                  <a:pt x="325" y="299"/>
                </a:cubicBezTo>
                <a:cubicBezTo>
                  <a:pt x="326" y="299"/>
                  <a:pt x="327" y="300"/>
                  <a:pt x="328" y="299"/>
                </a:cubicBezTo>
                <a:cubicBezTo>
                  <a:pt x="329" y="299"/>
                  <a:pt x="330" y="297"/>
                  <a:pt x="331" y="296"/>
                </a:cubicBezTo>
                <a:cubicBezTo>
                  <a:pt x="333" y="295"/>
                  <a:pt x="335" y="295"/>
                  <a:pt x="337" y="294"/>
                </a:cubicBezTo>
                <a:cubicBezTo>
                  <a:pt x="339" y="293"/>
                  <a:pt x="341" y="286"/>
                  <a:pt x="344" y="286"/>
                </a:cubicBezTo>
                <a:cubicBezTo>
                  <a:pt x="345" y="285"/>
                  <a:pt x="346" y="287"/>
                  <a:pt x="347" y="286"/>
                </a:cubicBezTo>
                <a:cubicBezTo>
                  <a:pt x="348" y="285"/>
                  <a:pt x="348" y="285"/>
                  <a:pt x="348" y="285"/>
                </a:cubicBezTo>
                <a:cubicBezTo>
                  <a:pt x="349" y="283"/>
                  <a:pt x="349" y="283"/>
                  <a:pt x="349" y="283"/>
                </a:cubicBezTo>
                <a:cubicBezTo>
                  <a:pt x="350" y="277"/>
                  <a:pt x="347" y="279"/>
                  <a:pt x="346" y="278"/>
                </a:cubicBezTo>
                <a:cubicBezTo>
                  <a:pt x="345" y="276"/>
                  <a:pt x="345" y="272"/>
                  <a:pt x="344" y="270"/>
                </a:cubicBezTo>
                <a:cubicBezTo>
                  <a:pt x="347" y="276"/>
                  <a:pt x="353" y="279"/>
                  <a:pt x="360" y="278"/>
                </a:cubicBezTo>
                <a:cubicBezTo>
                  <a:pt x="360" y="277"/>
                  <a:pt x="360" y="277"/>
                  <a:pt x="360" y="277"/>
                </a:cubicBezTo>
                <a:cubicBezTo>
                  <a:pt x="362" y="276"/>
                  <a:pt x="363" y="277"/>
                  <a:pt x="364" y="276"/>
                </a:cubicBezTo>
                <a:cubicBezTo>
                  <a:pt x="365" y="276"/>
                  <a:pt x="364" y="273"/>
                  <a:pt x="364" y="273"/>
                </a:cubicBezTo>
                <a:cubicBezTo>
                  <a:pt x="365" y="273"/>
                  <a:pt x="366" y="273"/>
                  <a:pt x="366" y="273"/>
                </a:cubicBezTo>
                <a:cubicBezTo>
                  <a:pt x="367" y="273"/>
                  <a:pt x="367" y="274"/>
                  <a:pt x="367" y="276"/>
                </a:cubicBezTo>
                <a:cubicBezTo>
                  <a:pt x="367" y="275"/>
                  <a:pt x="371" y="274"/>
                  <a:pt x="370" y="274"/>
                </a:cubicBezTo>
                <a:cubicBezTo>
                  <a:pt x="371" y="274"/>
                  <a:pt x="372" y="274"/>
                  <a:pt x="372" y="274"/>
                </a:cubicBezTo>
                <a:cubicBezTo>
                  <a:pt x="373" y="274"/>
                  <a:pt x="372" y="272"/>
                  <a:pt x="373" y="272"/>
                </a:cubicBezTo>
                <a:cubicBezTo>
                  <a:pt x="374" y="272"/>
                  <a:pt x="374" y="271"/>
                  <a:pt x="375" y="272"/>
                </a:cubicBezTo>
                <a:cubicBezTo>
                  <a:pt x="375" y="272"/>
                  <a:pt x="376" y="273"/>
                  <a:pt x="376" y="274"/>
                </a:cubicBezTo>
                <a:cubicBezTo>
                  <a:pt x="380" y="272"/>
                  <a:pt x="379" y="273"/>
                  <a:pt x="383" y="273"/>
                </a:cubicBezTo>
                <a:cubicBezTo>
                  <a:pt x="384" y="271"/>
                  <a:pt x="384" y="271"/>
                  <a:pt x="384" y="271"/>
                </a:cubicBezTo>
                <a:cubicBezTo>
                  <a:pt x="385" y="270"/>
                  <a:pt x="385" y="272"/>
                  <a:pt x="386" y="272"/>
                </a:cubicBezTo>
                <a:cubicBezTo>
                  <a:pt x="387" y="271"/>
                  <a:pt x="388" y="269"/>
                  <a:pt x="390" y="269"/>
                </a:cubicBezTo>
                <a:cubicBezTo>
                  <a:pt x="391" y="269"/>
                  <a:pt x="392" y="269"/>
                  <a:pt x="393" y="269"/>
                </a:cubicBezTo>
                <a:cubicBezTo>
                  <a:pt x="395" y="269"/>
                  <a:pt x="398" y="267"/>
                  <a:pt x="400" y="266"/>
                </a:cubicBezTo>
                <a:cubicBezTo>
                  <a:pt x="400" y="262"/>
                  <a:pt x="400" y="262"/>
                  <a:pt x="400" y="262"/>
                </a:cubicBezTo>
                <a:cubicBezTo>
                  <a:pt x="401" y="261"/>
                  <a:pt x="402" y="263"/>
                  <a:pt x="402" y="264"/>
                </a:cubicBezTo>
                <a:cubicBezTo>
                  <a:pt x="403" y="264"/>
                  <a:pt x="404" y="263"/>
                  <a:pt x="405" y="264"/>
                </a:cubicBezTo>
                <a:cubicBezTo>
                  <a:pt x="406" y="261"/>
                  <a:pt x="407" y="260"/>
                  <a:pt x="409" y="258"/>
                </a:cubicBezTo>
                <a:cubicBezTo>
                  <a:pt x="410" y="258"/>
                  <a:pt x="410" y="258"/>
                  <a:pt x="412" y="258"/>
                </a:cubicBezTo>
                <a:cubicBezTo>
                  <a:pt x="411" y="258"/>
                  <a:pt x="412" y="259"/>
                  <a:pt x="412" y="260"/>
                </a:cubicBezTo>
                <a:cubicBezTo>
                  <a:pt x="412" y="259"/>
                  <a:pt x="414" y="258"/>
                  <a:pt x="414" y="258"/>
                </a:cubicBezTo>
                <a:cubicBezTo>
                  <a:pt x="415" y="257"/>
                  <a:pt x="415" y="258"/>
                  <a:pt x="416" y="258"/>
                </a:cubicBezTo>
                <a:cubicBezTo>
                  <a:pt x="416" y="258"/>
                  <a:pt x="417" y="256"/>
                  <a:pt x="417" y="256"/>
                </a:cubicBezTo>
                <a:cubicBezTo>
                  <a:pt x="419" y="255"/>
                  <a:pt x="419" y="256"/>
                  <a:pt x="421" y="256"/>
                </a:cubicBezTo>
                <a:cubicBezTo>
                  <a:pt x="422" y="256"/>
                  <a:pt x="424" y="254"/>
                  <a:pt x="424" y="254"/>
                </a:cubicBezTo>
                <a:cubicBezTo>
                  <a:pt x="425" y="254"/>
                  <a:pt x="427" y="254"/>
                  <a:pt x="428" y="254"/>
                </a:cubicBezTo>
                <a:cubicBezTo>
                  <a:pt x="427" y="250"/>
                  <a:pt x="428" y="250"/>
                  <a:pt x="432" y="250"/>
                </a:cubicBezTo>
                <a:cubicBezTo>
                  <a:pt x="432" y="249"/>
                  <a:pt x="432" y="248"/>
                  <a:pt x="431" y="247"/>
                </a:cubicBezTo>
                <a:cubicBezTo>
                  <a:pt x="432" y="246"/>
                  <a:pt x="434" y="245"/>
                  <a:pt x="434" y="244"/>
                </a:cubicBezTo>
                <a:cubicBezTo>
                  <a:pt x="436" y="244"/>
                  <a:pt x="437" y="244"/>
                  <a:pt x="438" y="244"/>
                </a:cubicBezTo>
                <a:cubicBezTo>
                  <a:pt x="439" y="243"/>
                  <a:pt x="439" y="241"/>
                  <a:pt x="439" y="241"/>
                </a:cubicBezTo>
                <a:cubicBezTo>
                  <a:pt x="434" y="242"/>
                  <a:pt x="429" y="242"/>
                  <a:pt x="425" y="240"/>
                </a:cubicBezTo>
                <a:cubicBezTo>
                  <a:pt x="424" y="240"/>
                  <a:pt x="422" y="238"/>
                  <a:pt x="421" y="238"/>
                </a:cubicBezTo>
                <a:cubicBezTo>
                  <a:pt x="419" y="238"/>
                  <a:pt x="420" y="239"/>
                  <a:pt x="418" y="238"/>
                </a:cubicBezTo>
                <a:cubicBezTo>
                  <a:pt x="418" y="237"/>
                  <a:pt x="418" y="237"/>
                  <a:pt x="418" y="237"/>
                </a:cubicBezTo>
                <a:cubicBezTo>
                  <a:pt x="414" y="237"/>
                  <a:pt x="412" y="240"/>
                  <a:pt x="410" y="240"/>
                </a:cubicBezTo>
                <a:cubicBezTo>
                  <a:pt x="405" y="241"/>
                  <a:pt x="403" y="240"/>
                  <a:pt x="399" y="240"/>
                </a:cubicBezTo>
                <a:cubicBezTo>
                  <a:pt x="411" y="232"/>
                  <a:pt x="389" y="236"/>
                  <a:pt x="384" y="237"/>
                </a:cubicBezTo>
                <a:cubicBezTo>
                  <a:pt x="384" y="235"/>
                  <a:pt x="383" y="234"/>
                  <a:pt x="382" y="232"/>
                </a:cubicBezTo>
                <a:cubicBezTo>
                  <a:pt x="383" y="232"/>
                  <a:pt x="383" y="232"/>
                  <a:pt x="383" y="231"/>
                </a:cubicBezTo>
                <a:cubicBezTo>
                  <a:pt x="384" y="232"/>
                  <a:pt x="385" y="230"/>
                  <a:pt x="385" y="230"/>
                </a:cubicBezTo>
                <a:cubicBezTo>
                  <a:pt x="385" y="232"/>
                  <a:pt x="385" y="235"/>
                  <a:pt x="386" y="236"/>
                </a:cubicBezTo>
                <a:cubicBezTo>
                  <a:pt x="391" y="234"/>
                  <a:pt x="397" y="233"/>
                  <a:pt x="403" y="234"/>
                </a:cubicBezTo>
                <a:cubicBezTo>
                  <a:pt x="403" y="234"/>
                  <a:pt x="406" y="236"/>
                  <a:pt x="408" y="235"/>
                </a:cubicBezTo>
                <a:cubicBezTo>
                  <a:pt x="408" y="235"/>
                  <a:pt x="409" y="234"/>
                  <a:pt x="410" y="234"/>
                </a:cubicBezTo>
                <a:cubicBezTo>
                  <a:pt x="409" y="232"/>
                  <a:pt x="409" y="230"/>
                  <a:pt x="408" y="228"/>
                </a:cubicBezTo>
                <a:cubicBezTo>
                  <a:pt x="402" y="230"/>
                  <a:pt x="399" y="229"/>
                  <a:pt x="392" y="230"/>
                </a:cubicBezTo>
                <a:cubicBezTo>
                  <a:pt x="391" y="230"/>
                  <a:pt x="383" y="232"/>
                  <a:pt x="386" y="229"/>
                </a:cubicBezTo>
                <a:cubicBezTo>
                  <a:pt x="386" y="229"/>
                  <a:pt x="388" y="227"/>
                  <a:pt x="388" y="227"/>
                </a:cubicBezTo>
                <a:cubicBezTo>
                  <a:pt x="388" y="226"/>
                  <a:pt x="388" y="226"/>
                  <a:pt x="388" y="226"/>
                </a:cubicBezTo>
                <a:cubicBezTo>
                  <a:pt x="390" y="226"/>
                  <a:pt x="390" y="227"/>
                  <a:pt x="391" y="228"/>
                </a:cubicBezTo>
                <a:cubicBezTo>
                  <a:pt x="394" y="228"/>
                  <a:pt x="400" y="229"/>
                  <a:pt x="402" y="228"/>
                </a:cubicBezTo>
                <a:cubicBezTo>
                  <a:pt x="403" y="228"/>
                  <a:pt x="405" y="226"/>
                  <a:pt x="405" y="226"/>
                </a:cubicBezTo>
                <a:cubicBezTo>
                  <a:pt x="407" y="226"/>
                  <a:pt x="409" y="226"/>
                  <a:pt x="411" y="226"/>
                </a:cubicBezTo>
                <a:cubicBezTo>
                  <a:pt x="411" y="225"/>
                  <a:pt x="411" y="225"/>
                  <a:pt x="411" y="225"/>
                </a:cubicBezTo>
                <a:cubicBezTo>
                  <a:pt x="410" y="224"/>
                  <a:pt x="410" y="224"/>
                  <a:pt x="410" y="222"/>
                </a:cubicBezTo>
                <a:cubicBezTo>
                  <a:pt x="408" y="222"/>
                  <a:pt x="405" y="222"/>
                  <a:pt x="404" y="221"/>
                </a:cubicBezTo>
                <a:cubicBezTo>
                  <a:pt x="403" y="219"/>
                  <a:pt x="403" y="219"/>
                  <a:pt x="403" y="219"/>
                </a:cubicBezTo>
                <a:cubicBezTo>
                  <a:pt x="397" y="220"/>
                  <a:pt x="390" y="220"/>
                  <a:pt x="384" y="221"/>
                </a:cubicBezTo>
                <a:cubicBezTo>
                  <a:pt x="384" y="220"/>
                  <a:pt x="384" y="220"/>
                  <a:pt x="384" y="220"/>
                </a:cubicBezTo>
                <a:cubicBezTo>
                  <a:pt x="385" y="219"/>
                  <a:pt x="386" y="219"/>
                  <a:pt x="388" y="219"/>
                </a:cubicBezTo>
                <a:cubicBezTo>
                  <a:pt x="387" y="218"/>
                  <a:pt x="389" y="218"/>
                  <a:pt x="388" y="216"/>
                </a:cubicBezTo>
                <a:cubicBezTo>
                  <a:pt x="386" y="216"/>
                  <a:pt x="386" y="216"/>
                  <a:pt x="386" y="216"/>
                </a:cubicBezTo>
                <a:cubicBezTo>
                  <a:pt x="385" y="215"/>
                  <a:pt x="386" y="214"/>
                  <a:pt x="386" y="213"/>
                </a:cubicBezTo>
                <a:cubicBezTo>
                  <a:pt x="388" y="214"/>
                  <a:pt x="389" y="215"/>
                  <a:pt x="391" y="217"/>
                </a:cubicBezTo>
                <a:cubicBezTo>
                  <a:pt x="395" y="216"/>
                  <a:pt x="398" y="215"/>
                  <a:pt x="402" y="216"/>
                </a:cubicBezTo>
                <a:cubicBezTo>
                  <a:pt x="404" y="218"/>
                  <a:pt x="404" y="218"/>
                  <a:pt x="404" y="218"/>
                </a:cubicBezTo>
                <a:cubicBezTo>
                  <a:pt x="405" y="218"/>
                  <a:pt x="407" y="217"/>
                  <a:pt x="408" y="218"/>
                </a:cubicBezTo>
                <a:cubicBezTo>
                  <a:pt x="408" y="218"/>
                  <a:pt x="408" y="221"/>
                  <a:pt x="410" y="221"/>
                </a:cubicBezTo>
                <a:cubicBezTo>
                  <a:pt x="412" y="222"/>
                  <a:pt x="414" y="220"/>
                  <a:pt x="417" y="222"/>
                </a:cubicBezTo>
                <a:cubicBezTo>
                  <a:pt x="418" y="222"/>
                  <a:pt x="418" y="224"/>
                  <a:pt x="418" y="225"/>
                </a:cubicBezTo>
                <a:cubicBezTo>
                  <a:pt x="420" y="228"/>
                  <a:pt x="424" y="234"/>
                  <a:pt x="427" y="236"/>
                </a:cubicBezTo>
                <a:cubicBezTo>
                  <a:pt x="428" y="237"/>
                  <a:pt x="431" y="238"/>
                  <a:pt x="432" y="238"/>
                </a:cubicBezTo>
                <a:cubicBezTo>
                  <a:pt x="432" y="239"/>
                  <a:pt x="432" y="239"/>
                  <a:pt x="432" y="239"/>
                </a:cubicBezTo>
                <a:cubicBezTo>
                  <a:pt x="434" y="239"/>
                  <a:pt x="433" y="237"/>
                  <a:pt x="434" y="237"/>
                </a:cubicBezTo>
                <a:cubicBezTo>
                  <a:pt x="436" y="236"/>
                  <a:pt x="440" y="238"/>
                  <a:pt x="442" y="239"/>
                </a:cubicBezTo>
                <a:cubicBezTo>
                  <a:pt x="443" y="240"/>
                  <a:pt x="443" y="240"/>
                  <a:pt x="443" y="240"/>
                </a:cubicBezTo>
                <a:cubicBezTo>
                  <a:pt x="446" y="237"/>
                  <a:pt x="443" y="236"/>
                  <a:pt x="441" y="235"/>
                </a:cubicBezTo>
                <a:cubicBezTo>
                  <a:pt x="442" y="234"/>
                  <a:pt x="443" y="234"/>
                  <a:pt x="443" y="234"/>
                </a:cubicBezTo>
                <a:cubicBezTo>
                  <a:pt x="444" y="233"/>
                  <a:pt x="442" y="233"/>
                  <a:pt x="443" y="232"/>
                </a:cubicBezTo>
                <a:cubicBezTo>
                  <a:pt x="445" y="231"/>
                  <a:pt x="443" y="225"/>
                  <a:pt x="441" y="224"/>
                </a:cubicBezTo>
                <a:cubicBezTo>
                  <a:pt x="440" y="224"/>
                  <a:pt x="440" y="224"/>
                  <a:pt x="440" y="224"/>
                </a:cubicBezTo>
                <a:cubicBezTo>
                  <a:pt x="439" y="223"/>
                  <a:pt x="440" y="222"/>
                  <a:pt x="439" y="220"/>
                </a:cubicBezTo>
                <a:cubicBezTo>
                  <a:pt x="439" y="221"/>
                  <a:pt x="438" y="220"/>
                  <a:pt x="437" y="220"/>
                </a:cubicBezTo>
                <a:cubicBezTo>
                  <a:pt x="437" y="222"/>
                  <a:pt x="438" y="222"/>
                  <a:pt x="436" y="222"/>
                </a:cubicBezTo>
                <a:cubicBezTo>
                  <a:pt x="436" y="222"/>
                  <a:pt x="436" y="219"/>
                  <a:pt x="436" y="219"/>
                </a:cubicBezTo>
                <a:cubicBezTo>
                  <a:pt x="437" y="219"/>
                  <a:pt x="437" y="219"/>
                  <a:pt x="437" y="218"/>
                </a:cubicBezTo>
                <a:cubicBezTo>
                  <a:pt x="435" y="218"/>
                  <a:pt x="435" y="218"/>
                  <a:pt x="433" y="218"/>
                </a:cubicBezTo>
                <a:cubicBezTo>
                  <a:pt x="433" y="217"/>
                  <a:pt x="434" y="217"/>
                  <a:pt x="434" y="216"/>
                </a:cubicBezTo>
                <a:cubicBezTo>
                  <a:pt x="433" y="215"/>
                  <a:pt x="431" y="213"/>
                  <a:pt x="430" y="212"/>
                </a:cubicBezTo>
                <a:cubicBezTo>
                  <a:pt x="429" y="212"/>
                  <a:pt x="428" y="213"/>
                  <a:pt x="426" y="212"/>
                </a:cubicBezTo>
                <a:cubicBezTo>
                  <a:pt x="425" y="211"/>
                  <a:pt x="423" y="208"/>
                  <a:pt x="421" y="208"/>
                </a:cubicBezTo>
                <a:cubicBezTo>
                  <a:pt x="418" y="207"/>
                  <a:pt x="415" y="208"/>
                  <a:pt x="412" y="208"/>
                </a:cubicBezTo>
                <a:cubicBezTo>
                  <a:pt x="412" y="207"/>
                  <a:pt x="412" y="207"/>
                  <a:pt x="412" y="207"/>
                </a:cubicBezTo>
                <a:cubicBezTo>
                  <a:pt x="414" y="206"/>
                  <a:pt x="416" y="206"/>
                  <a:pt x="418" y="206"/>
                </a:cubicBezTo>
                <a:cubicBezTo>
                  <a:pt x="416" y="204"/>
                  <a:pt x="416" y="202"/>
                  <a:pt x="413" y="201"/>
                </a:cubicBezTo>
                <a:cubicBezTo>
                  <a:pt x="412" y="201"/>
                  <a:pt x="411" y="202"/>
                  <a:pt x="412" y="202"/>
                </a:cubicBezTo>
                <a:cubicBezTo>
                  <a:pt x="411" y="202"/>
                  <a:pt x="410" y="204"/>
                  <a:pt x="410" y="204"/>
                </a:cubicBezTo>
                <a:cubicBezTo>
                  <a:pt x="408" y="204"/>
                  <a:pt x="406" y="204"/>
                  <a:pt x="406" y="204"/>
                </a:cubicBezTo>
                <a:cubicBezTo>
                  <a:pt x="406" y="204"/>
                  <a:pt x="405" y="206"/>
                  <a:pt x="405" y="206"/>
                </a:cubicBezTo>
                <a:cubicBezTo>
                  <a:pt x="404" y="206"/>
                  <a:pt x="402" y="206"/>
                  <a:pt x="402" y="205"/>
                </a:cubicBezTo>
                <a:cubicBezTo>
                  <a:pt x="402" y="205"/>
                  <a:pt x="402" y="204"/>
                  <a:pt x="402" y="203"/>
                </a:cubicBezTo>
                <a:cubicBezTo>
                  <a:pt x="401" y="203"/>
                  <a:pt x="400" y="202"/>
                  <a:pt x="400" y="202"/>
                </a:cubicBezTo>
                <a:cubicBezTo>
                  <a:pt x="400" y="202"/>
                  <a:pt x="398" y="203"/>
                  <a:pt x="398" y="202"/>
                </a:cubicBezTo>
                <a:cubicBezTo>
                  <a:pt x="397" y="202"/>
                  <a:pt x="398" y="200"/>
                  <a:pt x="398" y="200"/>
                </a:cubicBezTo>
                <a:cubicBezTo>
                  <a:pt x="397" y="199"/>
                  <a:pt x="397" y="199"/>
                  <a:pt x="396" y="199"/>
                </a:cubicBezTo>
                <a:cubicBezTo>
                  <a:pt x="395" y="198"/>
                  <a:pt x="396" y="198"/>
                  <a:pt x="395" y="197"/>
                </a:cubicBezTo>
                <a:cubicBezTo>
                  <a:pt x="395" y="196"/>
                  <a:pt x="395" y="196"/>
                  <a:pt x="395" y="196"/>
                </a:cubicBezTo>
                <a:cubicBezTo>
                  <a:pt x="396" y="196"/>
                  <a:pt x="397" y="196"/>
                  <a:pt x="398" y="196"/>
                </a:cubicBezTo>
                <a:cubicBezTo>
                  <a:pt x="401" y="194"/>
                  <a:pt x="399" y="195"/>
                  <a:pt x="400" y="194"/>
                </a:cubicBezTo>
                <a:cubicBezTo>
                  <a:pt x="398" y="194"/>
                  <a:pt x="398" y="193"/>
                  <a:pt x="398" y="193"/>
                </a:cubicBezTo>
                <a:cubicBezTo>
                  <a:pt x="401" y="193"/>
                  <a:pt x="403" y="194"/>
                  <a:pt x="406" y="193"/>
                </a:cubicBezTo>
                <a:cubicBezTo>
                  <a:pt x="408" y="193"/>
                  <a:pt x="409" y="190"/>
                  <a:pt x="411" y="190"/>
                </a:cubicBezTo>
                <a:cubicBezTo>
                  <a:pt x="411" y="190"/>
                  <a:pt x="412" y="190"/>
                  <a:pt x="413" y="190"/>
                </a:cubicBezTo>
                <a:cubicBezTo>
                  <a:pt x="413" y="190"/>
                  <a:pt x="414" y="188"/>
                  <a:pt x="414" y="188"/>
                </a:cubicBezTo>
                <a:cubicBezTo>
                  <a:pt x="415" y="187"/>
                  <a:pt x="417" y="187"/>
                  <a:pt x="418" y="187"/>
                </a:cubicBezTo>
                <a:cubicBezTo>
                  <a:pt x="418" y="186"/>
                  <a:pt x="418" y="184"/>
                  <a:pt x="418" y="183"/>
                </a:cubicBezTo>
                <a:cubicBezTo>
                  <a:pt x="419" y="183"/>
                  <a:pt x="420" y="183"/>
                  <a:pt x="421" y="183"/>
                </a:cubicBezTo>
                <a:cubicBezTo>
                  <a:pt x="420" y="185"/>
                  <a:pt x="419" y="187"/>
                  <a:pt x="421" y="188"/>
                </a:cubicBezTo>
                <a:cubicBezTo>
                  <a:pt x="423" y="189"/>
                  <a:pt x="425" y="189"/>
                  <a:pt x="427" y="189"/>
                </a:cubicBezTo>
                <a:cubicBezTo>
                  <a:pt x="429" y="190"/>
                  <a:pt x="429" y="190"/>
                  <a:pt x="429" y="190"/>
                </a:cubicBezTo>
                <a:cubicBezTo>
                  <a:pt x="430" y="191"/>
                  <a:pt x="432" y="190"/>
                  <a:pt x="433" y="190"/>
                </a:cubicBezTo>
                <a:cubicBezTo>
                  <a:pt x="434" y="191"/>
                  <a:pt x="436" y="192"/>
                  <a:pt x="436" y="192"/>
                </a:cubicBezTo>
                <a:cubicBezTo>
                  <a:pt x="439" y="193"/>
                  <a:pt x="443" y="190"/>
                  <a:pt x="445" y="189"/>
                </a:cubicBezTo>
                <a:cubicBezTo>
                  <a:pt x="445" y="189"/>
                  <a:pt x="445" y="187"/>
                  <a:pt x="445" y="187"/>
                </a:cubicBezTo>
                <a:cubicBezTo>
                  <a:pt x="447" y="186"/>
                  <a:pt x="451" y="186"/>
                  <a:pt x="452" y="186"/>
                </a:cubicBezTo>
                <a:cubicBezTo>
                  <a:pt x="451" y="185"/>
                  <a:pt x="452" y="181"/>
                  <a:pt x="452" y="181"/>
                </a:cubicBezTo>
                <a:cubicBezTo>
                  <a:pt x="451" y="180"/>
                  <a:pt x="450" y="181"/>
                  <a:pt x="449" y="181"/>
                </a:cubicBezTo>
                <a:cubicBezTo>
                  <a:pt x="443" y="180"/>
                  <a:pt x="444" y="176"/>
                  <a:pt x="441" y="183"/>
                </a:cubicBezTo>
                <a:cubicBezTo>
                  <a:pt x="441" y="182"/>
                  <a:pt x="440" y="180"/>
                  <a:pt x="439" y="179"/>
                </a:cubicBezTo>
                <a:cubicBezTo>
                  <a:pt x="439" y="179"/>
                  <a:pt x="438" y="179"/>
                  <a:pt x="437" y="179"/>
                </a:cubicBezTo>
                <a:cubicBezTo>
                  <a:pt x="434" y="178"/>
                  <a:pt x="438" y="175"/>
                  <a:pt x="438" y="174"/>
                </a:cubicBezTo>
                <a:cubicBezTo>
                  <a:pt x="438" y="173"/>
                  <a:pt x="438" y="171"/>
                  <a:pt x="438" y="169"/>
                </a:cubicBezTo>
                <a:cubicBezTo>
                  <a:pt x="440" y="170"/>
                  <a:pt x="442" y="172"/>
                  <a:pt x="443" y="172"/>
                </a:cubicBezTo>
                <a:cubicBezTo>
                  <a:pt x="447" y="173"/>
                  <a:pt x="451" y="172"/>
                  <a:pt x="455" y="173"/>
                </a:cubicBezTo>
                <a:cubicBezTo>
                  <a:pt x="457" y="174"/>
                  <a:pt x="458" y="177"/>
                  <a:pt x="462" y="176"/>
                </a:cubicBezTo>
                <a:cubicBezTo>
                  <a:pt x="462" y="176"/>
                  <a:pt x="464" y="174"/>
                  <a:pt x="464" y="174"/>
                </a:cubicBezTo>
                <a:cubicBezTo>
                  <a:pt x="465" y="175"/>
                  <a:pt x="465" y="172"/>
                  <a:pt x="465" y="171"/>
                </a:cubicBezTo>
                <a:cubicBezTo>
                  <a:pt x="463" y="171"/>
                  <a:pt x="461" y="170"/>
                  <a:pt x="459" y="170"/>
                </a:cubicBezTo>
                <a:cubicBezTo>
                  <a:pt x="457" y="171"/>
                  <a:pt x="457" y="171"/>
                  <a:pt x="457" y="171"/>
                </a:cubicBezTo>
                <a:cubicBezTo>
                  <a:pt x="455" y="171"/>
                  <a:pt x="452" y="171"/>
                  <a:pt x="449" y="171"/>
                </a:cubicBezTo>
                <a:cubicBezTo>
                  <a:pt x="450" y="169"/>
                  <a:pt x="450" y="169"/>
                  <a:pt x="450" y="169"/>
                </a:cubicBezTo>
                <a:cubicBezTo>
                  <a:pt x="452" y="169"/>
                  <a:pt x="453" y="164"/>
                  <a:pt x="447" y="166"/>
                </a:cubicBezTo>
                <a:cubicBezTo>
                  <a:pt x="447" y="168"/>
                  <a:pt x="447" y="168"/>
                  <a:pt x="447" y="168"/>
                </a:cubicBezTo>
                <a:cubicBezTo>
                  <a:pt x="446" y="168"/>
                  <a:pt x="443" y="167"/>
                  <a:pt x="443" y="167"/>
                </a:cubicBezTo>
                <a:cubicBezTo>
                  <a:pt x="445" y="167"/>
                  <a:pt x="446" y="167"/>
                  <a:pt x="447" y="164"/>
                </a:cubicBezTo>
                <a:cubicBezTo>
                  <a:pt x="448" y="163"/>
                  <a:pt x="449" y="163"/>
                  <a:pt x="449" y="163"/>
                </a:cubicBezTo>
                <a:cubicBezTo>
                  <a:pt x="446" y="158"/>
                  <a:pt x="446" y="159"/>
                  <a:pt x="440" y="157"/>
                </a:cubicBezTo>
                <a:cubicBezTo>
                  <a:pt x="441" y="155"/>
                  <a:pt x="441" y="155"/>
                  <a:pt x="441" y="155"/>
                </a:cubicBezTo>
                <a:cubicBezTo>
                  <a:pt x="441" y="155"/>
                  <a:pt x="444" y="155"/>
                  <a:pt x="443" y="156"/>
                </a:cubicBezTo>
                <a:cubicBezTo>
                  <a:pt x="443" y="156"/>
                  <a:pt x="444" y="157"/>
                  <a:pt x="444" y="157"/>
                </a:cubicBezTo>
                <a:cubicBezTo>
                  <a:pt x="446" y="157"/>
                  <a:pt x="448" y="158"/>
                  <a:pt x="450" y="157"/>
                </a:cubicBezTo>
                <a:cubicBezTo>
                  <a:pt x="451" y="157"/>
                  <a:pt x="451" y="155"/>
                  <a:pt x="453" y="156"/>
                </a:cubicBezTo>
                <a:cubicBezTo>
                  <a:pt x="453" y="156"/>
                  <a:pt x="453" y="158"/>
                  <a:pt x="453" y="158"/>
                </a:cubicBezTo>
                <a:cubicBezTo>
                  <a:pt x="455" y="159"/>
                  <a:pt x="455" y="159"/>
                  <a:pt x="455" y="159"/>
                </a:cubicBezTo>
                <a:cubicBezTo>
                  <a:pt x="455" y="159"/>
                  <a:pt x="455" y="159"/>
                  <a:pt x="455" y="159"/>
                </a:cubicBezTo>
                <a:cubicBezTo>
                  <a:pt x="455" y="159"/>
                  <a:pt x="457" y="159"/>
                  <a:pt x="457" y="159"/>
                </a:cubicBezTo>
                <a:cubicBezTo>
                  <a:pt x="459" y="154"/>
                  <a:pt x="458" y="151"/>
                  <a:pt x="457" y="145"/>
                </a:cubicBezTo>
                <a:cubicBezTo>
                  <a:pt x="454" y="145"/>
                  <a:pt x="454" y="145"/>
                  <a:pt x="454" y="145"/>
                </a:cubicBezTo>
                <a:cubicBezTo>
                  <a:pt x="454" y="144"/>
                  <a:pt x="455" y="144"/>
                  <a:pt x="455" y="143"/>
                </a:cubicBezTo>
                <a:cubicBezTo>
                  <a:pt x="456" y="142"/>
                  <a:pt x="455" y="140"/>
                  <a:pt x="455" y="139"/>
                </a:cubicBezTo>
                <a:cubicBezTo>
                  <a:pt x="449" y="138"/>
                  <a:pt x="450" y="139"/>
                  <a:pt x="447" y="143"/>
                </a:cubicBezTo>
                <a:cubicBezTo>
                  <a:pt x="445" y="142"/>
                  <a:pt x="446" y="142"/>
                  <a:pt x="445" y="141"/>
                </a:cubicBezTo>
                <a:cubicBezTo>
                  <a:pt x="444" y="141"/>
                  <a:pt x="442" y="141"/>
                  <a:pt x="441" y="141"/>
                </a:cubicBezTo>
                <a:cubicBezTo>
                  <a:pt x="442" y="141"/>
                  <a:pt x="441" y="138"/>
                  <a:pt x="441" y="138"/>
                </a:cubicBezTo>
                <a:cubicBezTo>
                  <a:pt x="443" y="138"/>
                  <a:pt x="443" y="139"/>
                  <a:pt x="445" y="139"/>
                </a:cubicBezTo>
                <a:cubicBezTo>
                  <a:pt x="445" y="139"/>
                  <a:pt x="446" y="137"/>
                  <a:pt x="446" y="137"/>
                </a:cubicBezTo>
                <a:cubicBezTo>
                  <a:pt x="448" y="135"/>
                  <a:pt x="449" y="135"/>
                  <a:pt x="447" y="133"/>
                </a:cubicBezTo>
                <a:cubicBezTo>
                  <a:pt x="448" y="133"/>
                  <a:pt x="449" y="131"/>
                  <a:pt x="446" y="131"/>
                </a:cubicBezTo>
                <a:cubicBezTo>
                  <a:pt x="446" y="131"/>
                  <a:pt x="447" y="129"/>
                  <a:pt x="447" y="129"/>
                </a:cubicBezTo>
                <a:cubicBezTo>
                  <a:pt x="451" y="130"/>
                  <a:pt x="456" y="129"/>
                  <a:pt x="460" y="131"/>
                </a:cubicBezTo>
                <a:cubicBezTo>
                  <a:pt x="461" y="131"/>
                  <a:pt x="463" y="133"/>
                  <a:pt x="464" y="133"/>
                </a:cubicBezTo>
                <a:cubicBezTo>
                  <a:pt x="466" y="134"/>
                  <a:pt x="469" y="133"/>
                  <a:pt x="470" y="133"/>
                </a:cubicBezTo>
                <a:cubicBezTo>
                  <a:pt x="469" y="131"/>
                  <a:pt x="469" y="131"/>
                  <a:pt x="469" y="131"/>
                </a:cubicBezTo>
                <a:cubicBezTo>
                  <a:pt x="470" y="127"/>
                  <a:pt x="469" y="129"/>
                  <a:pt x="468" y="126"/>
                </a:cubicBezTo>
                <a:cubicBezTo>
                  <a:pt x="468" y="125"/>
                  <a:pt x="468" y="124"/>
                  <a:pt x="467" y="123"/>
                </a:cubicBezTo>
                <a:cubicBezTo>
                  <a:pt x="467" y="122"/>
                  <a:pt x="466" y="122"/>
                  <a:pt x="465" y="121"/>
                </a:cubicBezTo>
                <a:cubicBezTo>
                  <a:pt x="466" y="121"/>
                  <a:pt x="464" y="120"/>
                  <a:pt x="464" y="120"/>
                </a:cubicBezTo>
                <a:cubicBezTo>
                  <a:pt x="464" y="120"/>
                  <a:pt x="462" y="120"/>
                  <a:pt x="462" y="120"/>
                </a:cubicBezTo>
                <a:cubicBezTo>
                  <a:pt x="462" y="120"/>
                  <a:pt x="462" y="123"/>
                  <a:pt x="461" y="123"/>
                </a:cubicBezTo>
                <a:cubicBezTo>
                  <a:pt x="459" y="123"/>
                  <a:pt x="459" y="122"/>
                  <a:pt x="457" y="122"/>
                </a:cubicBezTo>
                <a:cubicBezTo>
                  <a:pt x="456" y="122"/>
                  <a:pt x="455" y="122"/>
                  <a:pt x="453" y="123"/>
                </a:cubicBezTo>
                <a:cubicBezTo>
                  <a:pt x="453" y="121"/>
                  <a:pt x="453" y="117"/>
                  <a:pt x="453" y="115"/>
                </a:cubicBezTo>
                <a:cubicBezTo>
                  <a:pt x="456" y="116"/>
                  <a:pt x="457" y="117"/>
                  <a:pt x="459" y="117"/>
                </a:cubicBezTo>
                <a:cubicBezTo>
                  <a:pt x="465" y="115"/>
                  <a:pt x="458" y="114"/>
                  <a:pt x="456" y="113"/>
                </a:cubicBezTo>
                <a:cubicBezTo>
                  <a:pt x="456" y="112"/>
                  <a:pt x="455" y="111"/>
                  <a:pt x="455" y="111"/>
                </a:cubicBezTo>
                <a:cubicBezTo>
                  <a:pt x="453" y="110"/>
                  <a:pt x="451" y="112"/>
                  <a:pt x="450" y="112"/>
                </a:cubicBezTo>
                <a:cubicBezTo>
                  <a:pt x="448" y="112"/>
                  <a:pt x="445" y="110"/>
                  <a:pt x="443" y="109"/>
                </a:cubicBezTo>
                <a:cubicBezTo>
                  <a:pt x="444" y="110"/>
                  <a:pt x="441" y="111"/>
                  <a:pt x="441" y="111"/>
                </a:cubicBezTo>
                <a:cubicBezTo>
                  <a:pt x="440" y="110"/>
                  <a:pt x="439" y="108"/>
                  <a:pt x="441" y="109"/>
                </a:cubicBezTo>
                <a:cubicBezTo>
                  <a:pt x="441" y="107"/>
                  <a:pt x="441" y="106"/>
                  <a:pt x="441" y="105"/>
                </a:cubicBezTo>
                <a:cubicBezTo>
                  <a:pt x="447" y="106"/>
                  <a:pt x="450" y="107"/>
                  <a:pt x="454" y="109"/>
                </a:cubicBezTo>
                <a:cubicBezTo>
                  <a:pt x="454" y="107"/>
                  <a:pt x="455" y="104"/>
                  <a:pt x="455" y="103"/>
                </a:cubicBezTo>
                <a:cubicBezTo>
                  <a:pt x="456" y="101"/>
                  <a:pt x="460" y="100"/>
                  <a:pt x="461" y="99"/>
                </a:cubicBezTo>
                <a:cubicBezTo>
                  <a:pt x="461" y="98"/>
                  <a:pt x="460" y="98"/>
                  <a:pt x="461" y="97"/>
                </a:cubicBezTo>
                <a:cubicBezTo>
                  <a:pt x="461" y="97"/>
                  <a:pt x="462" y="94"/>
                  <a:pt x="461" y="93"/>
                </a:cubicBezTo>
                <a:cubicBezTo>
                  <a:pt x="465" y="90"/>
                  <a:pt x="466" y="89"/>
                  <a:pt x="461" y="86"/>
                </a:cubicBezTo>
                <a:cubicBezTo>
                  <a:pt x="464" y="85"/>
                  <a:pt x="468" y="85"/>
                  <a:pt x="473" y="85"/>
                </a:cubicBezTo>
                <a:cubicBezTo>
                  <a:pt x="474" y="84"/>
                  <a:pt x="473" y="82"/>
                  <a:pt x="473" y="81"/>
                </a:cubicBezTo>
                <a:cubicBezTo>
                  <a:pt x="479" y="77"/>
                  <a:pt x="482" y="75"/>
                  <a:pt x="472" y="73"/>
                </a:cubicBezTo>
                <a:cubicBezTo>
                  <a:pt x="470" y="73"/>
                  <a:pt x="467" y="72"/>
                  <a:pt x="464" y="73"/>
                </a:cubicBezTo>
                <a:cubicBezTo>
                  <a:pt x="463" y="73"/>
                  <a:pt x="463" y="75"/>
                  <a:pt x="462" y="75"/>
                </a:cubicBezTo>
                <a:cubicBezTo>
                  <a:pt x="459" y="76"/>
                  <a:pt x="457" y="77"/>
                  <a:pt x="455" y="78"/>
                </a:cubicBezTo>
                <a:cubicBezTo>
                  <a:pt x="455" y="76"/>
                  <a:pt x="455" y="76"/>
                  <a:pt x="454" y="75"/>
                </a:cubicBezTo>
                <a:cubicBezTo>
                  <a:pt x="453" y="73"/>
                  <a:pt x="451" y="71"/>
                  <a:pt x="453" y="69"/>
                </a:cubicBezTo>
                <a:cubicBezTo>
                  <a:pt x="459" y="66"/>
                  <a:pt x="468" y="70"/>
                  <a:pt x="473" y="71"/>
                </a:cubicBezTo>
                <a:cubicBezTo>
                  <a:pt x="476" y="71"/>
                  <a:pt x="478" y="71"/>
                  <a:pt x="481" y="71"/>
                </a:cubicBezTo>
                <a:cubicBezTo>
                  <a:pt x="481" y="71"/>
                  <a:pt x="483" y="72"/>
                  <a:pt x="484" y="71"/>
                </a:cubicBezTo>
                <a:cubicBezTo>
                  <a:pt x="485" y="71"/>
                  <a:pt x="491" y="64"/>
                  <a:pt x="492" y="63"/>
                </a:cubicBezTo>
                <a:cubicBezTo>
                  <a:pt x="493" y="63"/>
                  <a:pt x="492" y="61"/>
                  <a:pt x="493" y="61"/>
                </a:cubicBezTo>
                <a:cubicBezTo>
                  <a:pt x="490" y="61"/>
                  <a:pt x="487" y="60"/>
                  <a:pt x="485" y="60"/>
                </a:cubicBezTo>
                <a:cubicBezTo>
                  <a:pt x="485" y="60"/>
                  <a:pt x="484" y="63"/>
                  <a:pt x="483" y="63"/>
                </a:cubicBezTo>
                <a:cubicBezTo>
                  <a:pt x="482" y="63"/>
                  <a:pt x="480" y="62"/>
                  <a:pt x="478" y="62"/>
                </a:cubicBezTo>
                <a:cubicBezTo>
                  <a:pt x="476" y="62"/>
                  <a:pt x="472" y="64"/>
                  <a:pt x="469" y="64"/>
                </a:cubicBezTo>
                <a:cubicBezTo>
                  <a:pt x="468" y="64"/>
                  <a:pt x="465" y="62"/>
                  <a:pt x="464" y="61"/>
                </a:cubicBezTo>
                <a:cubicBezTo>
                  <a:pt x="467" y="61"/>
                  <a:pt x="470" y="61"/>
                  <a:pt x="472" y="60"/>
                </a:cubicBezTo>
                <a:cubicBezTo>
                  <a:pt x="472" y="60"/>
                  <a:pt x="473" y="58"/>
                  <a:pt x="473" y="58"/>
                </a:cubicBezTo>
                <a:cubicBezTo>
                  <a:pt x="477" y="57"/>
                  <a:pt x="481" y="60"/>
                  <a:pt x="485" y="60"/>
                </a:cubicBezTo>
                <a:cubicBezTo>
                  <a:pt x="486" y="59"/>
                  <a:pt x="487" y="58"/>
                  <a:pt x="489" y="58"/>
                </a:cubicBezTo>
                <a:cubicBezTo>
                  <a:pt x="490" y="58"/>
                  <a:pt x="494" y="60"/>
                  <a:pt x="495" y="60"/>
                </a:cubicBezTo>
                <a:cubicBezTo>
                  <a:pt x="495" y="59"/>
                  <a:pt x="496" y="57"/>
                  <a:pt x="497" y="57"/>
                </a:cubicBezTo>
                <a:cubicBezTo>
                  <a:pt x="499" y="56"/>
                  <a:pt x="502" y="56"/>
                  <a:pt x="505" y="56"/>
                </a:cubicBezTo>
                <a:cubicBezTo>
                  <a:pt x="505" y="54"/>
                  <a:pt x="504" y="53"/>
                  <a:pt x="505" y="52"/>
                </a:cubicBezTo>
                <a:cubicBezTo>
                  <a:pt x="506" y="52"/>
                  <a:pt x="508" y="52"/>
                  <a:pt x="509" y="52"/>
                </a:cubicBezTo>
                <a:cubicBezTo>
                  <a:pt x="511" y="52"/>
                  <a:pt x="512" y="49"/>
                  <a:pt x="513" y="49"/>
                </a:cubicBezTo>
                <a:cubicBezTo>
                  <a:pt x="515" y="48"/>
                  <a:pt x="516" y="50"/>
                  <a:pt x="519" y="50"/>
                </a:cubicBezTo>
                <a:cubicBezTo>
                  <a:pt x="519" y="49"/>
                  <a:pt x="520" y="48"/>
                  <a:pt x="521" y="48"/>
                </a:cubicBezTo>
                <a:cubicBezTo>
                  <a:pt x="519" y="46"/>
                  <a:pt x="518" y="43"/>
                  <a:pt x="516" y="43"/>
                </a:cubicBezTo>
                <a:cubicBezTo>
                  <a:pt x="513" y="42"/>
                  <a:pt x="507" y="44"/>
                  <a:pt x="505" y="44"/>
                </a:cubicBezTo>
                <a:cubicBezTo>
                  <a:pt x="502" y="43"/>
                  <a:pt x="495" y="41"/>
                  <a:pt x="491" y="41"/>
                </a:cubicBezTo>
                <a:cubicBezTo>
                  <a:pt x="487" y="40"/>
                  <a:pt x="485" y="42"/>
                  <a:pt x="481" y="42"/>
                </a:cubicBezTo>
                <a:cubicBezTo>
                  <a:pt x="481" y="42"/>
                  <a:pt x="476" y="40"/>
                  <a:pt x="475" y="41"/>
                </a:cubicBezTo>
                <a:cubicBezTo>
                  <a:pt x="474" y="44"/>
                  <a:pt x="474" y="44"/>
                  <a:pt x="474" y="44"/>
                </a:cubicBezTo>
                <a:cubicBezTo>
                  <a:pt x="470" y="45"/>
                  <a:pt x="468" y="45"/>
                  <a:pt x="465" y="46"/>
                </a:cubicBezTo>
                <a:cubicBezTo>
                  <a:pt x="465" y="46"/>
                  <a:pt x="465" y="48"/>
                  <a:pt x="465" y="48"/>
                </a:cubicBezTo>
                <a:cubicBezTo>
                  <a:pt x="463" y="49"/>
                  <a:pt x="463" y="47"/>
                  <a:pt x="462" y="47"/>
                </a:cubicBezTo>
                <a:cubicBezTo>
                  <a:pt x="458" y="45"/>
                  <a:pt x="458" y="45"/>
                  <a:pt x="455" y="48"/>
                </a:cubicBezTo>
                <a:cubicBezTo>
                  <a:pt x="454" y="46"/>
                  <a:pt x="454" y="45"/>
                  <a:pt x="453" y="43"/>
                </a:cubicBezTo>
                <a:cubicBezTo>
                  <a:pt x="451" y="44"/>
                  <a:pt x="446" y="49"/>
                  <a:pt x="444" y="50"/>
                </a:cubicBezTo>
                <a:cubicBezTo>
                  <a:pt x="443" y="50"/>
                  <a:pt x="442" y="49"/>
                  <a:pt x="441" y="50"/>
                </a:cubicBezTo>
                <a:cubicBezTo>
                  <a:pt x="439" y="50"/>
                  <a:pt x="439" y="53"/>
                  <a:pt x="437" y="54"/>
                </a:cubicBezTo>
                <a:cubicBezTo>
                  <a:pt x="435" y="55"/>
                  <a:pt x="429" y="56"/>
                  <a:pt x="425" y="56"/>
                </a:cubicBezTo>
                <a:cubicBezTo>
                  <a:pt x="425" y="55"/>
                  <a:pt x="423" y="55"/>
                  <a:pt x="421" y="55"/>
                </a:cubicBezTo>
                <a:cubicBezTo>
                  <a:pt x="421" y="55"/>
                  <a:pt x="420" y="56"/>
                  <a:pt x="419" y="56"/>
                </a:cubicBezTo>
                <a:cubicBezTo>
                  <a:pt x="418" y="56"/>
                  <a:pt x="416" y="54"/>
                  <a:pt x="416" y="54"/>
                </a:cubicBezTo>
                <a:cubicBezTo>
                  <a:pt x="418" y="53"/>
                  <a:pt x="419" y="51"/>
                  <a:pt x="423" y="51"/>
                </a:cubicBezTo>
                <a:cubicBezTo>
                  <a:pt x="423" y="51"/>
                  <a:pt x="425" y="52"/>
                  <a:pt x="426" y="52"/>
                </a:cubicBezTo>
                <a:cubicBezTo>
                  <a:pt x="427" y="51"/>
                  <a:pt x="427" y="50"/>
                  <a:pt x="427" y="50"/>
                </a:cubicBezTo>
                <a:cubicBezTo>
                  <a:pt x="429" y="49"/>
                  <a:pt x="431" y="49"/>
                  <a:pt x="432" y="48"/>
                </a:cubicBezTo>
                <a:cubicBezTo>
                  <a:pt x="433" y="48"/>
                  <a:pt x="437" y="41"/>
                  <a:pt x="437" y="40"/>
                </a:cubicBezTo>
                <a:cubicBezTo>
                  <a:pt x="438" y="38"/>
                  <a:pt x="437" y="39"/>
                  <a:pt x="437" y="37"/>
                </a:cubicBezTo>
                <a:cubicBezTo>
                  <a:pt x="433" y="37"/>
                  <a:pt x="429" y="38"/>
                  <a:pt x="426" y="38"/>
                </a:cubicBezTo>
                <a:cubicBezTo>
                  <a:pt x="426" y="38"/>
                  <a:pt x="423" y="36"/>
                  <a:pt x="421" y="37"/>
                </a:cubicBezTo>
                <a:cubicBezTo>
                  <a:pt x="421" y="37"/>
                  <a:pt x="421" y="38"/>
                  <a:pt x="420" y="38"/>
                </a:cubicBezTo>
                <a:cubicBezTo>
                  <a:pt x="420" y="40"/>
                  <a:pt x="420" y="42"/>
                  <a:pt x="420" y="44"/>
                </a:cubicBezTo>
                <a:cubicBezTo>
                  <a:pt x="415" y="43"/>
                  <a:pt x="407" y="44"/>
                  <a:pt x="400" y="44"/>
                </a:cubicBezTo>
                <a:cubicBezTo>
                  <a:pt x="400" y="43"/>
                  <a:pt x="401" y="43"/>
                  <a:pt x="402" y="43"/>
                </a:cubicBezTo>
                <a:cubicBezTo>
                  <a:pt x="402" y="41"/>
                  <a:pt x="401" y="39"/>
                  <a:pt x="402" y="38"/>
                </a:cubicBezTo>
                <a:cubicBezTo>
                  <a:pt x="400" y="37"/>
                  <a:pt x="400" y="38"/>
                  <a:pt x="400" y="37"/>
                </a:cubicBezTo>
                <a:cubicBezTo>
                  <a:pt x="393" y="37"/>
                  <a:pt x="386" y="37"/>
                  <a:pt x="378" y="38"/>
                </a:cubicBezTo>
                <a:cubicBezTo>
                  <a:pt x="378" y="38"/>
                  <a:pt x="374" y="39"/>
                  <a:pt x="374" y="39"/>
                </a:cubicBezTo>
                <a:cubicBezTo>
                  <a:pt x="371" y="39"/>
                  <a:pt x="369" y="38"/>
                  <a:pt x="368" y="38"/>
                </a:cubicBezTo>
                <a:cubicBezTo>
                  <a:pt x="365" y="37"/>
                  <a:pt x="365" y="39"/>
                  <a:pt x="364" y="39"/>
                </a:cubicBezTo>
                <a:cubicBezTo>
                  <a:pt x="362" y="39"/>
                  <a:pt x="362" y="38"/>
                  <a:pt x="360" y="38"/>
                </a:cubicBezTo>
                <a:cubicBezTo>
                  <a:pt x="357" y="39"/>
                  <a:pt x="353" y="42"/>
                  <a:pt x="350" y="43"/>
                </a:cubicBezTo>
                <a:cubicBezTo>
                  <a:pt x="348" y="43"/>
                  <a:pt x="345" y="42"/>
                  <a:pt x="342" y="43"/>
                </a:cubicBezTo>
                <a:cubicBezTo>
                  <a:pt x="341" y="43"/>
                  <a:pt x="341" y="45"/>
                  <a:pt x="340" y="46"/>
                </a:cubicBezTo>
                <a:cubicBezTo>
                  <a:pt x="339" y="46"/>
                  <a:pt x="339" y="45"/>
                  <a:pt x="337" y="46"/>
                </a:cubicBezTo>
                <a:cubicBezTo>
                  <a:pt x="338" y="45"/>
                  <a:pt x="338" y="43"/>
                  <a:pt x="338" y="43"/>
                </a:cubicBezTo>
                <a:cubicBezTo>
                  <a:pt x="341" y="41"/>
                  <a:pt x="347" y="42"/>
                  <a:pt x="350" y="41"/>
                </a:cubicBezTo>
                <a:cubicBezTo>
                  <a:pt x="351" y="41"/>
                  <a:pt x="352" y="40"/>
                  <a:pt x="352" y="39"/>
                </a:cubicBezTo>
                <a:cubicBezTo>
                  <a:pt x="352" y="38"/>
                  <a:pt x="352" y="38"/>
                  <a:pt x="352" y="38"/>
                </a:cubicBezTo>
                <a:cubicBezTo>
                  <a:pt x="355" y="37"/>
                  <a:pt x="357" y="39"/>
                  <a:pt x="359" y="38"/>
                </a:cubicBezTo>
                <a:cubicBezTo>
                  <a:pt x="360" y="37"/>
                  <a:pt x="359" y="36"/>
                  <a:pt x="360" y="35"/>
                </a:cubicBezTo>
                <a:cubicBezTo>
                  <a:pt x="361" y="34"/>
                  <a:pt x="364" y="33"/>
                  <a:pt x="365" y="33"/>
                </a:cubicBezTo>
                <a:cubicBezTo>
                  <a:pt x="367" y="33"/>
                  <a:pt x="370" y="33"/>
                  <a:pt x="372" y="34"/>
                </a:cubicBezTo>
                <a:cubicBezTo>
                  <a:pt x="377" y="34"/>
                  <a:pt x="383" y="33"/>
                  <a:pt x="387" y="33"/>
                </a:cubicBezTo>
                <a:cubicBezTo>
                  <a:pt x="391" y="34"/>
                  <a:pt x="391" y="34"/>
                  <a:pt x="391" y="34"/>
                </a:cubicBezTo>
                <a:cubicBezTo>
                  <a:pt x="398" y="34"/>
                  <a:pt x="405" y="33"/>
                  <a:pt x="414" y="34"/>
                </a:cubicBezTo>
                <a:cubicBezTo>
                  <a:pt x="416" y="34"/>
                  <a:pt x="420" y="35"/>
                  <a:pt x="423" y="35"/>
                </a:cubicBezTo>
                <a:cubicBezTo>
                  <a:pt x="425" y="35"/>
                  <a:pt x="428" y="33"/>
                  <a:pt x="430" y="33"/>
                </a:cubicBezTo>
                <a:cubicBezTo>
                  <a:pt x="434" y="33"/>
                  <a:pt x="437" y="34"/>
                  <a:pt x="440" y="34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3" name="Google Shape;543;p102"/>
          <p:cNvSpPr/>
          <p:nvPr/>
        </p:nvSpPr>
        <p:spPr>
          <a:xfrm>
            <a:off x="6742021" y="3422232"/>
            <a:ext cx="192437" cy="232240"/>
          </a:xfrm>
          <a:custGeom>
            <a:avLst/>
            <a:gdLst/>
            <a:ahLst/>
            <a:cxnLst/>
            <a:rect l="l" t="t" r="r" b="b"/>
            <a:pathLst>
              <a:path w="67" h="84" extrusionOk="0">
                <a:moveTo>
                  <a:pt x="2" y="25"/>
                </a:moveTo>
                <a:cubicBezTo>
                  <a:pt x="2" y="26"/>
                  <a:pt x="2" y="28"/>
                  <a:pt x="3" y="29"/>
                </a:cubicBezTo>
                <a:cubicBezTo>
                  <a:pt x="3" y="30"/>
                  <a:pt x="5" y="30"/>
                  <a:pt x="6" y="30"/>
                </a:cubicBezTo>
                <a:cubicBezTo>
                  <a:pt x="6" y="31"/>
                  <a:pt x="5" y="32"/>
                  <a:pt x="6" y="32"/>
                </a:cubicBezTo>
                <a:cubicBezTo>
                  <a:pt x="6" y="33"/>
                  <a:pt x="8" y="34"/>
                  <a:pt x="8" y="35"/>
                </a:cubicBezTo>
                <a:cubicBezTo>
                  <a:pt x="9" y="35"/>
                  <a:pt x="10" y="34"/>
                  <a:pt x="12" y="34"/>
                </a:cubicBezTo>
                <a:cubicBezTo>
                  <a:pt x="11" y="35"/>
                  <a:pt x="10" y="36"/>
                  <a:pt x="10" y="36"/>
                </a:cubicBezTo>
                <a:cubicBezTo>
                  <a:pt x="9" y="39"/>
                  <a:pt x="10" y="42"/>
                  <a:pt x="10" y="43"/>
                </a:cubicBezTo>
                <a:cubicBezTo>
                  <a:pt x="17" y="42"/>
                  <a:pt x="20" y="44"/>
                  <a:pt x="25" y="46"/>
                </a:cubicBezTo>
                <a:cubicBezTo>
                  <a:pt x="25" y="46"/>
                  <a:pt x="24" y="48"/>
                  <a:pt x="22" y="48"/>
                </a:cubicBezTo>
                <a:cubicBezTo>
                  <a:pt x="21" y="48"/>
                  <a:pt x="20" y="45"/>
                  <a:pt x="19" y="45"/>
                </a:cubicBezTo>
                <a:cubicBezTo>
                  <a:pt x="14" y="43"/>
                  <a:pt x="13" y="45"/>
                  <a:pt x="11" y="48"/>
                </a:cubicBezTo>
                <a:cubicBezTo>
                  <a:pt x="14" y="51"/>
                  <a:pt x="14" y="51"/>
                  <a:pt x="13" y="57"/>
                </a:cubicBezTo>
                <a:cubicBezTo>
                  <a:pt x="14" y="57"/>
                  <a:pt x="14" y="57"/>
                  <a:pt x="14" y="58"/>
                </a:cubicBezTo>
                <a:cubicBezTo>
                  <a:pt x="16" y="58"/>
                  <a:pt x="15" y="57"/>
                  <a:pt x="16" y="57"/>
                </a:cubicBezTo>
                <a:cubicBezTo>
                  <a:pt x="16" y="57"/>
                  <a:pt x="18" y="57"/>
                  <a:pt x="18" y="58"/>
                </a:cubicBezTo>
                <a:cubicBezTo>
                  <a:pt x="19" y="58"/>
                  <a:pt x="20" y="58"/>
                  <a:pt x="22" y="58"/>
                </a:cubicBezTo>
                <a:cubicBezTo>
                  <a:pt x="21" y="58"/>
                  <a:pt x="24" y="58"/>
                  <a:pt x="24" y="58"/>
                </a:cubicBezTo>
                <a:cubicBezTo>
                  <a:pt x="24" y="57"/>
                  <a:pt x="24" y="57"/>
                  <a:pt x="24" y="57"/>
                </a:cubicBezTo>
                <a:cubicBezTo>
                  <a:pt x="24" y="57"/>
                  <a:pt x="23" y="55"/>
                  <a:pt x="24" y="54"/>
                </a:cubicBezTo>
                <a:cubicBezTo>
                  <a:pt x="25" y="54"/>
                  <a:pt x="29" y="55"/>
                  <a:pt x="30" y="55"/>
                </a:cubicBezTo>
                <a:cubicBezTo>
                  <a:pt x="30" y="55"/>
                  <a:pt x="31" y="53"/>
                  <a:pt x="31" y="53"/>
                </a:cubicBezTo>
                <a:cubicBezTo>
                  <a:pt x="28" y="50"/>
                  <a:pt x="28" y="50"/>
                  <a:pt x="28" y="50"/>
                </a:cubicBezTo>
                <a:cubicBezTo>
                  <a:pt x="27" y="50"/>
                  <a:pt x="28" y="49"/>
                  <a:pt x="28" y="48"/>
                </a:cubicBezTo>
                <a:cubicBezTo>
                  <a:pt x="30" y="49"/>
                  <a:pt x="31" y="48"/>
                  <a:pt x="32" y="49"/>
                </a:cubicBezTo>
                <a:cubicBezTo>
                  <a:pt x="32" y="49"/>
                  <a:pt x="33" y="50"/>
                  <a:pt x="35" y="51"/>
                </a:cubicBezTo>
                <a:cubicBezTo>
                  <a:pt x="35" y="48"/>
                  <a:pt x="35" y="47"/>
                  <a:pt x="35" y="45"/>
                </a:cubicBezTo>
                <a:cubicBezTo>
                  <a:pt x="33" y="44"/>
                  <a:pt x="29" y="43"/>
                  <a:pt x="28" y="41"/>
                </a:cubicBezTo>
                <a:cubicBezTo>
                  <a:pt x="28" y="41"/>
                  <a:pt x="28" y="39"/>
                  <a:pt x="28" y="39"/>
                </a:cubicBezTo>
                <a:cubicBezTo>
                  <a:pt x="28" y="39"/>
                  <a:pt x="27" y="37"/>
                  <a:pt x="28" y="38"/>
                </a:cubicBezTo>
                <a:cubicBezTo>
                  <a:pt x="29" y="38"/>
                  <a:pt x="29" y="40"/>
                  <a:pt x="30" y="40"/>
                </a:cubicBezTo>
                <a:cubicBezTo>
                  <a:pt x="31" y="41"/>
                  <a:pt x="32" y="42"/>
                  <a:pt x="33" y="42"/>
                </a:cubicBezTo>
                <a:cubicBezTo>
                  <a:pt x="33" y="42"/>
                  <a:pt x="33" y="43"/>
                  <a:pt x="34" y="44"/>
                </a:cubicBezTo>
                <a:cubicBezTo>
                  <a:pt x="35" y="44"/>
                  <a:pt x="37" y="43"/>
                  <a:pt x="38" y="44"/>
                </a:cubicBezTo>
                <a:cubicBezTo>
                  <a:pt x="38" y="44"/>
                  <a:pt x="39" y="45"/>
                  <a:pt x="40" y="46"/>
                </a:cubicBezTo>
                <a:cubicBezTo>
                  <a:pt x="40" y="46"/>
                  <a:pt x="41" y="48"/>
                  <a:pt x="41" y="48"/>
                </a:cubicBezTo>
                <a:cubicBezTo>
                  <a:pt x="44" y="49"/>
                  <a:pt x="38" y="41"/>
                  <a:pt x="38" y="40"/>
                </a:cubicBezTo>
                <a:cubicBezTo>
                  <a:pt x="36" y="39"/>
                  <a:pt x="34" y="40"/>
                  <a:pt x="33" y="38"/>
                </a:cubicBezTo>
                <a:cubicBezTo>
                  <a:pt x="33" y="38"/>
                  <a:pt x="33" y="37"/>
                  <a:pt x="32" y="36"/>
                </a:cubicBezTo>
                <a:cubicBezTo>
                  <a:pt x="30" y="34"/>
                  <a:pt x="29" y="35"/>
                  <a:pt x="26" y="36"/>
                </a:cubicBezTo>
                <a:cubicBezTo>
                  <a:pt x="26" y="35"/>
                  <a:pt x="28" y="35"/>
                  <a:pt x="27" y="34"/>
                </a:cubicBezTo>
                <a:cubicBezTo>
                  <a:pt x="25" y="33"/>
                  <a:pt x="26" y="32"/>
                  <a:pt x="25" y="30"/>
                </a:cubicBezTo>
                <a:cubicBezTo>
                  <a:pt x="26" y="30"/>
                  <a:pt x="27" y="32"/>
                  <a:pt x="27" y="32"/>
                </a:cubicBezTo>
                <a:cubicBezTo>
                  <a:pt x="33" y="34"/>
                  <a:pt x="26" y="26"/>
                  <a:pt x="26" y="26"/>
                </a:cubicBezTo>
                <a:cubicBezTo>
                  <a:pt x="25" y="25"/>
                  <a:pt x="26" y="24"/>
                  <a:pt x="25" y="22"/>
                </a:cubicBezTo>
                <a:cubicBezTo>
                  <a:pt x="25" y="22"/>
                  <a:pt x="22" y="22"/>
                  <a:pt x="22" y="21"/>
                </a:cubicBezTo>
                <a:cubicBezTo>
                  <a:pt x="22" y="19"/>
                  <a:pt x="25" y="15"/>
                  <a:pt x="26" y="14"/>
                </a:cubicBezTo>
                <a:cubicBezTo>
                  <a:pt x="26" y="15"/>
                  <a:pt x="29" y="21"/>
                  <a:pt x="30" y="22"/>
                </a:cubicBezTo>
                <a:cubicBezTo>
                  <a:pt x="30" y="22"/>
                  <a:pt x="32" y="22"/>
                  <a:pt x="32" y="22"/>
                </a:cubicBezTo>
                <a:cubicBezTo>
                  <a:pt x="31" y="22"/>
                  <a:pt x="31" y="21"/>
                  <a:pt x="30" y="20"/>
                </a:cubicBezTo>
                <a:cubicBezTo>
                  <a:pt x="31" y="20"/>
                  <a:pt x="31" y="19"/>
                  <a:pt x="32" y="18"/>
                </a:cubicBezTo>
                <a:cubicBezTo>
                  <a:pt x="32" y="19"/>
                  <a:pt x="34" y="20"/>
                  <a:pt x="34" y="20"/>
                </a:cubicBezTo>
                <a:cubicBezTo>
                  <a:pt x="35" y="20"/>
                  <a:pt x="35" y="17"/>
                  <a:pt x="34" y="17"/>
                </a:cubicBezTo>
                <a:cubicBezTo>
                  <a:pt x="37" y="17"/>
                  <a:pt x="39" y="18"/>
                  <a:pt x="36" y="16"/>
                </a:cubicBezTo>
                <a:cubicBezTo>
                  <a:pt x="30" y="9"/>
                  <a:pt x="34" y="11"/>
                  <a:pt x="40" y="10"/>
                </a:cubicBezTo>
                <a:cubicBezTo>
                  <a:pt x="40" y="10"/>
                  <a:pt x="43" y="11"/>
                  <a:pt x="44" y="11"/>
                </a:cubicBezTo>
                <a:cubicBezTo>
                  <a:pt x="46" y="11"/>
                  <a:pt x="50" y="10"/>
                  <a:pt x="53" y="10"/>
                </a:cubicBezTo>
                <a:cubicBezTo>
                  <a:pt x="53" y="11"/>
                  <a:pt x="53" y="11"/>
                  <a:pt x="53" y="12"/>
                </a:cubicBezTo>
                <a:cubicBezTo>
                  <a:pt x="54" y="13"/>
                  <a:pt x="54" y="13"/>
                  <a:pt x="54" y="13"/>
                </a:cubicBezTo>
                <a:cubicBezTo>
                  <a:pt x="54" y="13"/>
                  <a:pt x="57" y="10"/>
                  <a:pt x="57" y="8"/>
                </a:cubicBezTo>
                <a:cubicBezTo>
                  <a:pt x="57" y="6"/>
                  <a:pt x="60" y="9"/>
                  <a:pt x="62" y="7"/>
                </a:cubicBezTo>
                <a:cubicBezTo>
                  <a:pt x="64" y="6"/>
                  <a:pt x="62" y="3"/>
                  <a:pt x="62" y="3"/>
                </a:cubicBezTo>
                <a:cubicBezTo>
                  <a:pt x="59" y="2"/>
                  <a:pt x="59" y="2"/>
                  <a:pt x="59" y="2"/>
                </a:cubicBezTo>
                <a:cubicBezTo>
                  <a:pt x="59" y="2"/>
                  <a:pt x="54" y="0"/>
                  <a:pt x="56" y="3"/>
                </a:cubicBezTo>
                <a:cubicBezTo>
                  <a:pt x="57" y="7"/>
                  <a:pt x="55" y="5"/>
                  <a:pt x="53" y="5"/>
                </a:cubicBezTo>
                <a:cubicBezTo>
                  <a:pt x="51" y="5"/>
                  <a:pt x="49" y="6"/>
                  <a:pt x="49" y="6"/>
                </a:cubicBezTo>
                <a:cubicBezTo>
                  <a:pt x="49" y="6"/>
                  <a:pt x="49" y="2"/>
                  <a:pt x="46" y="2"/>
                </a:cubicBezTo>
                <a:cubicBezTo>
                  <a:pt x="43" y="2"/>
                  <a:pt x="42" y="1"/>
                  <a:pt x="41" y="3"/>
                </a:cubicBezTo>
                <a:cubicBezTo>
                  <a:pt x="39" y="6"/>
                  <a:pt x="38" y="6"/>
                  <a:pt x="36" y="6"/>
                </a:cubicBezTo>
                <a:cubicBezTo>
                  <a:pt x="33" y="6"/>
                  <a:pt x="30" y="5"/>
                  <a:pt x="30" y="5"/>
                </a:cubicBezTo>
                <a:cubicBezTo>
                  <a:pt x="30" y="5"/>
                  <a:pt x="28" y="6"/>
                  <a:pt x="29" y="7"/>
                </a:cubicBezTo>
                <a:cubicBezTo>
                  <a:pt x="30" y="9"/>
                  <a:pt x="27" y="9"/>
                  <a:pt x="27" y="9"/>
                </a:cubicBezTo>
                <a:cubicBezTo>
                  <a:pt x="27" y="9"/>
                  <a:pt x="23" y="9"/>
                  <a:pt x="22" y="11"/>
                </a:cubicBezTo>
                <a:cubicBezTo>
                  <a:pt x="22" y="12"/>
                  <a:pt x="21" y="11"/>
                  <a:pt x="19" y="12"/>
                </a:cubicBezTo>
                <a:cubicBezTo>
                  <a:pt x="18" y="14"/>
                  <a:pt x="18" y="15"/>
                  <a:pt x="16" y="15"/>
                </a:cubicBezTo>
                <a:cubicBezTo>
                  <a:pt x="14" y="15"/>
                  <a:pt x="9" y="14"/>
                  <a:pt x="9" y="14"/>
                </a:cubicBezTo>
                <a:cubicBezTo>
                  <a:pt x="9" y="18"/>
                  <a:pt x="9" y="18"/>
                  <a:pt x="9" y="18"/>
                </a:cubicBezTo>
                <a:cubicBezTo>
                  <a:pt x="9" y="18"/>
                  <a:pt x="8" y="20"/>
                  <a:pt x="7" y="22"/>
                </a:cubicBezTo>
                <a:cubicBezTo>
                  <a:pt x="7" y="23"/>
                  <a:pt x="5" y="23"/>
                  <a:pt x="5" y="23"/>
                </a:cubicBezTo>
                <a:cubicBezTo>
                  <a:pt x="5" y="23"/>
                  <a:pt x="6" y="25"/>
                  <a:pt x="4" y="25"/>
                </a:cubicBezTo>
                <a:lnTo>
                  <a:pt x="2" y="25"/>
                </a:lnTo>
                <a:close/>
                <a:moveTo>
                  <a:pt x="62" y="76"/>
                </a:moveTo>
                <a:cubicBezTo>
                  <a:pt x="63" y="77"/>
                  <a:pt x="63" y="77"/>
                  <a:pt x="63" y="77"/>
                </a:cubicBezTo>
                <a:cubicBezTo>
                  <a:pt x="63" y="76"/>
                  <a:pt x="63" y="76"/>
                  <a:pt x="62" y="76"/>
                </a:cubicBezTo>
                <a:close/>
                <a:moveTo>
                  <a:pt x="32" y="76"/>
                </a:moveTo>
                <a:cubicBezTo>
                  <a:pt x="32" y="76"/>
                  <a:pt x="31" y="76"/>
                  <a:pt x="30" y="77"/>
                </a:cubicBezTo>
                <a:cubicBezTo>
                  <a:pt x="30" y="77"/>
                  <a:pt x="31" y="79"/>
                  <a:pt x="30" y="79"/>
                </a:cubicBezTo>
                <a:cubicBezTo>
                  <a:pt x="32" y="79"/>
                  <a:pt x="35" y="81"/>
                  <a:pt x="36" y="81"/>
                </a:cubicBezTo>
                <a:cubicBezTo>
                  <a:pt x="37" y="81"/>
                  <a:pt x="38" y="81"/>
                  <a:pt x="40" y="81"/>
                </a:cubicBezTo>
                <a:cubicBezTo>
                  <a:pt x="42" y="82"/>
                  <a:pt x="42" y="84"/>
                  <a:pt x="46" y="84"/>
                </a:cubicBezTo>
                <a:cubicBezTo>
                  <a:pt x="48" y="82"/>
                  <a:pt x="48" y="82"/>
                  <a:pt x="48" y="82"/>
                </a:cubicBezTo>
                <a:cubicBezTo>
                  <a:pt x="50" y="82"/>
                  <a:pt x="50" y="83"/>
                  <a:pt x="52" y="83"/>
                </a:cubicBezTo>
                <a:cubicBezTo>
                  <a:pt x="52" y="83"/>
                  <a:pt x="54" y="82"/>
                  <a:pt x="55" y="82"/>
                </a:cubicBezTo>
                <a:cubicBezTo>
                  <a:pt x="55" y="82"/>
                  <a:pt x="56" y="81"/>
                  <a:pt x="55" y="80"/>
                </a:cubicBezTo>
                <a:cubicBezTo>
                  <a:pt x="54" y="80"/>
                  <a:pt x="53" y="81"/>
                  <a:pt x="52" y="80"/>
                </a:cubicBezTo>
                <a:cubicBezTo>
                  <a:pt x="52" y="80"/>
                  <a:pt x="52" y="78"/>
                  <a:pt x="52" y="78"/>
                </a:cubicBezTo>
                <a:cubicBezTo>
                  <a:pt x="52" y="78"/>
                  <a:pt x="49" y="77"/>
                  <a:pt x="50" y="78"/>
                </a:cubicBezTo>
                <a:cubicBezTo>
                  <a:pt x="48" y="79"/>
                  <a:pt x="42" y="78"/>
                  <a:pt x="44" y="78"/>
                </a:cubicBezTo>
                <a:cubicBezTo>
                  <a:pt x="39" y="78"/>
                  <a:pt x="36" y="77"/>
                  <a:pt x="32" y="76"/>
                </a:cubicBezTo>
                <a:close/>
                <a:moveTo>
                  <a:pt x="26" y="36"/>
                </a:moveTo>
                <a:cubicBezTo>
                  <a:pt x="26" y="36"/>
                  <a:pt x="27" y="38"/>
                  <a:pt x="27" y="38"/>
                </a:cubicBezTo>
                <a:cubicBezTo>
                  <a:pt x="24" y="37"/>
                  <a:pt x="23" y="37"/>
                  <a:pt x="26" y="36"/>
                </a:cubicBezTo>
                <a:close/>
                <a:moveTo>
                  <a:pt x="20" y="63"/>
                </a:moveTo>
                <a:cubicBezTo>
                  <a:pt x="20" y="63"/>
                  <a:pt x="20" y="65"/>
                  <a:pt x="20" y="66"/>
                </a:cubicBezTo>
                <a:cubicBezTo>
                  <a:pt x="23" y="66"/>
                  <a:pt x="22" y="63"/>
                  <a:pt x="20" y="63"/>
                </a:cubicBezTo>
                <a:close/>
                <a:moveTo>
                  <a:pt x="65" y="60"/>
                </a:moveTo>
                <a:cubicBezTo>
                  <a:pt x="65" y="60"/>
                  <a:pt x="62" y="62"/>
                  <a:pt x="64" y="62"/>
                </a:cubicBezTo>
                <a:cubicBezTo>
                  <a:pt x="64" y="62"/>
                  <a:pt x="67" y="59"/>
                  <a:pt x="65" y="60"/>
                </a:cubicBezTo>
                <a:close/>
                <a:moveTo>
                  <a:pt x="54" y="50"/>
                </a:moveTo>
                <a:cubicBezTo>
                  <a:pt x="54" y="52"/>
                  <a:pt x="54" y="52"/>
                  <a:pt x="54" y="52"/>
                </a:cubicBezTo>
                <a:cubicBezTo>
                  <a:pt x="57" y="52"/>
                  <a:pt x="57" y="50"/>
                  <a:pt x="54" y="50"/>
                </a:cubicBezTo>
                <a:close/>
                <a:moveTo>
                  <a:pt x="4" y="43"/>
                </a:moveTo>
                <a:cubicBezTo>
                  <a:pt x="4" y="43"/>
                  <a:pt x="4" y="45"/>
                  <a:pt x="4" y="45"/>
                </a:cubicBezTo>
                <a:cubicBezTo>
                  <a:pt x="4" y="45"/>
                  <a:pt x="9" y="45"/>
                  <a:pt x="7" y="44"/>
                </a:cubicBezTo>
                <a:cubicBezTo>
                  <a:pt x="6" y="44"/>
                  <a:pt x="5" y="44"/>
                  <a:pt x="4" y="43"/>
                </a:cubicBezTo>
                <a:close/>
                <a:moveTo>
                  <a:pt x="52" y="41"/>
                </a:moveTo>
                <a:cubicBezTo>
                  <a:pt x="52" y="41"/>
                  <a:pt x="52" y="43"/>
                  <a:pt x="52" y="44"/>
                </a:cubicBezTo>
                <a:cubicBezTo>
                  <a:pt x="54" y="45"/>
                  <a:pt x="53" y="41"/>
                  <a:pt x="52" y="41"/>
                </a:cubicBezTo>
                <a:close/>
                <a:moveTo>
                  <a:pt x="54" y="30"/>
                </a:moveTo>
                <a:cubicBezTo>
                  <a:pt x="54" y="30"/>
                  <a:pt x="53" y="32"/>
                  <a:pt x="53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54" y="33"/>
                  <a:pt x="55" y="34"/>
                  <a:pt x="55" y="35"/>
                </a:cubicBezTo>
                <a:cubicBezTo>
                  <a:pt x="55" y="35"/>
                  <a:pt x="59" y="35"/>
                  <a:pt x="57" y="34"/>
                </a:cubicBezTo>
                <a:cubicBezTo>
                  <a:pt x="57" y="34"/>
                  <a:pt x="57" y="32"/>
                  <a:pt x="56" y="30"/>
                </a:cubicBezTo>
                <a:cubicBezTo>
                  <a:pt x="56" y="30"/>
                  <a:pt x="54" y="31"/>
                  <a:pt x="54" y="30"/>
                </a:cubicBezTo>
                <a:close/>
                <a:moveTo>
                  <a:pt x="0" y="25"/>
                </a:moveTo>
                <a:cubicBezTo>
                  <a:pt x="0" y="25"/>
                  <a:pt x="0" y="27"/>
                  <a:pt x="0" y="27"/>
                </a:cubicBezTo>
                <a:cubicBezTo>
                  <a:pt x="2" y="28"/>
                  <a:pt x="0" y="25"/>
                  <a:pt x="0" y="25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4" name="Google Shape;544;p102"/>
          <p:cNvSpPr/>
          <p:nvPr/>
        </p:nvSpPr>
        <p:spPr>
          <a:xfrm>
            <a:off x="6149243" y="4358124"/>
            <a:ext cx="116837" cy="213176"/>
          </a:xfrm>
          <a:custGeom>
            <a:avLst/>
            <a:gdLst/>
            <a:ahLst/>
            <a:cxnLst/>
            <a:rect l="l" t="t" r="r" b="b"/>
            <a:pathLst>
              <a:path w="41" h="77" extrusionOk="0">
                <a:moveTo>
                  <a:pt x="41" y="64"/>
                </a:moveTo>
                <a:cubicBezTo>
                  <a:pt x="41" y="64"/>
                  <a:pt x="37" y="56"/>
                  <a:pt x="36" y="55"/>
                </a:cubicBezTo>
                <a:cubicBezTo>
                  <a:pt x="34" y="53"/>
                  <a:pt x="37" y="53"/>
                  <a:pt x="36" y="52"/>
                </a:cubicBezTo>
                <a:cubicBezTo>
                  <a:pt x="34" y="51"/>
                  <a:pt x="35" y="49"/>
                  <a:pt x="35" y="48"/>
                </a:cubicBezTo>
                <a:cubicBezTo>
                  <a:pt x="35" y="47"/>
                  <a:pt x="36" y="42"/>
                  <a:pt x="36" y="39"/>
                </a:cubicBezTo>
                <a:cubicBezTo>
                  <a:pt x="36" y="37"/>
                  <a:pt x="36" y="37"/>
                  <a:pt x="34" y="34"/>
                </a:cubicBezTo>
                <a:cubicBezTo>
                  <a:pt x="32" y="30"/>
                  <a:pt x="34" y="28"/>
                  <a:pt x="35" y="26"/>
                </a:cubicBezTo>
                <a:cubicBezTo>
                  <a:pt x="35" y="25"/>
                  <a:pt x="32" y="24"/>
                  <a:pt x="33" y="22"/>
                </a:cubicBezTo>
                <a:cubicBezTo>
                  <a:pt x="35" y="20"/>
                  <a:pt x="34" y="17"/>
                  <a:pt x="34" y="14"/>
                </a:cubicBezTo>
                <a:cubicBezTo>
                  <a:pt x="34" y="11"/>
                  <a:pt x="32" y="9"/>
                  <a:pt x="31" y="9"/>
                </a:cubicBezTo>
                <a:cubicBezTo>
                  <a:pt x="29" y="8"/>
                  <a:pt x="31" y="1"/>
                  <a:pt x="31" y="1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2"/>
                  <a:pt x="24" y="2"/>
                  <a:pt x="24" y="2"/>
                </a:cubicBezTo>
                <a:cubicBezTo>
                  <a:pt x="24" y="2"/>
                  <a:pt x="13" y="0"/>
                  <a:pt x="11" y="1"/>
                </a:cubicBezTo>
                <a:cubicBezTo>
                  <a:pt x="10" y="2"/>
                  <a:pt x="8" y="4"/>
                  <a:pt x="8" y="6"/>
                </a:cubicBezTo>
                <a:cubicBezTo>
                  <a:pt x="8" y="8"/>
                  <a:pt x="10" y="10"/>
                  <a:pt x="9" y="11"/>
                </a:cubicBezTo>
                <a:cubicBezTo>
                  <a:pt x="9" y="13"/>
                  <a:pt x="8" y="17"/>
                  <a:pt x="8" y="17"/>
                </a:cubicBezTo>
                <a:cubicBezTo>
                  <a:pt x="8" y="17"/>
                  <a:pt x="10" y="21"/>
                  <a:pt x="9" y="23"/>
                </a:cubicBezTo>
                <a:cubicBezTo>
                  <a:pt x="8" y="25"/>
                  <a:pt x="11" y="26"/>
                  <a:pt x="11" y="29"/>
                </a:cubicBezTo>
                <a:cubicBezTo>
                  <a:pt x="11" y="32"/>
                  <a:pt x="10" y="36"/>
                  <a:pt x="10" y="36"/>
                </a:cubicBezTo>
                <a:cubicBezTo>
                  <a:pt x="10" y="36"/>
                  <a:pt x="8" y="38"/>
                  <a:pt x="8" y="41"/>
                </a:cubicBezTo>
                <a:cubicBezTo>
                  <a:pt x="7" y="44"/>
                  <a:pt x="6" y="45"/>
                  <a:pt x="5" y="48"/>
                </a:cubicBezTo>
                <a:cubicBezTo>
                  <a:pt x="5" y="50"/>
                  <a:pt x="2" y="54"/>
                  <a:pt x="2" y="54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67"/>
                  <a:pt x="1" y="67"/>
                  <a:pt x="1" y="67"/>
                </a:cubicBezTo>
                <a:cubicBezTo>
                  <a:pt x="1" y="67"/>
                  <a:pt x="3" y="70"/>
                  <a:pt x="2" y="71"/>
                </a:cubicBezTo>
                <a:cubicBezTo>
                  <a:pt x="1" y="73"/>
                  <a:pt x="0" y="76"/>
                  <a:pt x="0" y="76"/>
                </a:cubicBezTo>
                <a:cubicBezTo>
                  <a:pt x="2" y="76"/>
                  <a:pt x="4" y="77"/>
                  <a:pt x="6" y="76"/>
                </a:cubicBezTo>
                <a:cubicBezTo>
                  <a:pt x="8" y="76"/>
                  <a:pt x="10" y="73"/>
                  <a:pt x="12" y="73"/>
                </a:cubicBezTo>
                <a:cubicBezTo>
                  <a:pt x="14" y="72"/>
                  <a:pt x="15" y="73"/>
                  <a:pt x="18" y="72"/>
                </a:cubicBezTo>
                <a:cubicBezTo>
                  <a:pt x="19" y="72"/>
                  <a:pt x="21" y="69"/>
                  <a:pt x="22" y="69"/>
                </a:cubicBezTo>
                <a:cubicBezTo>
                  <a:pt x="25" y="68"/>
                  <a:pt x="27" y="69"/>
                  <a:pt x="30" y="69"/>
                </a:cubicBezTo>
                <a:cubicBezTo>
                  <a:pt x="30" y="69"/>
                  <a:pt x="33" y="67"/>
                  <a:pt x="33" y="67"/>
                </a:cubicBezTo>
                <a:cubicBezTo>
                  <a:pt x="34" y="66"/>
                  <a:pt x="36" y="67"/>
                  <a:pt x="37" y="67"/>
                </a:cubicBezTo>
                <a:cubicBezTo>
                  <a:pt x="37" y="66"/>
                  <a:pt x="37" y="64"/>
                  <a:pt x="37" y="63"/>
                </a:cubicBezTo>
                <a:cubicBezTo>
                  <a:pt x="37" y="63"/>
                  <a:pt x="35" y="62"/>
                  <a:pt x="35" y="61"/>
                </a:cubicBezTo>
                <a:cubicBezTo>
                  <a:pt x="35" y="62"/>
                  <a:pt x="37" y="61"/>
                  <a:pt x="38" y="61"/>
                </a:cubicBezTo>
                <a:cubicBezTo>
                  <a:pt x="38" y="61"/>
                  <a:pt x="39" y="64"/>
                  <a:pt x="39" y="65"/>
                </a:cubicBezTo>
                <a:cubicBezTo>
                  <a:pt x="39" y="65"/>
                  <a:pt x="41" y="65"/>
                  <a:pt x="41" y="65"/>
                </a:cubicBezTo>
                <a:lnTo>
                  <a:pt x="41" y="64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5" name="Google Shape;545;p102"/>
          <p:cNvSpPr/>
          <p:nvPr/>
        </p:nvSpPr>
        <p:spPr>
          <a:xfrm>
            <a:off x="6381199" y="2947354"/>
            <a:ext cx="221646" cy="280767"/>
          </a:xfrm>
          <a:custGeom>
            <a:avLst/>
            <a:gdLst/>
            <a:ahLst/>
            <a:cxnLst/>
            <a:rect l="l" t="t" r="r" b="b"/>
            <a:pathLst>
              <a:path w="77" h="101" extrusionOk="0">
                <a:moveTo>
                  <a:pt x="75" y="15"/>
                </a:moveTo>
                <a:cubicBezTo>
                  <a:pt x="74" y="15"/>
                  <a:pt x="73" y="14"/>
                  <a:pt x="72" y="14"/>
                </a:cubicBezTo>
                <a:cubicBezTo>
                  <a:pt x="72" y="14"/>
                  <a:pt x="72" y="13"/>
                  <a:pt x="72" y="13"/>
                </a:cubicBezTo>
                <a:cubicBezTo>
                  <a:pt x="70" y="12"/>
                  <a:pt x="69" y="13"/>
                  <a:pt x="68" y="13"/>
                </a:cubicBezTo>
                <a:cubicBezTo>
                  <a:pt x="67" y="12"/>
                  <a:pt x="65" y="11"/>
                  <a:pt x="65" y="11"/>
                </a:cubicBezTo>
                <a:cubicBezTo>
                  <a:pt x="63" y="10"/>
                  <a:pt x="61" y="10"/>
                  <a:pt x="59" y="10"/>
                </a:cubicBezTo>
                <a:cubicBezTo>
                  <a:pt x="58" y="11"/>
                  <a:pt x="57" y="14"/>
                  <a:pt x="56" y="15"/>
                </a:cubicBezTo>
                <a:cubicBezTo>
                  <a:pt x="56" y="15"/>
                  <a:pt x="54" y="14"/>
                  <a:pt x="53" y="15"/>
                </a:cubicBezTo>
                <a:cubicBezTo>
                  <a:pt x="53" y="15"/>
                  <a:pt x="53" y="16"/>
                  <a:pt x="52" y="17"/>
                </a:cubicBezTo>
                <a:cubicBezTo>
                  <a:pt x="52" y="17"/>
                  <a:pt x="54" y="17"/>
                  <a:pt x="53" y="18"/>
                </a:cubicBezTo>
                <a:cubicBezTo>
                  <a:pt x="52" y="17"/>
                  <a:pt x="48" y="17"/>
                  <a:pt x="48" y="16"/>
                </a:cubicBezTo>
                <a:cubicBezTo>
                  <a:pt x="47" y="16"/>
                  <a:pt x="48" y="14"/>
                  <a:pt x="48" y="13"/>
                </a:cubicBezTo>
                <a:cubicBezTo>
                  <a:pt x="46" y="13"/>
                  <a:pt x="46" y="13"/>
                  <a:pt x="46" y="13"/>
                </a:cubicBezTo>
                <a:cubicBezTo>
                  <a:pt x="45" y="13"/>
                  <a:pt x="43" y="14"/>
                  <a:pt x="42" y="14"/>
                </a:cubicBezTo>
                <a:cubicBezTo>
                  <a:pt x="42" y="13"/>
                  <a:pt x="40" y="10"/>
                  <a:pt x="40" y="9"/>
                </a:cubicBezTo>
                <a:cubicBezTo>
                  <a:pt x="39" y="8"/>
                  <a:pt x="40" y="7"/>
                  <a:pt x="40" y="6"/>
                </a:cubicBezTo>
                <a:cubicBezTo>
                  <a:pt x="39" y="6"/>
                  <a:pt x="37" y="5"/>
                  <a:pt x="37" y="5"/>
                </a:cubicBezTo>
                <a:cubicBezTo>
                  <a:pt x="37" y="5"/>
                  <a:pt x="40" y="3"/>
                  <a:pt x="39" y="3"/>
                </a:cubicBezTo>
                <a:cubicBezTo>
                  <a:pt x="39" y="3"/>
                  <a:pt x="41" y="2"/>
                  <a:pt x="41" y="1"/>
                </a:cubicBezTo>
                <a:cubicBezTo>
                  <a:pt x="41" y="1"/>
                  <a:pt x="41" y="0"/>
                  <a:pt x="40" y="1"/>
                </a:cubicBezTo>
                <a:cubicBezTo>
                  <a:pt x="40" y="1"/>
                  <a:pt x="40" y="1"/>
                  <a:pt x="39" y="2"/>
                </a:cubicBezTo>
                <a:cubicBezTo>
                  <a:pt x="38" y="2"/>
                  <a:pt x="37" y="2"/>
                  <a:pt x="36" y="2"/>
                </a:cubicBezTo>
                <a:cubicBezTo>
                  <a:pt x="36" y="1"/>
                  <a:pt x="36" y="2"/>
                  <a:pt x="37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7" y="2"/>
                  <a:pt x="27" y="4"/>
                  <a:pt x="27" y="5"/>
                </a:cubicBezTo>
                <a:cubicBezTo>
                  <a:pt x="28" y="5"/>
                  <a:pt x="28" y="5"/>
                  <a:pt x="28" y="5"/>
                </a:cubicBezTo>
                <a:cubicBezTo>
                  <a:pt x="29" y="6"/>
                  <a:pt x="28" y="7"/>
                  <a:pt x="29" y="8"/>
                </a:cubicBezTo>
                <a:cubicBezTo>
                  <a:pt x="30" y="8"/>
                  <a:pt x="30" y="8"/>
                  <a:pt x="30" y="8"/>
                </a:cubicBezTo>
                <a:cubicBezTo>
                  <a:pt x="31" y="15"/>
                  <a:pt x="28" y="13"/>
                  <a:pt x="32" y="19"/>
                </a:cubicBezTo>
                <a:cubicBezTo>
                  <a:pt x="30" y="19"/>
                  <a:pt x="29" y="19"/>
                  <a:pt x="28" y="19"/>
                </a:cubicBezTo>
                <a:cubicBezTo>
                  <a:pt x="27" y="23"/>
                  <a:pt x="27" y="22"/>
                  <a:pt x="26" y="25"/>
                </a:cubicBezTo>
                <a:cubicBezTo>
                  <a:pt x="25" y="24"/>
                  <a:pt x="24" y="23"/>
                  <a:pt x="24" y="22"/>
                </a:cubicBezTo>
                <a:cubicBezTo>
                  <a:pt x="18" y="24"/>
                  <a:pt x="14" y="24"/>
                  <a:pt x="19" y="31"/>
                </a:cubicBezTo>
                <a:cubicBezTo>
                  <a:pt x="18" y="30"/>
                  <a:pt x="18" y="30"/>
                  <a:pt x="18" y="30"/>
                </a:cubicBezTo>
                <a:cubicBezTo>
                  <a:pt x="18" y="30"/>
                  <a:pt x="18" y="37"/>
                  <a:pt x="16" y="37"/>
                </a:cubicBezTo>
                <a:cubicBezTo>
                  <a:pt x="14" y="36"/>
                  <a:pt x="13" y="38"/>
                  <a:pt x="15" y="39"/>
                </a:cubicBezTo>
                <a:cubicBezTo>
                  <a:pt x="17" y="41"/>
                  <a:pt x="12" y="42"/>
                  <a:pt x="12" y="42"/>
                </a:cubicBezTo>
                <a:cubicBezTo>
                  <a:pt x="12" y="42"/>
                  <a:pt x="12" y="46"/>
                  <a:pt x="8" y="44"/>
                </a:cubicBezTo>
                <a:cubicBezTo>
                  <a:pt x="3" y="42"/>
                  <a:pt x="4" y="44"/>
                  <a:pt x="3" y="46"/>
                </a:cubicBezTo>
                <a:cubicBezTo>
                  <a:pt x="2" y="49"/>
                  <a:pt x="0" y="55"/>
                  <a:pt x="0" y="55"/>
                </a:cubicBezTo>
                <a:cubicBezTo>
                  <a:pt x="0" y="55"/>
                  <a:pt x="2" y="57"/>
                  <a:pt x="4" y="57"/>
                </a:cubicBezTo>
                <a:cubicBezTo>
                  <a:pt x="5" y="57"/>
                  <a:pt x="0" y="58"/>
                  <a:pt x="3" y="60"/>
                </a:cubicBezTo>
                <a:cubicBezTo>
                  <a:pt x="6" y="61"/>
                  <a:pt x="4" y="66"/>
                  <a:pt x="4" y="66"/>
                </a:cubicBezTo>
                <a:cubicBezTo>
                  <a:pt x="4" y="66"/>
                  <a:pt x="4" y="65"/>
                  <a:pt x="5" y="68"/>
                </a:cubicBezTo>
                <a:cubicBezTo>
                  <a:pt x="7" y="71"/>
                  <a:pt x="8" y="68"/>
                  <a:pt x="6" y="71"/>
                </a:cubicBezTo>
                <a:cubicBezTo>
                  <a:pt x="4" y="75"/>
                  <a:pt x="6" y="76"/>
                  <a:pt x="6" y="76"/>
                </a:cubicBezTo>
                <a:cubicBezTo>
                  <a:pt x="6" y="76"/>
                  <a:pt x="12" y="74"/>
                  <a:pt x="13" y="77"/>
                </a:cubicBezTo>
                <a:cubicBezTo>
                  <a:pt x="15" y="80"/>
                  <a:pt x="15" y="78"/>
                  <a:pt x="18" y="79"/>
                </a:cubicBezTo>
                <a:cubicBezTo>
                  <a:pt x="20" y="79"/>
                  <a:pt x="22" y="79"/>
                  <a:pt x="22" y="79"/>
                </a:cubicBezTo>
                <a:cubicBezTo>
                  <a:pt x="22" y="79"/>
                  <a:pt x="23" y="83"/>
                  <a:pt x="21" y="85"/>
                </a:cubicBezTo>
                <a:cubicBezTo>
                  <a:pt x="20" y="87"/>
                  <a:pt x="20" y="88"/>
                  <a:pt x="21" y="90"/>
                </a:cubicBezTo>
                <a:cubicBezTo>
                  <a:pt x="21" y="92"/>
                  <a:pt x="19" y="95"/>
                  <a:pt x="21" y="98"/>
                </a:cubicBezTo>
                <a:cubicBezTo>
                  <a:pt x="21" y="98"/>
                  <a:pt x="24" y="97"/>
                  <a:pt x="25" y="96"/>
                </a:cubicBezTo>
                <a:cubicBezTo>
                  <a:pt x="26" y="96"/>
                  <a:pt x="26" y="93"/>
                  <a:pt x="29" y="95"/>
                </a:cubicBezTo>
                <a:cubicBezTo>
                  <a:pt x="32" y="96"/>
                  <a:pt x="33" y="97"/>
                  <a:pt x="33" y="97"/>
                </a:cubicBezTo>
                <a:cubicBezTo>
                  <a:pt x="39" y="101"/>
                  <a:pt x="39" y="101"/>
                  <a:pt x="39" y="101"/>
                </a:cubicBezTo>
                <a:cubicBezTo>
                  <a:pt x="40" y="100"/>
                  <a:pt x="41" y="98"/>
                  <a:pt x="43" y="98"/>
                </a:cubicBezTo>
                <a:cubicBezTo>
                  <a:pt x="46" y="98"/>
                  <a:pt x="46" y="97"/>
                  <a:pt x="48" y="97"/>
                </a:cubicBezTo>
                <a:cubicBezTo>
                  <a:pt x="50" y="97"/>
                  <a:pt x="50" y="95"/>
                  <a:pt x="51" y="94"/>
                </a:cubicBezTo>
                <a:cubicBezTo>
                  <a:pt x="52" y="93"/>
                  <a:pt x="55" y="95"/>
                  <a:pt x="57" y="95"/>
                </a:cubicBezTo>
                <a:cubicBezTo>
                  <a:pt x="59" y="94"/>
                  <a:pt x="59" y="96"/>
                  <a:pt x="61" y="97"/>
                </a:cubicBezTo>
                <a:cubicBezTo>
                  <a:pt x="63" y="98"/>
                  <a:pt x="63" y="97"/>
                  <a:pt x="63" y="94"/>
                </a:cubicBezTo>
                <a:cubicBezTo>
                  <a:pt x="63" y="91"/>
                  <a:pt x="60" y="90"/>
                  <a:pt x="60" y="90"/>
                </a:cubicBezTo>
                <a:cubicBezTo>
                  <a:pt x="60" y="90"/>
                  <a:pt x="61" y="89"/>
                  <a:pt x="63" y="88"/>
                </a:cubicBezTo>
                <a:cubicBezTo>
                  <a:pt x="66" y="88"/>
                  <a:pt x="67" y="88"/>
                  <a:pt x="66" y="85"/>
                </a:cubicBezTo>
                <a:cubicBezTo>
                  <a:pt x="66" y="82"/>
                  <a:pt x="70" y="81"/>
                  <a:pt x="70" y="81"/>
                </a:cubicBezTo>
                <a:cubicBezTo>
                  <a:pt x="67" y="78"/>
                  <a:pt x="67" y="78"/>
                  <a:pt x="67" y="78"/>
                </a:cubicBezTo>
                <a:cubicBezTo>
                  <a:pt x="65" y="76"/>
                  <a:pt x="62" y="78"/>
                  <a:pt x="62" y="75"/>
                </a:cubicBezTo>
                <a:cubicBezTo>
                  <a:pt x="62" y="72"/>
                  <a:pt x="62" y="71"/>
                  <a:pt x="60" y="69"/>
                </a:cubicBezTo>
                <a:cubicBezTo>
                  <a:pt x="59" y="67"/>
                  <a:pt x="59" y="67"/>
                  <a:pt x="57" y="64"/>
                </a:cubicBezTo>
                <a:cubicBezTo>
                  <a:pt x="56" y="61"/>
                  <a:pt x="56" y="61"/>
                  <a:pt x="58" y="61"/>
                </a:cubicBezTo>
                <a:cubicBezTo>
                  <a:pt x="60" y="60"/>
                  <a:pt x="62" y="61"/>
                  <a:pt x="63" y="58"/>
                </a:cubicBezTo>
                <a:cubicBezTo>
                  <a:pt x="64" y="56"/>
                  <a:pt x="65" y="56"/>
                  <a:pt x="68" y="55"/>
                </a:cubicBezTo>
                <a:cubicBezTo>
                  <a:pt x="71" y="53"/>
                  <a:pt x="74" y="51"/>
                  <a:pt x="74" y="51"/>
                </a:cubicBezTo>
                <a:cubicBezTo>
                  <a:pt x="77" y="53"/>
                  <a:pt x="77" y="53"/>
                  <a:pt x="77" y="53"/>
                </a:cubicBezTo>
                <a:cubicBezTo>
                  <a:pt x="77" y="53"/>
                  <a:pt x="77" y="44"/>
                  <a:pt x="77" y="42"/>
                </a:cubicBezTo>
                <a:cubicBezTo>
                  <a:pt x="77" y="40"/>
                  <a:pt x="75" y="40"/>
                  <a:pt x="75" y="37"/>
                </a:cubicBezTo>
                <a:cubicBezTo>
                  <a:pt x="75" y="34"/>
                  <a:pt x="76" y="31"/>
                  <a:pt x="76" y="31"/>
                </a:cubicBezTo>
                <a:cubicBezTo>
                  <a:pt x="76" y="31"/>
                  <a:pt x="72" y="27"/>
                  <a:pt x="73" y="25"/>
                </a:cubicBezTo>
                <a:cubicBezTo>
                  <a:pt x="75" y="23"/>
                  <a:pt x="75" y="15"/>
                  <a:pt x="75" y="15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6" name="Google Shape;546;p102"/>
          <p:cNvSpPr/>
          <p:nvPr/>
        </p:nvSpPr>
        <p:spPr>
          <a:xfrm>
            <a:off x="7236860" y="3345974"/>
            <a:ext cx="176974" cy="95323"/>
          </a:xfrm>
          <a:custGeom>
            <a:avLst/>
            <a:gdLst/>
            <a:ahLst/>
            <a:cxnLst/>
            <a:rect l="l" t="t" r="r" b="b"/>
            <a:pathLst>
              <a:path w="62" h="34" extrusionOk="0">
                <a:moveTo>
                  <a:pt x="0" y="8"/>
                </a:moveTo>
                <a:cubicBezTo>
                  <a:pt x="1" y="8"/>
                  <a:pt x="2" y="9"/>
                  <a:pt x="2" y="10"/>
                </a:cubicBezTo>
                <a:cubicBezTo>
                  <a:pt x="3" y="10"/>
                  <a:pt x="4" y="9"/>
                  <a:pt x="5" y="10"/>
                </a:cubicBezTo>
                <a:cubicBezTo>
                  <a:pt x="5" y="10"/>
                  <a:pt x="6" y="12"/>
                  <a:pt x="7" y="12"/>
                </a:cubicBezTo>
                <a:cubicBezTo>
                  <a:pt x="8" y="13"/>
                  <a:pt x="12" y="15"/>
                  <a:pt x="12" y="16"/>
                </a:cubicBezTo>
                <a:cubicBezTo>
                  <a:pt x="13" y="17"/>
                  <a:pt x="15" y="24"/>
                  <a:pt x="14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4" y="28"/>
                  <a:pt x="15" y="30"/>
                  <a:pt x="17" y="29"/>
                </a:cubicBezTo>
                <a:cubicBezTo>
                  <a:pt x="19" y="28"/>
                  <a:pt x="20" y="29"/>
                  <a:pt x="22" y="29"/>
                </a:cubicBezTo>
                <a:cubicBezTo>
                  <a:pt x="24" y="29"/>
                  <a:pt x="26" y="31"/>
                  <a:pt x="26" y="31"/>
                </a:cubicBezTo>
                <a:cubicBezTo>
                  <a:pt x="26" y="31"/>
                  <a:pt x="28" y="31"/>
                  <a:pt x="31" y="30"/>
                </a:cubicBezTo>
                <a:cubicBezTo>
                  <a:pt x="33" y="29"/>
                  <a:pt x="32" y="32"/>
                  <a:pt x="32" y="32"/>
                </a:cubicBezTo>
                <a:cubicBezTo>
                  <a:pt x="34" y="32"/>
                  <a:pt x="34" y="32"/>
                  <a:pt x="34" y="32"/>
                </a:cubicBezTo>
                <a:cubicBezTo>
                  <a:pt x="34" y="33"/>
                  <a:pt x="34" y="33"/>
                  <a:pt x="34" y="33"/>
                </a:cubicBezTo>
                <a:cubicBezTo>
                  <a:pt x="34" y="33"/>
                  <a:pt x="39" y="32"/>
                  <a:pt x="41" y="32"/>
                </a:cubicBezTo>
                <a:cubicBezTo>
                  <a:pt x="42" y="32"/>
                  <a:pt x="46" y="32"/>
                  <a:pt x="46" y="32"/>
                </a:cubicBezTo>
                <a:cubicBezTo>
                  <a:pt x="46" y="32"/>
                  <a:pt x="48" y="30"/>
                  <a:pt x="49" y="28"/>
                </a:cubicBezTo>
                <a:cubicBezTo>
                  <a:pt x="50" y="26"/>
                  <a:pt x="50" y="27"/>
                  <a:pt x="52" y="27"/>
                </a:cubicBezTo>
                <a:cubicBezTo>
                  <a:pt x="55" y="27"/>
                  <a:pt x="56" y="30"/>
                  <a:pt x="56" y="30"/>
                </a:cubicBezTo>
                <a:cubicBezTo>
                  <a:pt x="56" y="30"/>
                  <a:pt x="60" y="34"/>
                  <a:pt x="61" y="32"/>
                </a:cubicBezTo>
                <a:cubicBezTo>
                  <a:pt x="62" y="31"/>
                  <a:pt x="61" y="29"/>
                  <a:pt x="59" y="28"/>
                </a:cubicBezTo>
                <a:cubicBezTo>
                  <a:pt x="58" y="26"/>
                  <a:pt x="62" y="25"/>
                  <a:pt x="62" y="25"/>
                </a:cubicBezTo>
                <a:cubicBezTo>
                  <a:pt x="62" y="25"/>
                  <a:pt x="60" y="23"/>
                  <a:pt x="59" y="21"/>
                </a:cubicBezTo>
                <a:cubicBezTo>
                  <a:pt x="58" y="20"/>
                  <a:pt x="56" y="21"/>
                  <a:pt x="54" y="21"/>
                </a:cubicBezTo>
                <a:cubicBezTo>
                  <a:pt x="52" y="20"/>
                  <a:pt x="55" y="17"/>
                  <a:pt x="54" y="17"/>
                </a:cubicBezTo>
                <a:cubicBezTo>
                  <a:pt x="52" y="16"/>
                  <a:pt x="52" y="16"/>
                  <a:pt x="50" y="15"/>
                </a:cubicBezTo>
                <a:cubicBezTo>
                  <a:pt x="48" y="14"/>
                  <a:pt x="48" y="12"/>
                  <a:pt x="47" y="11"/>
                </a:cubicBezTo>
                <a:cubicBezTo>
                  <a:pt x="46" y="9"/>
                  <a:pt x="45" y="9"/>
                  <a:pt x="42" y="10"/>
                </a:cubicBezTo>
                <a:cubicBezTo>
                  <a:pt x="40" y="11"/>
                  <a:pt x="40" y="13"/>
                  <a:pt x="39" y="11"/>
                </a:cubicBezTo>
                <a:cubicBezTo>
                  <a:pt x="37" y="9"/>
                  <a:pt x="35" y="12"/>
                  <a:pt x="32" y="12"/>
                </a:cubicBezTo>
                <a:cubicBezTo>
                  <a:pt x="29" y="12"/>
                  <a:pt x="28" y="8"/>
                  <a:pt x="25" y="7"/>
                </a:cubicBezTo>
                <a:cubicBezTo>
                  <a:pt x="23" y="5"/>
                  <a:pt x="23" y="4"/>
                  <a:pt x="21" y="4"/>
                </a:cubicBezTo>
                <a:cubicBezTo>
                  <a:pt x="19" y="4"/>
                  <a:pt x="17" y="5"/>
                  <a:pt x="14" y="4"/>
                </a:cubicBezTo>
                <a:cubicBezTo>
                  <a:pt x="11" y="3"/>
                  <a:pt x="9" y="3"/>
                  <a:pt x="8" y="2"/>
                </a:cubicBezTo>
                <a:cubicBezTo>
                  <a:pt x="7" y="0"/>
                  <a:pt x="4" y="1"/>
                  <a:pt x="2" y="2"/>
                </a:cubicBezTo>
                <a:cubicBezTo>
                  <a:pt x="0" y="3"/>
                  <a:pt x="0" y="8"/>
                  <a:pt x="0" y="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7" name="Google Shape;547;p102"/>
          <p:cNvSpPr/>
          <p:nvPr/>
        </p:nvSpPr>
        <p:spPr>
          <a:xfrm>
            <a:off x="5824504" y="4293999"/>
            <a:ext cx="80755" cy="29463"/>
          </a:xfrm>
          <a:custGeom>
            <a:avLst/>
            <a:gdLst/>
            <a:ahLst/>
            <a:cxnLst/>
            <a:rect l="l" t="t" r="r" b="b"/>
            <a:pathLst>
              <a:path w="28" h="10" extrusionOk="0">
                <a:moveTo>
                  <a:pt x="0" y="10"/>
                </a:moveTo>
                <a:cubicBezTo>
                  <a:pt x="7" y="9"/>
                  <a:pt x="7" y="9"/>
                  <a:pt x="7" y="9"/>
                </a:cubicBezTo>
                <a:cubicBezTo>
                  <a:pt x="7" y="9"/>
                  <a:pt x="8" y="7"/>
                  <a:pt x="11" y="7"/>
                </a:cubicBezTo>
                <a:cubicBezTo>
                  <a:pt x="14" y="7"/>
                  <a:pt x="22" y="7"/>
                  <a:pt x="24" y="7"/>
                </a:cubicBezTo>
                <a:cubicBezTo>
                  <a:pt x="27" y="7"/>
                  <a:pt x="28" y="6"/>
                  <a:pt x="28" y="3"/>
                </a:cubicBezTo>
                <a:cubicBezTo>
                  <a:pt x="28" y="0"/>
                  <a:pt x="27" y="1"/>
                  <a:pt x="25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7" y="1"/>
                  <a:pt x="13" y="3"/>
                  <a:pt x="11" y="1"/>
                </a:cubicBezTo>
                <a:cubicBezTo>
                  <a:pt x="9" y="0"/>
                  <a:pt x="11" y="0"/>
                  <a:pt x="8" y="2"/>
                </a:cubicBezTo>
                <a:cubicBezTo>
                  <a:pt x="6" y="3"/>
                  <a:pt x="6" y="3"/>
                  <a:pt x="4" y="3"/>
                </a:cubicBezTo>
                <a:cubicBezTo>
                  <a:pt x="2" y="3"/>
                  <a:pt x="0" y="4"/>
                  <a:pt x="0" y="4"/>
                </a:cubicBezTo>
                <a:cubicBezTo>
                  <a:pt x="1" y="5"/>
                  <a:pt x="1" y="5"/>
                  <a:pt x="1" y="5"/>
                </a:cubicBezTo>
                <a:cubicBezTo>
                  <a:pt x="1" y="6"/>
                  <a:pt x="1" y="6"/>
                  <a:pt x="1" y="6"/>
                </a:cubicBezTo>
                <a:cubicBezTo>
                  <a:pt x="1" y="8"/>
                  <a:pt x="1" y="7"/>
                  <a:pt x="0" y="7"/>
                </a:cubicBezTo>
                <a:cubicBezTo>
                  <a:pt x="0" y="8"/>
                  <a:pt x="0" y="9"/>
                  <a:pt x="0" y="1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8" name="Google Shape;548;p102"/>
          <p:cNvSpPr/>
          <p:nvPr/>
        </p:nvSpPr>
        <p:spPr>
          <a:xfrm>
            <a:off x="6456800" y="4628493"/>
            <a:ext cx="149483" cy="192379"/>
          </a:xfrm>
          <a:custGeom>
            <a:avLst/>
            <a:gdLst/>
            <a:ahLst/>
            <a:cxnLst/>
            <a:rect l="l" t="t" r="r" b="b"/>
            <a:pathLst>
              <a:path w="52" h="70" extrusionOk="0">
                <a:moveTo>
                  <a:pt x="20" y="70"/>
                </a:moveTo>
                <a:cubicBezTo>
                  <a:pt x="20" y="70"/>
                  <a:pt x="21" y="65"/>
                  <a:pt x="23" y="65"/>
                </a:cubicBezTo>
                <a:cubicBezTo>
                  <a:pt x="25" y="65"/>
                  <a:pt x="25" y="66"/>
                  <a:pt x="28" y="67"/>
                </a:cubicBezTo>
                <a:cubicBezTo>
                  <a:pt x="31" y="68"/>
                  <a:pt x="30" y="66"/>
                  <a:pt x="30" y="63"/>
                </a:cubicBezTo>
                <a:cubicBezTo>
                  <a:pt x="29" y="60"/>
                  <a:pt x="26" y="58"/>
                  <a:pt x="28" y="56"/>
                </a:cubicBezTo>
                <a:cubicBezTo>
                  <a:pt x="29" y="55"/>
                  <a:pt x="30" y="57"/>
                  <a:pt x="28" y="54"/>
                </a:cubicBezTo>
                <a:cubicBezTo>
                  <a:pt x="27" y="50"/>
                  <a:pt x="32" y="53"/>
                  <a:pt x="34" y="52"/>
                </a:cubicBezTo>
                <a:cubicBezTo>
                  <a:pt x="36" y="51"/>
                  <a:pt x="32" y="48"/>
                  <a:pt x="34" y="48"/>
                </a:cubicBezTo>
                <a:cubicBezTo>
                  <a:pt x="37" y="49"/>
                  <a:pt x="37" y="51"/>
                  <a:pt x="37" y="51"/>
                </a:cubicBezTo>
                <a:cubicBezTo>
                  <a:pt x="37" y="51"/>
                  <a:pt x="41" y="49"/>
                  <a:pt x="43" y="50"/>
                </a:cubicBezTo>
                <a:cubicBezTo>
                  <a:pt x="45" y="50"/>
                  <a:pt x="45" y="53"/>
                  <a:pt x="47" y="55"/>
                </a:cubicBezTo>
                <a:cubicBezTo>
                  <a:pt x="49" y="56"/>
                  <a:pt x="49" y="55"/>
                  <a:pt x="50" y="50"/>
                </a:cubicBezTo>
                <a:cubicBezTo>
                  <a:pt x="51" y="46"/>
                  <a:pt x="50" y="46"/>
                  <a:pt x="48" y="45"/>
                </a:cubicBezTo>
                <a:cubicBezTo>
                  <a:pt x="46" y="44"/>
                  <a:pt x="50" y="42"/>
                  <a:pt x="48" y="40"/>
                </a:cubicBezTo>
                <a:cubicBezTo>
                  <a:pt x="47" y="38"/>
                  <a:pt x="46" y="39"/>
                  <a:pt x="47" y="36"/>
                </a:cubicBezTo>
                <a:cubicBezTo>
                  <a:pt x="48" y="33"/>
                  <a:pt x="47" y="32"/>
                  <a:pt x="47" y="31"/>
                </a:cubicBezTo>
                <a:cubicBezTo>
                  <a:pt x="47" y="30"/>
                  <a:pt x="45" y="28"/>
                  <a:pt x="43" y="27"/>
                </a:cubicBezTo>
                <a:cubicBezTo>
                  <a:pt x="42" y="26"/>
                  <a:pt x="45" y="26"/>
                  <a:pt x="45" y="26"/>
                </a:cubicBezTo>
                <a:cubicBezTo>
                  <a:pt x="45" y="26"/>
                  <a:pt x="44" y="23"/>
                  <a:pt x="44" y="21"/>
                </a:cubicBezTo>
                <a:cubicBezTo>
                  <a:pt x="44" y="19"/>
                  <a:pt x="45" y="19"/>
                  <a:pt x="47" y="19"/>
                </a:cubicBezTo>
                <a:cubicBezTo>
                  <a:pt x="50" y="18"/>
                  <a:pt x="52" y="19"/>
                  <a:pt x="52" y="19"/>
                </a:cubicBezTo>
                <a:cubicBezTo>
                  <a:pt x="52" y="12"/>
                  <a:pt x="52" y="12"/>
                  <a:pt x="52" y="12"/>
                </a:cubicBezTo>
                <a:cubicBezTo>
                  <a:pt x="52" y="12"/>
                  <a:pt x="49" y="11"/>
                  <a:pt x="47" y="11"/>
                </a:cubicBezTo>
                <a:cubicBezTo>
                  <a:pt x="45" y="11"/>
                  <a:pt x="44" y="10"/>
                  <a:pt x="42" y="11"/>
                </a:cubicBezTo>
                <a:cubicBezTo>
                  <a:pt x="40" y="12"/>
                  <a:pt x="42" y="9"/>
                  <a:pt x="41" y="8"/>
                </a:cubicBezTo>
                <a:cubicBezTo>
                  <a:pt x="41" y="6"/>
                  <a:pt x="41" y="1"/>
                  <a:pt x="41" y="1"/>
                </a:cubicBezTo>
                <a:cubicBezTo>
                  <a:pt x="41" y="1"/>
                  <a:pt x="38" y="0"/>
                  <a:pt x="35" y="1"/>
                </a:cubicBezTo>
                <a:cubicBezTo>
                  <a:pt x="32" y="3"/>
                  <a:pt x="31" y="1"/>
                  <a:pt x="30" y="2"/>
                </a:cubicBezTo>
                <a:cubicBezTo>
                  <a:pt x="28" y="3"/>
                  <a:pt x="25" y="3"/>
                  <a:pt x="25" y="3"/>
                </a:cubicBezTo>
                <a:cubicBezTo>
                  <a:pt x="24" y="15"/>
                  <a:pt x="24" y="15"/>
                  <a:pt x="24" y="15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5"/>
                  <a:pt x="6" y="15"/>
                  <a:pt x="6" y="16"/>
                </a:cubicBezTo>
                <a:cubicBezTo>
                  <a:pt x="7" y="17"/>
                  <a:pt x="5" y="18"/>
                  <a:pt x="6" y="19"/>
                </a:cubicBezTo>
                <a:cubicBezTo>
                  <a:pt x="6" y="19"/>
                  <a:pt x="8" y="21"/>
                  <a:pt x="8" y="21"/>
                </a:cubicBezTo>
                <a:cubicBezTo>
                  <a:pt x="8" y="23"/>
                  <a:pt x="8" y="24"/>
                  <a:pt x="8" y="26"/>
                </a:cubicBezTo>
                <a:cubicBezTo>
                  <a:pt x="7" y="26"/>
                  <a:pt x="5" y="25"/>
                  <a:pt x="4" y="26"/>
                </a:cubicBezTo>
                <a:cubicBezTo>
                  <a:pt x="4" y="26"/>
                  <a:pt x="5" y="27"/>
                  <a:pt x="5" y="28"/>
                </a:cubicBezTo>
                <a:cubicBezTo>
                  <a:pt x="7" y="27"/>
                  <a:pt x="8" y="29"/>
                  <a:pt x="4" y="30"/>
                </a:cubicBezTo>
                <a:cubicBezTo>
                  <a:pt x="4" y="30"/>
                  <a:pt x="6" y="31"/>
                  <a:pt x="6" y="32"/>
                </a:cubicBezTo>
                <a:cubicBezTo>
                  <a:pt x="6" y="33"/>
                  <a:pt x="4" y="38"/>
                  <a:pt x="3" y="40"/>
                </a:cubicBezTo>
                <a:cubicBezTo>
                  <a:pt x="2" y="40"/>
                  <a:pt x="1" y="40"/>
                  <a:pt x="0" y="40"/>
                </a:cubicBezTo>
                <a:cubicBezTo>
                  <a:pt x="0" y="40"/>
                  <a:pt x="1" y="42"/>
                  <a:pt x="0" y="43"/>
                </a:cubicBezTo>
                <a:cubicBezTo>
                  <a:pt x="1" y="43"/>
                  <a:pt x="1" y="43"/>
                  <a:pt x="3" y="43"/>
                </a:cubicBezTo>
                <a:cubicBezTo>
                  <a:pt x="3" y="45"/>
                  <a:pt x="2" y="46"/>
                  <a:pt x="3" y="47"/>
                </a:cubicBezTo>
                <a:cubicBezTo>
                  <a:pt x="3" y="47"/>
                  <a:pt x="6" y="47"/>
                  <a:pt x="6" y="47"/>
                </a:cubicBezTo>
                <a:cubicBezTo>
                  <a:pt x="6" y="47"/>
                  <a:pt x="6" y="48"/>
                  <a:pt x="6" y="49"/>
                </a:cubicBezTo>
                <a:cubicBezTo>
                  <a:pt x="8" y="48"/>
                  <a:pt x="7" y="50"/>
                  <a:pt x="8" y="50"/>
                </a:cubicBezTo>
                <a:cubicBezTo>
                  <a:pt x="7" y="50"/>
                  <a:pt x="5" y="50"/>
                  <a:pt x="4" y="50"/>
                </a:cubicBezTo>
                <a:cubicBezTo>
                  <a:pt x="4" y="50"/>
                  <a:pt x="4" y="52"/>
                  <a:pt x="4" y="52"/>
                </a:cubicBezTo>
                <a:cubicBezTo>
                  <a:pt x="5" y="53"/>
                  <a:pt x="18" y="64"/>
                  <a:pt x="18" y="64"/>
                </a:cubicBezTo>
                <a:cubicBezTo>
                  <a:pt x="19" y="66"/>
                  <a:pt x="17" y="67"/>
                  <a:pt x="18" y="69"/>
                </a:cubicBezTo>
                <a:cubicBezTo>
                  <a:pt x="19" y="70"/>
                  <a:pt x="19" y="70"/>
                  <a:pt x="20" y="7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49" name="Google Shape;549;p102"/>
          <p:cNvSpPr/>
          <p:nvPr/>
        </p:nvSpPr>
        <p:spPr>
          <a:xfrm>
            <a:off x="4873342" y="4527130"/>
            <a:ext cx="80756" cy="142117"/>
          </a:xfrm>
          <a:custGeom>
            <a:avLst/>
            <a:gdLst/>
            <a:ahLst/>
            <a:cxnLst/>
            <a:rect l="l" t="t" r="r" b="b"/>
            <a:pathLst>
              <a:path w="28" h="51" extrusionOk="0">
                <a:moveTo>
                  <a:pt x="5" y="1"/>
                </a:moveTo>
                <a:cubicBezTo>
                  <a:pt x="5" y="2"/>
                  <a:pt x="5" y="2"/>
                  <a:pt x="5" y="3"/>
                </a:cubicBezTo>
                <a:cubicBezTo>
                  <a:pt x="4" y="4"/>
                  <a:pt x="4" y="6"/>
                  <a:pt x="4" y="6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1" y="21"/>
                  <a:pt x="1" y="24"/>
                </a:cubicBezTo>
                <a:cubicBezTo>
                  <a:pt x="1" y="27"/>
                  <a:pt x="5" y="31"/>
                  <a:pt x="5" y="31"/>
                </a:cubicBezTo>
                <a:cubicBezTo>
                  <a:pt x="5" y="31"/>
                  <a:pt x="5" y="35"/>
                  <a:pt x="4" y="39"/>
                </a:cubicBezTo>
                <a:cubicBezTo>
                  <a:pt x="2" y="42"/>
                  <a:pt x="0" y="45"/>
                  <a:pt x="0" y="45"/>
                </a:cubicBezTo>
                <a:cubicBezTo>
                  <a:pt x="0" y="45"/>
                  <a:pt x="1" y="48"/>
                  <a:pt x="3" y="50"/>
                </a:cubicBezTo>
                <a:cubicBezTo>
                  <a:pt x="5" y="51"/>
                  <a:pt x="8" y="48"/>
                  <a:pt x="8" y="48"/>
                </a:cubicBezTo>
                <a:cubicBezTo>
                  <a:pt x="13" y="47"/>
                  <a:pt x="13" y="47"/>
                  <a:pt x="13" y="47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50"/>
                  <a:pt x="21" y="44"/>
                  <a:pt x="21" y="42"/>
                </a:cubicBezTo>
                <a:cubicBezTo>
                  <a:pt x="22" y="41"/>
                  <a:pt x="23" y="33"/>
                  <a:pt x="23" y="33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27"/>
                  <a:pt x="27" y="23"/>
                  <a:pt x="28" y="20"/>
                </a:cubicBezTo>
                <a:cubicBezTo>
                  <a:pt x="27" y="19"/>
                  <a:pt x="27" y="17"/>
                  <a:pt x="27" y="16"/>
                </a:cubicBezTo>
                <a:cubicBezTo>
                  <a:pt x="26" y="16"/>
                  <a:pt x="25" y="16"/>
                  <a:pt x="25" y="16"/>
                </a:cubicBezTo>
                <a:cubicBezTo>
                  <a:pt x="24" y="16"/>
                  <a:pt x="23" y="13"/>
                  <a:pt x="23" y="13"/>
                </a:cubicBezTo>
                <a:cubicBezTo>
                  <a:pt x="21" y="13"/>
                  <a:pt x="21" y="13"/>
                  <a:pt x="21" y="13"/>
                </a:cubicBezTo>
                <a:cubicBezTo>
                  <a:pt x="20" y="11"/>
                  <a:pt x="20" y="7"/>
                  <a:pt x="18" y="6"/>
                </a:cubicBezTo>
                <a:cubicBezTo>
                  <a:pt x="18" y="6"/>
                  <a:pt x="11" y="3"/>
                  <a:pt x="11" y="3"/>
                </a:cubicBezTo>
                <a:cubicBezTo>
                  <a:pt x="9" y="2"/>
                  <a:pt x="7" y="4"/>
                  <a:pt x="6" y="3"/>
                </a:cubicBezTo>
                <a:cubicBezTo>
                  <a:pt x="5" y="3"/>
                  <a:pt x="5" y="0"/>
                  <a:pt x="5" y="0"/>
                </a:cubicBezTo>
                <a:lnTo>
                  <a:pt x="5" y="1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0" name="Google Shape;550;p102"/>
          <p:cNvSpPr/>
          <p:nvPr/>
        </p:nvSpPr>
        <p:spPr>
          <a:xfrm>
            <a:off x="6133480" y="3086927"/>
            <a:ext cx="4290332" cy="2313734"/>
          </a:xfrm>
          <a:custGeom>
            <a:avLst/>
            <a:gdLst/>
            <a:ahLst/>
            <a:cxnLst/>
            <a:rect l="l" t="t" r="r" b="b"/>
            <a:pathLst>
              <a:path w="1491" h="835" extrusionOk="0">
                <a:moveTo>
                  <a:pt x="1457" y="809"/>
                </a:moveTo>
                <a:cubicBezTo>
                  <a:pt x="1457" y="809"/>
                  <a:pt x="1457" y="812"/>
                  <a:pt x="1457" y="813"/>
                </a:cubicBezTo>
                <a:cubicBezTo>
                  <a:pt x="1458" y="814"/>
                  <a:pt x="1458" y="814"/>
                  <a:pt x="1458" y="814"/>
                </a:cubicBezTo>
                <a:cubicBezTo>
                  <a:pt x="1459" y="817"/>
                  <a:pt x="1461" y="822"/>
                  <a:pt x="1464" y="824"/>
                </a:cubicBezTo>
                <a:cubicBezTo>
                  <a:pt x="1465" y="824"/>
                  <a:pt x="1466" y="825"/>
                  <a:pt x="1467" y="825"/>
                </a:cubicBezTo>
                <a:cubicBezTo>
                  <a:pt x="1468" y="827"/>
                  <a:pt x="1468" y="830"/>
                  <a:pt x="1471" y="831"/>
                </a:cubicBezTo>
                <a:cubicBezTo>
                  <a:pt x="1472" y="832"/>
                  <a:pt x="1474" y="832"/>
                  <a:pt x="1475" y="832"/>
                </a:cubicBezTo>
                <a:cubicBezTo>
                  <a:pt x="1476" y="833"/>
                  <a:pt x="1478" y="835"/>
                  <a:pt x="1479" y="835"/>
                </a:cubicBezTo>
                <a:cubicBezTo>
                  <a:pt x="1481" y="835"/>
                  <a:pt x="1481" y="834"/>
                  <a:pt x="1482" y="834"/>
                </a:cubicBezTo>
                <a:cubicBezTo>
                  <a:pt x="1483" y="835"/>
                  <a:pt x="1483" y="833"/>
                  <a:pt x="1483" y="833"/>
                </a:cubicBezTo>
                <a:cubicBezTo>
                  <a:pt x="1481" y="832"/>
                  <a:pt x="1478" y="830"/>
                  <a:pt x="1477" y="828"/>
                </a:cubicBezTo>
                <a:cubicBezTo>
                  <a:pt x="1476" y="827"/>
                  <a:pt x="1476" y="826"/>
                  <a:pt x="1476" y="826"/>
                </a:cubicBezTo>
                <a:cubicBezTo>
                  <a:pt x="1474" y="825"/>
                  <a:pt x="1472" y="826"/>
                  <a:pt x="1471" y="824"/>
                </a:cubicBezTo>
                <a:cubicBezTo>
                  <a:pt x="1470" y="824"/>
                  <a:pt x="1471" y="823"/>
                  <a:pt x="1471" y="822"/>
                </a:cubicBezTo>
                <a:cubicBezTo>
                  <a:pt x="1470" y="822"/>
                  <a:pt x="1470" y="822"/>
                  <a:pt x="1470" y="822"/>
                </a:cubicBezTo>
                <a:cubicBezTo>
                  <a:pt x="1469" y="822"/>
                  <a:pt x="1462" y="814"/>
                  <a:pt x="1461" y="813"/>
                </a:cubicBezTo>
                <a:cubicBezTo>
                  <a:pt x="1461" y="812"/>
                  <a:pt x="1462" y="810"/>
                  <a:pt x="1461" y="810"/>
                </a:cubicBezTo>
                <a:cubicBezTo>
                  <a:pt x="1461" y="809"/>
                  <a:pt x="1458" y="809"/>
                  <a:pt x="1457" y="809"/>
                </a:cubicBezTo>
                <a:close/>
                <a:moveTo>
                  <a:pt x="1481" y="816"/>
                </a:moveTo>
                <a:cubicBezTo>
                  <a:pt x="1480" y="816"/>
                  <a:pt x="1480" y="820"/>
                  <a:pt x="1480" y="821"/>
                </a:cubicBezTo>
                <a:cubicBezTo>
                  <a:pt x="1481" y="821"/>
                  <a:pt x="1482" y="821"/>
                  <a:pt x="1482" y="821"/>
                </a:cubicBezTo>
                <a:cubicBezTo>
                  <a:pt x="1483" y="819"/>
                  <a:pt x="1483" y="819"/>
                  <a:pt x="1483" y="819"/>
                </a:cubicBezTo>
                <a:cubicBezTo>
                  <a:pt x="1482" y="818"/>
                  <a:pt x="1481" y="816"/>
                  <a:pt x="1481" y="816"/>
                </a:cubicBezTo>
                <a:close/>
                <a:moveTo>
                  <a:pt x="1488" y="826"/>
                </a:moveTo>
                <a:cubicBezTo>
                  <a:pt x="1489" y="828"/>
                  <a:pt x="1489" y="828"/>
                  <a:pt x="1489" y="828"/>
                </a:cubicBezTo>
                <a:cubicBezTo>
                  <a:pt x="1490" y="828"/>
                  <a:pt x="1491" y="826"/>
                  <a:pt x="1488" y="826"/>
                </a:cubicBezTo>
                <a:close/>
                <a:moveTo>
                  <a:pt x="517" y="815"/>
                </a:moveTo>
                <a:cubicBezTo>
                  <a:pt x="517" y="815"/>
                  <a:pt x="516" y="815"/>
                  <a:pt x="515" y="816"/>
                </a:cubicBezTo>
                <a:cubicBezTo>
                  <a:pt x="516" y="817"/>
                  <a:pt x="516" y="817"/>
                  <a:pt x="516" y="819"/>
                </a:cubicBezTo>
                <a:cubicBezTo>
                  <a:pt x="522" y="819"/>
                  <a:pt x="523" y="820"/>
                  <a:pt x="519" y="815"/>
                </a:cubicBezTo>
                <a:cubicBezTo>
                  <a:pt x="519" y="815"/>
                  <a:pt x="517" y="815"/>
                  <a:pt x="517" y="815"/>
                </a:cubicBezTo>
                <a:close/>
                <a:moveTo>
                  <a:pt x="70" y="109"/>
                </a:moveTo>
                <a:cubicBezTo>
                  <a:pt x="66" y="109"/>
                  <a:pt x="68" y="112"/>
                  <a:pt x="65" y="112"/>
                </a:cubicBezTo>
                <a:cubicBezTo>
                  <a:pt x="62" y="112"/>
                  <a:pt x="60" y="113"/>
                  <a:pt x="59" y="111"/>
                </a:cubicBezTo>
                <a:cubicBezTo>
                  <a:pt x="58" y="109"/>
                  <a:pt x="56" y="111"/>
                  <a:pt x="56" y="111"/>
                </a:cubicBezTo>
                <a:cubicBezTo>
                  <a:pt x="56" y="111"/>
                  <a:pt x="53" y="111"/>
                  <a:pt x="50" y="109"/>
                </a:cubicBezTo>
                <a:cubicBezTo>
                  <a:pt x="47" y="108"/>
                  <a:pt x="46" y="110"/>
                  <a:pt x="44" y="110"/>
                </a:cubicBezTo>
                <a:cubicBezTo>
                  <a:pt x="42" y="110"/>
                  <a:pt x="42" y="107"/>
                  <a:pt x="39" y="107"/>
                </a:cubicBezTo>
                <a:cubicBezTo>
                  <a:pt x="36" y="107"/>
                  <a:pt x="37" y="106"/>
                  <a:pt x="34" y="105"/>
                </a:cubicBezTo>
                <a:cubicBezTo>
                  <a:pt x="31" y="105"/>
                  <a:pt x="30" y="106"/>
                  <a:pt x="30" y="104"/>
                </a:cubicBezTo>
                <a:cubicBezTo>
                  <a:pt x="30" y="102"/>
                  <a:pt x="28" y="100"/>
                  <a:pt x="28" y="100"/>
                </a:cubicBezTo>
                <a:cubicBezTo>
                  <a:pt x="30" y="100"/>
                  <a:pt x="32" y="99"/>
                  <a:pt x="33" y="97"/>
                </a:cubicBezTo>
                <a:cubicBezTo>
                  <a:pt x="34" y="95"/>
                  <a:pt x="33" y="92"/>
                  <a:pt x="34" y="90"/>
                </a:cubicBezTo>
                <a:cubicBezTo>
                  <a:pt x="34" y="89"/>
                  <a:pt x="35" y="87"/>
                  <a:pt x="36" y="87"/>
                </a:cubicBezTo>
                <a:cubicBezTo>
                  <a:pt x="36" y="86"/>
                  <a:pt x="35" y="85"/>
                  <a:pt x="36" y="85"/>
                </a:cubicBezTo>
                <a:cubicBezTo>
                  <a:pt x="36" y="85"/>
                  <a:pt x="35" y="84"/>
                  <a:pt x="34" y="84"/>
                </a:cubicBezTo>
                <a:cubicBezTo>
                  <a:pt x="34" y="82"/>
                  <a:pt x="34" y="80"/>
                  <a:pt x="34" y="78"/>
                </a:cubicBezTo>
                <a:cubicBezTo>
                  <a:pt x="34" y="78"/>
                  <a:pt x="35" y="77"/>
                  <a:pt x="36" y="77"/>
                </a:cubicBezTo>
                <a:cubicBezTo>
                  <a:pt x="35" y="76"/>
                  <a:pt x="35" y="76"/>
                  <a:pt x="34" y="75"/>
                </a:cubicBezTo>
                <a:cubicBezTo>
                  <a:pt x="35" y="74"/>
                  <a:pt x="35" y="69"/>
                  <a:pt x="34" y="67"/>
                </a:cubicBezTo>
                <a:cubicBezTo>
                  <a:pt x="34" y="67"/>
                  <a:pt x="33" y="68"/>
                  <a:pt x="33" y="68"/>
                </a:cubicBezTo>
                <a:cubicBezTo>
                  <a:pt x="33" y="68"/>
                  <a:pt x="32" y="66"/>
                  <a:pt x="32" y="66"/>
                </a:cubicBezTo>
                <a:cubicBezTo>
                  <a:pt x="29" y="64"/>
                  <a:pt x="24" y="63"/>
                  <a:pt x="23" y="60"/>
                </a:cubicBezTo>
                <a:cubicBezTo>
                  <a:pt x="23" y="59"/>
                  <a:pt x="23" y="57"/>
                  <a:pt x="23" y="56"/>
                </a:cubicBezTo>
                <a:cubicBezTo>
                  <a:pt x="21" y="58"/>
                  <a:pt x="23" y="53"/>
                  <a:pt x="23" y="53"/>
                </a:cubicBezTo>
                <a:cubicBezTo>
                  <a:pt x="22" y="53"/>
                  <a:pt x="21" y="53"/>
                  <a:pt x="20" y="53"/>
                </a:cubicBezTo>
                <a:cubicBezTo>
                  <a:pt x="19" y="52"/>
                  <a:pt x="19" y="52"/>
                  <a:pt x="19" y="52"/>
                </a:cubicBezTo>
                <a:cubicBezTo>
                  <a:pt x="19" y="52"/>
                  <a:pt x="20" y="51"/>
                  <a:pt x="20" y="50"/>
                </a:cubicBezTo>
                <a:cubicBezTo>
                  <a:pt x="19" y="50"/>
                  <a:pt x="17" y="50"/>
                  <a:pt x="16" y="50"/>
                </a:cubicBezTo>
                <a:cubicBezTo>
                  <a:pt x="17" y="50"/>
                  <a:pt x="16" y="48"/>
                  <a:pt x="18" y="49"/>
                </a:cubicBezTo>
                <a:cubicBezTo>
                  <a:pt x="18" y="48"/>
                  <a:pt x="18" y="47"/>
                  <a:pt x="19" y="47"/>
                </a:cubicBezTo>
                <a:cubicBezTo>
                  <a:pt x="18" y="47"/>
                  <a:pt x="18" y="46"/>
                  <a:pt x="17" y="46"/>
                </a:cubicBezTo>
                <a:cubicBezTo>
                  <a:pt x="16" y="47"/>
                  <a:pt x="15" y="49"/>
                  <a:pt x="14" y="50"/>
                </a:cubicBezTo>
                <a:cubicBezTo>
                  <a:pt x="12" y="47"/>
                  <a:pt x="12" y="46"/>
                  <a:pt x="10" y="44"/>
                </a:cubicBezTo>
                <a:cubicBezTo>
                  <a:pt x="9" y="44"/>
                  <a:pt x="9" y="45"/>
                  <a:pt x="8" y="45"/>
                </a:cubicBezTo>
                <a:cubicBezTo>
                  <a:pt x="8" y="44"/>
                  <a:pt x="8" y="44"/>
                  <a:pt x="8" y="43"/>
                </a:cubicBezTo>
                <a:cubicBezTo>
                  <a:pt x="6" y="43"/>
                  <a:pt x="4" y="43"/>
                  <a:pt x="1" y="43"/>
                </a:cubicBezTo>
                <a:cubicBezTo>
                  <a:pt x="0" y="42"/>
                  <a:pt x="0" y="42"/>
                  <a:pt x="0" y="42"/>
                </a:cubicBezTo>
                <a:cubicBezTo>
                  <a:pt x="2" y="41"/>
                  <a:pt x="2" y="41"/>
                  <a:pt x="2" y="41"/>
                </a:cubicBezTo>
                <a:cubicBezTo>
                  <a:pt x="2" y="41"/>
                  <a:pt x="2" y="39"/>
                  <a:pt x="2" y="39"/>
                </a:cubicBezTo>
                <a:cubicBezTo>
                  <a:pt x="3" y="39"/>
                  <a:pt x="2" y="39"/>
                  <a:pt x="4" y="39"/>
                </a:cubicBezTo>
                <a:cubicBezTo>
                  <a:pt x="5" y="38"/>
                  <a:pt x="5" y="38"/>
                  <a:pt x="5" y="38"/>
                </a:cubicBezTo>
                <a:cubicBezTo>
                  <a:pt x="4" y="37"/>
                  <a:pt x="2" y="37"/>
                  <a:pt x="1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2" y="34"/>
                  <a:pt x="3" y="33"/>
                  <a:pt x="4" y="33"/>
                </a:cubicBezTo>
                <a:cubicBezTo>
                  <a:pt x="6" y="32"/>
                  <a:pt x="8" y="34"/>
                  <a:pt x="9" y="33"/>
                </a:cubicBezTo>
                <a:cubicBezTo>
                  <a:pt x="10" y="31"/>
                  <a:pt x="10" y="31"/>
                  <a:pt x="10" y="31"/>
                </a:cubicBezTo>
                <a:cubicBezTo>
                  <a:pt x="15" y="30"/>
                  <a:pt x="15" y="33"/>
                  <a:pt x="16" y="35"/>
                </a:cubicBezTo>
                <a:cubicBezTo>
                  <a:pt x="18" y="35"/>
                  <a:pt x="18" y="35"/>
                  <a:pt x="18" y="35"/>
                </a:cubicBezTo>
                <a:cubicBezTo>
                  <a:pt x="18" y="35"/>
                  <a:pt x="19" y="33"/>
                  <a:pt x="19" y="33"/>
                </a:cubicBezTo>
                <a:cubicBezTo>
                  <a:pt x="21" y="32"/>
                  <a:pt x="21" y="34"/>
                  <a:pt x="22" y="33"/>
                </a:cubicBezTo>
                <a:cubicBezTo>
                  <a:pt x="23" y="32"/>
                  <a:pt x="23" y="32"/>
                  <a:pt x="23" y="32"/>
                </a:cubicBezTo>
                <a:cubicBezTo>
                  <a:pt x="26" y="33"/>
                  <a:pt x="26" y="32"/>
                  <a:pt x="30" y="33"/>
                </a:cubicBezTo>
                <a:cubicBezTo>
                  <a:pt x="30" y="32"/>
                  <a:pt x="32" y="32"/>
                  <a:pt x="31" y="31"/>
                </a:cubicBezTo>
                <a:cubicBezTo>
                  <a:pt x="31" y="31"/>
                  <a:pt x="29" y="30"/>
                  <a:pt x="29" y="30"/>
                </a:cubicBezTo>
                <a:cubicBezTo>
                  <a:pt x="28" y="28"/>
                  <a:pt x="29" y="26"/>
                  <a:pt x="29" y="24"/>
                </a:cubicBezTo>
                <a:cubicBezTo>
                  <a:pt x="29" y="23"/>
                  <a:pt x="27" y="20"/>
                  <a:pt x="26" y="18"/>
                </a:cubicBezTo>
                <a:cubicBezTo>
                  <a:pt x="32" y="17"/>
                  <a:pt x="31" y="17"/>
                  <a:pt x="32" y="23"/>
                </a:cubicBezTo>
                <a:cubicBezTo>
                  <a:pt x="36" y="22"/>
                  <a:pt x="41" y="22"/>
                  <a:pt x="45" y="21"/>
                </a:cubicBezTo>
                <a:cubicBezTo>
                  <a:pt x="45" y="19"/>
                  <a:pt x="45" y="20"/>
                  <a:pt x="45" y="17"/>
                </a:cubicBezTo>
                <a:cubicBezTo>
                  <a:pt x="47" y="16"/>
                  <a:pt x="51" y="13"/>
                  <a:pt x="53" y="13"/>
                </a:cubicBezTo>
                <a:cubicBezTo>
                  <a:pt x="54" y="13"/>
                  <a:pt x="55" y="14"/>
                  <a:pt x="56" y="13"/>
                </a:cubicBezTo>
                <a:cubicBezTo>
                  <a:pt x="55" y="13"/>
                  <a:pt x="55" y="7"/>
                  <a:pt x="56" y="5"/>
                </a:cubicBezTo>
                <a:cubicBezTo>
                  <a:pt x="55" y="6"/>
                  <a:pt x="56" y="2"/>
                  <a:pt x="56" y="2"/>
                </a:cubicBezTo>
                <a:cubicBezTo>
                  <a:pt x="58" y="1"/>
                  <a:pt x="59" y="0"/>
                  <a:pt x="61" y="0"/>
                </a:cubicBezTo>
                <a:cubicBezTo>
                  <a:pt x="63" y="3"/>
                  <a:pt x="63" y="3"/>
                  <a:pt x="63" y="3"/>
                </a:cubicBezTo>
                <a:cubicBezTo>
                  <a:pt x="63" y="3"/>
                  <a:pt x="65" y="2"/>
                  <a:pt x="65" y="4"/>
                </a:cubicBezTo>
                <a:cubicBezTo>
                  <a:pt x="66" y="6"/>
                  <a:pt x="66" y="7"/>
                  <a:pt x="66" y="7"/>
                </a:cubicBezTo>
                <a:cubicBezTo>
                  <a:pt x="66" y="7"/>
                  <a:pt x="68" y="7"/>
                  <a:pt x="70" y="10"/>
                </a:cubicBezTo>
                <a:cubicBezTo>
                  <a:pt x="73" y="13"/>
                  <a:pt x="74" y="11"/>
                  <a:pt x="74" y="11"/>
                </a:cubicBezTo>
                <a:cubicBezTo>
                  <a:pt x="74" y="11"/>
                  <a:pt x="74" y="12"/>
                  <a:pt x="76" y="14"/>
                </a:cubicBezTo>
                <a:cubicBezTo>
                  <a:pt x="78" y="16"/>
                  <a:pt x="79" y="16"/>
                  <a:pt x="80" y="17"/>
                </a:cubicBezTo>
                <a:cubicBezTo>
                  <a:pt x="82" y="18"/>
                  <a:pt x="84" y="14"/>
                  <a:pt x="84" y="17"/>
                </a:cubicBezTo>
                <a:cubicBezTo>
                  <a:pt x="84" y="20"/>
                  <a:pt x="84" y="20"/>
                  <a:pt x="86" y="20"/>
                </a:cubicBezTo>
                <a:cubicBezTo>
                  <a:pt x="88" y="20"/>
                  <a:pt x="88" y="21"/>
                  <a:pt x="88" y="21"/>
                </a:cubicBezTo>
                <a:cubicBezTo>
                  <a:pt x="92" y="20"/>
                  <a:pt x="92" y="20"/>
                  <a:pt x="92" y="20"/>
                </a:cubicBezTo>
                <a:cubicBezTo>
                  <a:pt x="92" y="21"/>
                  <a:pt x="93" y="21"/>
                  <a:pt x="93" y="21"/>
                </a:cubicBezTo>
                <a:cubicBezTo>
                  <a:pt x="93" y="21"/>
                  <a:pt x="92" y="24"/>
                  <a:pt x="94" y="24"/>
                </a:cubicBezTo>
                <a:cubicBezTo>
                  <a:pt x="95" y="24"/>
                  <a:pt x="97" y="25"/>
                  <a:pt x="97" y="25"/>
                </a:cubicBezTo>
                <a:cubicBezTo>
                  <a:pt x="97" y="25"/>
                  <a:pt x="103" y="23"/>
                  <a:pt x="104" y="26"/>
                </a:cubicBezTo>
                <a:cubicBezTo>
                  <a:pt x="106" y="29"/>
                  <a:pt x="106" y="27"/>
                  <a:pt x="109" y="28"/>
                </a:cubicBezTo>
                <a:cubicBezTo>
                  <a:pt x="111" y="28"/>
                  <a:pt x="113" y="28"/>
                  <a:pt x="113" y="28"/>
                </a:cubicBezTo>
                <a:cubicBezTo>
                  <a:pt x="113" y="28"/>
                  <a:pt x="114" y="32"/>
                  <a:pt x="112" y="34"/>
                </a:cubicBezTo>
                <a:cubicBezTo>
                  <a:pt x="111" y="36"/>
                  <a:pt x="111" y="37"/>
                  <a:pt x="112" y="39"/>
                </a:cubicBezTo>
                <a:cubicBezTo>
                  <a:pt x="112" y="41"/>
                  <a:pt x="110" y="44"/>
                  <a:pt x="112" y="47"/>
                </a:cubicBezTo>
                <a:cubicBezTo>
                  <a:pt x="112" y="47"/>
                  <a:pt x="111" y="49"/>
                  <a:pt x="110" y="48"/>
                </a:cubicBezTo>
                <a:cubicBezTo>
                  <a:pt x="108" y="46"/>
                  <a:pt x="108" y="50"/>
                  <a:pt x="108" y="50"/>
                </a:cubicBezTo>
                <a:cubicBezTo>
                  <a:pt x="108" y="50"/>
                  <a:pt x="109" y="51"/>
                  <a:pt x="106" y="51"/>
                </a:cubicBezTo>
                <a:cubicBezTo>
                  <a:pt x="103" y="52"/>
                  <a:pt x="101" y="56"/>
                  <a:pt x="99" y="58"/>
                </a:cubicBezTo>
                <a:cubicBezTo>
                  <a:pt x="98" y="60"/>
                  <a:pt x="96" y="62"/>
                  <a:pt x="95" y="64"/>
                </a:cubicBezTo>
                <a:cubicBezTo>
                  <a:pt x="94" y="66"/>
                  <a:pt x="92" y="71"/>
                  <a:pt x="96" y="68"/>
                </a:cubicBezTo>
                <a:cubicBezTo>
                  <a:pt x="99" y="65"/>
                  <a:pt x="99" y="68"/>
                  <a:pt x="99" y="68"/>
                </a:cubicBezTo>
                <a:cubicBezTo>
                  <a:pt x="99" y="70"/>
                  <a:pt x="104" y="69"/>
                  <a:pt x="104" y="71"/>
                </a:cubicBezTo>
                <a:cubicBezTo>
                  <a:pt x="105" y="73"/>
                  <a:pt x="107" y="72"/>
                  <a:pt x="107" y="72"/>
                </a:cubicBezTo>
                <a:cubicBezTo>
                  <a:pt x="105" y="76"/>
                  <a:pt x="105" y="76"/>
                  <a:pt x="105" y="76"/>
                </a:cubicBezTo>
                <a:cubicBezTo>
                  <a:pt x="105" y="76"/>
                  <a:pt x="104" y="79"/>
                  <a:pt x="102" y="79"/>
                </a:cubicBezTo>
                <a:cubicBezTo>
                  <a:pt x="99" y="79"/>
                  <a:pt x="99" y="84"/>
                  <a:pt x="102" y="84"/>
                </a:cubicBezTo>
                <a:cubicBezTo>
                  <a:pt x="104" y="84"/>
                  <a:pt x="101" y="90"/>
                  <a:pt x="102" y="91"/>
                </a:cubicBezTo>
                <a:cubicBezTo>
                  <a:pt x="103" y="92"/>
                  <a:pt x="107" y="90"/>
                  <a:pt x="106" y="92"/>
                </a:cubicBezTo>
                <a:cubicBezTo>
                  <a:pt x="105" y="94"/>
                  <a:pt x="106" y="92"/>
                  <a:pt x="104" y="94"/>
                </a:cubicBezTo>
                <a:cubicBezTo>
                  <a:pt x="103" y="96"/>
                  <a:pt x="105" y="96"/>
                  <a:pt x="105" y="97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103" y="95"/>
                  <a:pt x="103" y="95"/>
                  <a:pt x="103" y="95"/>
                </a:cubicBezTo>
                <a:cubicBezTo>
                  <a:pt x="101" y="96"/>
                  <a:pt x="101" y="96"/>
                  <a:pt x="101" y="96"/>
                </a:cubicBezTo>
                <a:cubicBezTo>
                  <a:pt x="102" y="98"/>
                  <a:pt x="102" y="98"/>
                  <a:pt x="102" y="98"/>
                </a:cubicBezTo>
                <a:cubicBezTo>
                  <a:pt x="102" y="98"/>
                  <a:pt x="101" y="102"/>
                  <a:pt x="100" y="103"/>
                </a:cubicBezTo>
                <a:cubicBezTo>
                  <a:pt x="99" y="103"/>
                  <a:pt x="98" y="102"/>
                  <a:pt x="97" y="103"/>
                </a:cubicBezTo>
                <a:cubicBezTo>
                  <a:pt x="95" y="104"/>
                  <a:pt x="95" y="104"/>
                  <a:pt x="95" y="104"/>
                </a:cubicBezTo>
                <a:cubicBezTo>
                  <a:pt x="92" y="104"/>
                  <a:pt x="92" y="101"/>
                  <a:pt x="91" y="101"/>
                </a:cubicBezTo>
                <a:cubicBezTo>
                  <a:pt x="90" y="100"/>
                  <a:pt x="89" y="101"/>
                  <a:pt x="89" y="101"/>
                </a:cubicBezTo>
                <a:cubicBezTo>
                  <a:pt x="88" y="100"/>
                  <a:pt x="88" y="99"/>
                  <a:pt x="87" y="99"/>
                </a:cubicBezTo>
                <a:cubicBezTo>
                  <a:pt x="86" y="98"/>
                  <a:pt x="87" y="100"/>
                  <a:pt x="85" y="100"/>
                </a:cubicBezTo>
                <a:cubicBezTo>
                  <a:pt x="84" y="100"/>
                  <a:pt x="82" y="97"/>
                  <a:pt x="79" y="98"/>
                </a:cubicBezTo>
                <a:cubicBezTo>
                  <a:pt x="77" y="98"/>
                  <a:pt x="75" y="102"/>
                  <a:pt x="74" y="103"/>
                </a:cubicBezTo>
                <a:cubicBezTo>
                  <a:pt x="73" y="103"/>
                  <a:pt x="72" y="103"/>
                  <a:pt x="71" y="103"/>
                </a:cubicBezTo>
                <a:cubicBezTo>
                  <a:pt x="71" y="106"/>
                  <a:pt x="70" y="107"/>
                  <a:pt x="70" y="109"/>
                </a:cubicBezTo>
                <a:close/>
                <a:moveTo>
                  <a:pt x="123" y="103"/>
                </a:moveTo>
                <a:cubicBezTo>
                  <a:pt x="122" y="105"/>
                  <a:pt x="122" y="107"/>
                  <a:pt x="120" y="108"/>
                </a:cubicBezTo>
                <a:cubicBezTo>
                  <a:pt x="119" y="109"/>
                  <a:pt x="117" y="108"/>
                  <a:pt x="116" y="110"/>
                </a:cubicBezTo>
                <a:cubicBezTo>
                  <a:pt x="115" y="112"/>
                  <a:pt x="116" y="117"/>
                  <a:pt x="117" y="119"/>
                </a:cubicBezTo>
                <a:cubicBezTo>
                  <a:pt x="116" y="119"/>
                  <a:pt x="116" y="119"/>
                  <a:pt x="116" y="120"/>
                </a:cubicBezTo>
                <a:cubicBezTo>
                  <a:pt x="117" y="122"/>
                  <a:pt x="121" y="123"/>
                  <a:pt x="123" y="124"/>
                </a:cubicBezTo>
                <a:cubicBezTo>
                  <a:pt x="124" y="118"/>
                  <a:pt x="127" y="112"/>
                  <a:pt x="125" y="105"/>
                </a:cubicBezTo>
                <a:cubicBezTo>
                  <a:pt x="125" y="104"/>
                  <a:pt x="123" y="103"/>
                  <a:pt x="123" y="103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1" name="Google Shape;551;p102"/>
          <p:cNvSpPr/>
          <p:nvPr/>
        </p:nvSpPr>
        <p:spPr>
          <a:xfrm>
            <a:off x="6721402" y="2313026"/>
            <a:ext cx="317866" cy="436750"/>
          </a:xfrm>
          <a:custGeom>
            <a:avLst/>
            <a:gdLst/>
            <a:ahLst/>
            <a:cxnLst/>
            <a:rect l="l" t="t" r="r" b="b"/>
            <a:pathLst>
              <a:path w="110" h="158" extrusionOk="0">
                <a:moveTo>
                  <a:pt x="45" y="68"/>
                </a:moveTo>
                <a:cubicBezTo>
                  <a:pt x="47" y="68"/>
                  <a:pt x="46" y="68"/>
                  <a:pt x="47" y="68"/>
                </a:cubicBezTo>
                <a:cubicBezTo>
                  <a:pt x="48" y="71"/>
                  <a:pt x="48" y="71"/>
                  <a:pt x="48" y="71"/>
                </a:cubicBezTo>
                <a:cubicBezTo>
                  <a:pt x="49" y="71"/>
                  <a:pt x="49" y="69"/>
                  <a:pt x="51" y="70"/>
                </a:cubicBezTo>
                <a:cubicBezTo>
                  <a:pt x="53" y="72"/>
                  <a:pt x="51" y="75"/>
                  <a:pt x="51" y="77"/>
                </a:cubicBezTo>
                <a:cubicBezTo>
                  <a:pt x="52" y="78"/>
                  <a:pt x="52" y="78"/>
                  <a:pt x="52" y="78"/>
                </a:cubicBezTo>
                <a:cubicBezTo>
                  <a:pt x="52" y="80"/>
                  <a:pt x="52" y="80"/>
                  <a:pt x="51" y="81"/>
                </a:cubicBezTo>
                <a:cubicBezTo>
                  <a:pt x="51" y="82"/>
                  <a:pt x="52" y="84"/>
                  <a:pt x="51" y="84"/>
                </a:cubicBezTo>
                <a:cubicBezTo>
                  <a:pt x="50" y="84"/>
                  <a:pt x="50" y="84"/>
                  <a:pt x="51" y="83"/>
                </a:cubicBezTo>
                <a:cubicBezTo>
                  <a:pt x="49" y="84"/>
                  <a:pt x="48" y="84"/>
                  <a:pt x="47" y="85"/>
                </a:cubicBezTo>
                <a:cubicBezTo>
                  <a:pt x="45" y="86"/>
                  <a:pt x="45" y="90"/>
                  <a:pt x="44" y="92"/>
                </a:cubicBezTo>
                <a:cubicBezTo>
                  <a:pt x="43" y="92"/>
                  <a:pt x="43" y="92"/>
                  <a:pt x="43" y="92"/>
                </a:cubicBezTo>
                <a:cubicBezTo>
                  <a:pt x="42" y="93"/>
                  <a:pt x="40" y="96"/>
                  <a:pt x="40" y="97"/>
                </a:cubicBezTo>
                <a:cubicBezTo>
                  <a:pt x="40" y="97"/>
                  <a:pt x="40" y="98"/>
                  <a:pt x="40" y="99"/>
                </a:cubicBezTo>
                <a:cubicBezTo>
                  <a:pt x="39" y="100"/>
                  <a:pt x="36" y="100"/>
                  <a:pt x="35" y="101"/>
                </a:cubicBezTo>
                <a:cubicBezTo>
                  <a:pt x="33" y="102"/>
                  <a:pt x="33" y="105"/>
                  <a:pt x="31" y="105"/>
                </a:cubicBezTo>
                <a:cubicBezTo>
                  <a:pt x="30" y="105"/>
                  <a:pt x="30" y="105"/>
                  <a:pt x="30" y="105"/>
                </a:cubicBezTo>
                <a:cubicBezTo>
                  <a:pt x="30" y="106"/>
                  <a:pt x="30" y="108"/>
                  <a:pt x="30" y="108"/>
                </a:cubicBezTo>
                <a:cubicBezTo>
                  <a:pt x="29" y="108"/>
                  <a:pt x="27" y="107"/>
                  <a:pt x="27" y="108"/>
                </a:cubicBezTo>
                <a:cubicBezTo>
                  <a:pt x="25" y="109"/>
                  <a:pt x="26" y="111"/>
                  <a:pt x="25" y="112"/>
                </a:cubicBezTo>
                <a:cubicBezTo>
                  <a:pt x="25" y="113"/>
                  <a:pt x="22" y="114"/>
                  <a:pt x="21" y="115"/>
                </a:cubicBezTo>
                <a:cubicBezTo>
                  <a:pt x="22" y="116"/>
                  <a:pt x="21" y="117"/>
                  <a:pt x="21" y="118"/>
                </a:cubicBezTo>
                <a:cubicBezTo>
                  <a:pt x="22" y="119"/>
                  <a:pt x="24" y="119"/>
                  <a:pt x="24" y="119"/>
                </a:cubicBezTo>
                <a:cubicBezTo>
                  <a:pt x="24" y="121"/>
                  <a:pt x="23" y="121"/>
                  <a:pt x="23" y="123"/>
                </a:cubicBezTo>
                <a:cubicBezTo>
                  <a:pt x="23" y="127"/>
                  <a:pt x="23" y="127"/>
                  <a:pt x="23" y="127"/>
                </a:cubicBezTo>
                <a:cubicBezTo>
                  <a:pt x="23" y="127"/>
                  <a:pt x="23" y="129"/>
                  <a:pt x="23" y="129"/>
                </a:cubicBezTo>
                <a:cubicBezTo>
                  <a:pt x="23" y="130"/>
                  <a:pt x="22" y="131"/>
                  <a:pt x="21" y="131"/>
                </a:cubicBezTo>
                <a:cubicBezTo>
                  <a:pt x="21" y="133"/>
                  <a:pt x="21" y="133"/>
                  <a:pt x="21" y="133"/>
                </a:cubicBezTo>
                <a:cubicBezTo>
                  <a:pt x="21" y="133"/>
                  <a:pt x="21" y="138"/>
                  <a:pt x="21" y="139"/>
                </a:cubicBezTo>
                <a:cubicBezTo>
                  <a:pt x="21" y="139"/>
                  <a:pt x="22" y="141"/>
                  <a:pt x="22" y="141"/>
                </a:cubicBezTo>
                <a:cubicBezTo>
                  <a:pt x="23" y="142"/>
                  <a:pt x="23" y="141"/>
                  <a:pt x="23" y="141"/>
                </a:cubicBezTo>
                <a:cubicBezTo>
                  <a:pt x="25" y="141"/>
                  <a:pt x="25" y="141"/>
                  <a:pt x="25" y="141"/>
                </a:cubicBezTo>
                <a:cubicBezTo>
                  <a:pt x="25" y="143"/>
                  <a:pt x="25" y="145"/>
                  <a:pt x="25" y="147"/>
                </a:cubicBezTo>
                <a:cubicBezTo>
                  <a:pt x="25" y="147"/>
                  <a:pt x="27" y="147"/>
                  <a:pt x="27" y="147"/>
                </a:cubicBezTo>
                <a:cubicBezTo>
                  <a:pt x="27" y="145"/>
                  <a:pt x="26" y="145"/>
                  <a:pt x="28" y="145"/>
                </a:cubicBezTo>
                <a:cubicBezTo>
                  <a:pt x="28" y="145"/>
                  <a:pt x="29" y="146"/>
                  <a:pt x="29" y="146"/>
                </a:cubicBezTo>
                <a:cubicBezTo>
                  <a:pt x="31" y="147"/>
                  <a:pt x="32" y="148"/>
                  <a:pt x="32" y="148"/>
                </a:cubicBezTo>
                <a:cubicBezTo>
                  <a:pt x="32" y="149"/>
                  <a:pt x="31" y="151"/>
                  <a:pt x="29" y="151"/>
                </a:cubicBezTo>
                <a:cubicBezTo>
                  <a:pt x="29" y="153"/>
                  <a:pt x="29" y="154"/>
                  <a:pt x="29" y="156"/>
                </a:cubicBezTo>
                <a:cubicBezTo>
                  <a:pt x="34" y="154"/>
                  <a:pt x="32" y="156"/>
                  <a:pt x="34" y="151"/>
                </a:cubicBezTo>
                <a:cubicBezTo>
                  <a:pt x="34" y="152"/>
                  <a:pt x="36" y="153"/>
                  <a:pt x="37" y="153"/>
                </a:cubicBezTo>
                <a:cubicBezTo>
                  <a:pt x="37" y="154"/>
                  <a:pt x="36" y="155"/>
                  <a:pt x="36" y="156"/>
                </a:cubicBezTo>
                <a:cubicBezTo>
                  <a:pt x="36" y="156"/>
                  <a:pt x="40" y="156"/>
                  <a:pt x="41" y="156"/>
                </a:cubicBezTo>
                <a:cubicBezTo>
                  <a:pt x="41" y="156"/>
                  <a:pt x="40" y="158"/>
                  <a:pt x="41" y="158"/>
                </a:cubicBezTo>
                <a:cubicBezTo>
                  <a:pt x="41" y="158"/>
                  <a:pt x="48" y="154"/>
                  <a:pt x="48" y="154"/>
                </a:cubicBezTo>
                <a:cubicBezTo>
                  <a:pt x="48" y="154"/>
                  <a:pt x="48" y="155"/>
                  <a:pt x="49" y="155"/>
                </a:cubicBezTo>
                <a:cubicBezTo>
                  <a:pt x="51" y="152"/>
                  <a:pt x="54" y="151"/>
                  <a:pt x="59" y="150"/>
                </a:cubicBezTo>
                <a:cubicBezTo>
                  <a:pt x="59" y="150"/>
                  <a:pt x="58" y="147"/>
                  <a:pt x="59" y="147"/>
                </a:cubicBezTo>
                <a:cubicBezTo>
                  <a:pt x="59" y="147"/>
                  <a:pt x="60" y="148"/>
                  <a:pt x="61" y="148"/>
                </a:cubicBezTo>
                <a:cubicBezTo>
                  <a:pt x="62" y="148"/>
                  <a:pt x="62" y="146"/>
                  <a:pt x="64" y="147"/>
                </a:cubicBezTo>
                <a:cubicBezTo>
                  <a:pt x="64" y="147"/>
                  <a:pt x="66" y="148"/>
                  <a:pt x="67" y="148"/>
                </a:cubicBezTo>
                <a:cubicBezTo>
                  <a:pt x="67" y="148"/>
                  <a:pt x="67" y="146"/>
                  <a:pt x="67" y="146"/>
                </a:cubicBezTo>
                <a:cubicBezTo>
                  <a:pt x="68" y="146"/>
                  <a:pt x="69" y="146"/>
                  <a:pt x="69" y="145"/>
                </a:cubicBezTo>
                <a:cubicBezTo>
                  <a:pt x="69" y="145"/>
                  <a:pt x="69" y="145"/>
                  <a:pt x="69" y="145"/>
                </a:cubicBezTo>
                <a:cubicBezTo>
                  <a:pt x="70" y="145"/>
                  <a:pt x="70" y="145"/>
                  <a:pt x="70" y="146"/>
                </a:cubicBezTo>
                <a:cubicBezTo>
                  <a:pt x="70" y="146"/>
                  <a:pt x="72" y="146"/>
                  <a:pt x="73" y="146"/>
                </a:cubicBezTo>
                <a:cubicBezTo>
                  <a:pt x="75" y="144"/>
                  <a:pt x="81" y="140"/>
                  <a:pt x="81" y="140"/>
                </a:cubicBezTo>
                <a:cubicBezTo>
                  <a:pt x="81" y="140"/>
                  <a:pt x="98" y="128"/>
                  <a:pt x="99" y="126"/>
                </a:cubicBezTo>
                <a:cubicBezTo>
                  <a:pt x="103" y="121"/>
                  <a:pt x="109" y="116"/>
                  <a:pt x="109" y="115"/>
                </a:cubicBezTo>
                <a:cubicBezTo>
                  <a:pt x="110" y="114"/>
                  <a:pt x="110" y="112"/>
                  <a:pt x="110" y="110"/>
                </a:cubicBezTo>
                <a:cubicBezTo>
                  <a:pt x="110" y="107"/>
                  <a:pt x="108" y="108"/>
                  <a:pt x="105" y="106"/>
                </a:cubicBezTo>
                <a:cubicBezTo>
                  <a:pt x="103" y="105"/>
                  <a:pt x="103" y="105"/>
                  <a:pt x="102" y="104"/>
                </a:cubicBezTo>
                <a:cubicBezTo>
                  <a:pt x="102" y="102"/>
                  <a:pt x="97" y="102"/>
                  <a:pt x="98" y="97"/>
                </a:cubicBezTo>
                <a:cubicBezTo>
                  <a:pt x="98" y="96"/>
                  <a:pt x="101" y="96"/>
                  <a:pt x="101" y="93"/>
                </a:cubicBezTo>
                <a:cubicBezTo>
                  <a:pt x="101" y="92"/>
                  <a:pt x="101" y="92"/>
                  <a:pt x="101" y="91"/>
                </a:cubicBezTo>
                <a:cubicBezTo>
                  <a:pt x="100" y="91"/>
                  <a:pt x="100" y="89"/>
                  <a:pt x="99" y="88"/>
                </a:cubicBezTo>
                <a:cubicBezTo>
                  <a:pt x="97" y="86"/>
                  <a:pt x="96" y="85"/>
                  <a:pt x="95" y="84"/>
                </a:cubicBezTo>
                <a:cubicBezTo>
                  <a:pt x="95" y="84"/>
                  <a:pt x="95" y="82"/>
                  <a:pt x="94" y="80"/>
                </a:cubicBezTo>
                <a:cubicBezTo>
                  <a:pt x="94" y="79"/>
                  <a:pt x="94" y="77"/>
                  <a:pt x="94" y="75"/>
                </a:cubicBezTo>
                <a:cubicBezTo>
                  <a:pt x="94" y="73"/>
                  <a:pt x="94" y="73"/>
                  <a:pt x="94" y="72"/>
                </a:cubicBezTo>
                <a:cubicBezTo>
                  <a:pt x="96" y="72"/>
                  <a:pt x="98" y="72"/>
                  <a:pt x="98" y="72"/>
                </a:cubicBezTo>
                <a:cubicBezTo>
                  <a:pt x="98" y="72"/>
                  <a:pt x="96" y="68"/>
                  <a:pt x="94" y="65"/>
                </a:cubicBezTo>
                <a:cubicBezTo>
                  <a:pt x="93" y="63"/>
                  <a:pt x="92" y="62"/>
                  <a:pt x="91" y="60"/>
                </a:cubicBezTo>
                <a:cubicBezTo>
                  <a:pt x="90" y="57"/>
                  <a:pt x="91" y="56"/>
                  <a:pt x="90" y="54"/>
                </a:cubicBezTo>
                <a:cubicBezTo>
                  <a:pt x="90" y="53"/>
                  <a:pt x="89" y="51"/>
                  <a:pt x="89" y="51"/>
                </a:cubicBezTo>
                <a:cubicBezTo>
                  <a:pt x="89" y="50"/>
                  <a:pt x="90" y="50"/>
                  <a:pt x="91" y="50"/>
                </a:cubicBezTo>
                <a:cubicBezTo>
                  <a:pt x="92" y="49"/>
                  <a:pt x="95" y="46"/>
                  <a:pt x="96" y="44"/>
                </a:cubicBezTo>
                <a:cubicBezTo>
                  <a:pt x="97" y="42"/>
                  <a:pt x="97" y="41"/>
                  <a:pt x="94" y="39"/>
                </a:cubicBezTo>
                <a:cubicBezTo>
                  <a:pt x="91" y="37"/>
                  <a:pt x="92" y="37"/>
                  <a:pt x="90" y="35"/>
                </a:cubicBezTo>
                <a:cubicBezTo>
                  <a:pt x="89" y="33"/>
                  <a:pt x="84" y="33"/>
                  <a:pt x="85" y="28"/>
                </a:cubicBezTo>
                <a:cubicBezTo>
                  <a:pt x="85" y="26"/>
                  <a:pt x="85" y="25"/>
                  <a:pt x="85" y="25"/>
                </a:cubicBezTo>
                <a:cubicBezTo>
                  <a:pt x="81" y="25"/>
                  <a:pt x="81" y="25"/>
                  <a:pt x="81" y="25"/>
                </a:cubicBezTo>
                <a:cubicBezTo>
                  <a:pt x="81" y="25"/>
                  <a:pt x="86" y="23"/>
                  <a:pt x="83" y="21"/>
                </a:cubicBezTo>
                <a:cubicBezTo>
                  <a:pt x="82" y="20"/>
                  <a:pt x="82" y="17"/>
                  <a:pt x="85" y="13"/>
                </a:cubicBezTo>
                <a:cubicBezTo>
                  <a:pt x="88" y="9"/>
                  <a:pt x="84" y="9"/>
                  <a:pt x="82" y="8"/>
                </a:cubicBezTo>
                <a:cubicBezTo>
                  <a:pt x="80" y="6"/>
                  <a:pt x="79" y="5"/>
                  <a:pt x="77" y="3"/>
                </a:cubicBezTo>
                <a:cubicBezTo>
                  <a:pt x="71" y="0"/>
                  <a:pt x="72" y="6"/>
                  <a:pt x="68" y="6"/>
                </a:cubicBezTo>
                <a:cubicBezTo>
                  <a:pt x="66" y="6"/>
                  <a:pt x="62" y="7"/>
                  <a:pt x="62" y="7"/>
                </a:cubicBezTo>
                <a:cubicBezTo>
                  <a:pt x="59" y="8"/>
                  <a:pt x="59" y="8"/>
                  <a:pt x="59" y="10"/>
                </a:cubicBezTo>
                <a:cubicBezTo>
                  <a:pt x="58" y="12"/>
                  <a:pt x="58" y="12"/>
                  <a:pt x="58" y="14"/>
                </a:cubicBezTo>
                <a:cubicBezTo>
                  <a:pt x="58" y="16"/>
                  <a:pt x="59" y="17"/>
                  <a:pt x="59" y="19"/>
                </a:cubicBezTo>
                <a:cubicBezTo>
                  <a:pt x="58" y="21"/>
                  <a:pt x="58" y="22"/>
                  <a:pt x="57" y="22"/>
                </a:cubicBezTo>
                <a:cubicBezTo>
                  <a:pt x="54" y="22"/>
                  <a:pt x="54" y="26"/>
                  <a:pt x="52" y="27"/>
                </a:cubicBezTo>
                <a:cubicBezTo>
                  <a:pt x="49" y="28"/>
                  <a:pt x="49" y="28"/>
                  <a:pt x="48" y="28"/>
                </a:cubicBezTo>
                <a:cubicBezTo>
                  <a:pt x="47" y="27"/>
                  <a:pt x="46" y="26"/>
                  <a:pt x="46" y="26"/>
                </a:cubicBezTo>
                <a:cubicBezTo>
                  <a:pt x="46" y="26"/>
                  <a:pt x="44" y="23"/>
                  <a:pt x="41" y="23"/>
                </a:cubicBezTo>
                <a:cubicBezTo>
                  <a:pt x="39" y="23"/>
                  <a:pt x="38" y="25"/>
                  <a:pt x="36" y="25"/>
                </a:cubicBezTo>
                <a:cubicBezTo>
                  <a:pt x="35" y="25"/>
                  <a:pt x="32" y="24"/>
                  <a:pt x="30" y="23"/>
                </a:cubicBezTo>
                <a:cubicBezTo>
                  <a:pt x="26" y="25"/>
                  <a:pt x="26" y="20"/>
                  <a:pt x="23" y="19"/>
                </a:cubicBezTo>
                <a:cubicBezTo>
                  <a:pt x="22" y="18"/>
                  <a:pt x="20" y="16"/>
                  <a:pt x="20" y="16"/>
                </a:cubicBezTo>
                <a:cubicBezTo>
                  <a:pt x="20" y="16"/>
                  <a:pt x="17" y="13"/>
                  <a:pt x="15" y="16"/>
                </a:cubicBezTo>
                <a:cubicBezTo>
                  <a:pt x="15" y="17"/>
                  <a:pt x="13" y="17"/>
                  <a:pt x="13" y="17"/>
                </a:cubicBezTo>
                <a:cubicBezTo>
                  <a:pt x="12" y="19"/>
                  <a:pt x="12" y="19"/>
                  <a:pt x="12" y="19"/>
                </a:cubicBezTo>
                <a:cubicBezTo>
                  <a:pt x="14" y="21"/>
                  <a:pt x="16" y="21"/>
                  <a:pt x="21" y="25"/>
                </a:cubicBezTo>
                <a:cubicBezTo>
                  <a:pt x="22" y="26"/>
                  <a:pt x="22" y="27"/>
                  <a:pt x="26" y="29"/>
                </a:cubicBezTo>
                <a:cubicBezTo>
                  <a:pt x="29" y="30"/>
                  <a:pt x="34" y="30"/>
                  <a:pt x="35" y="33"/>
                </a:cubicBezTo>
                <a:cubicBezTo>
                  <a:pt x="36" y="35"/>
                  <a:pt x="38" y="35"/>
                  <a:pt x="39" y="36"/>
                </a:cubicBezTo>
                <a:cubicBezTo>
                  <a:pt x="41" y="37"/>
                  <a:pt x="38" y="41"/>
                  <a:pt x="39" y="44"/>
                </a:cubicBezTo>
                <a:cubicBezTo>
                  <a:pt x="40" y="45"/>
                  <a:pt x="41" y="43"/>
                  <a:pt x="42" y="44"/>
                </a:cubicBezTo>
                <a:cubicBezTo>
                  <a:pt x="42" y="45"/>
                  <a:pt x="42" y="47"/>
                  <a:pt x="42" y="47"/>
                </a:cubicBezTo>
                <a:cubicBezTo>
                  <a:pt x="41" y="50"/>
                  <a:pt x="39" y="50"/>
                  <a:pt x="41" y="54"/>
                </a:cubicBezTo>
                <a:cubicBezTo>
                  <a:pt x="42" y="57"/>
                  <a:pt x="43" y="58"/>
                  <a:pt x="43" y="60"/>
                </a:cubicBezTo>
                <a:cubicBezTo>
                  <a:pt x="43" y="61"/>
                  <a:pt x="41" y="61"/>
                  <a:pt x="42" y="64"/>
                </a:cubicBezTo>
                <a:cubicBezTo>
                  <a:pt x="43" y="65"/>
                  <a:pt x="45" y="68"/>
                  <a:pt x="45" y="68"/>
                </a:cubicBezTo>
                <a:close/>
                <a:moveTo>
                  <a:pt x="3" y="151"/>
                </a:moveTo>
                <a:cubicBezTo>
                  <a:pt x="2" y="151"/>
                  <a:pt x="5" y="153"/>
                  <a:pt x="5" y="153"/>
                </a:cubicBezTo>
                <a:cubicBezTo>
                  <a:pt x="0" y="155"/>
                  <a:pt x="3" y="155"/>
                  <a:pt x="7" y="157"/>
                </a:cubicBezTo>
                <a:cubicBezTo>
                  <a:pt x="7" y="157"/>
                  <a:pt x="7" y="157"/>
                  <a:pt x="7" y="158"/>
                </a:cubicBezTo>
                <a:cubicBezTo>
                  <a:pt x="8" y="157"/>
                  <a:pt x="8" y="157"/>
                  <a:pt x="9" y="157"/>
                </a:cubicBezTo>
                <a:cubicBezTo>
                  <a:pt x="7" y="153"/>
                  <a:pt x="9" y="154"/>
                  <a:pt x="5" y="152"/>
                </a:cubicBezTo>
                <a:cubicBezTo>
                  <a:pt x="4" y="151"/>
                  <a:pt x="5" y="150"/>
                  <a:pt x="3" y="151"/>
                </a:cubicBezTo>
                <a:close/>
                <a:moveTo>
                  <a:pt x="47" y="79"/>
                </a:moveTo>
                <a:cubicBezTo>
                  <a:pt x="46" y="80"/>
                  <a:pt x="46" y="81"/>
                  <a:pt x="47" y="81"/>
                </a:cubicBezTo>
                <a:cubicBezTo>
                  <a:pt x="47" y="80"/>
                  <a:pt x="48" y="79"/>
                  <a:pt x="47" y="79"/>
                </a:cubicBezTo>
                <a:close/>
              </a:path>
            </a:pathLst>
          </a:custGeom>
          <a:solidFill>
            <a:srgbClr val="A5A5A5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2" name="Google Shape;552;p102"/>
          <p:cNvSpPr/>
          <p:nvPr/>
        </p:nvSpPr>
        <p:spPr>
          <a:xfrm>
            <a:off x="10632013" y="5219491"/>
            <a:ext cx="73881" cy="62392"/>
          </a:xfrm>
          <a:custGeom>
            <a:avLst/>
            <a:gdLst/>
            <a:ahLst/>
            <a:cxnLst/>
            <a:rect l="l" t="t" r="r" b="b"/>
            <a:pathLst>
              <a:path w="26" h="23" extrusionOk="0">
                <a:moveTo>
                  <a:pt x="11" y="15"/>
                </a:moveTo>
                <a:cubicBezTo>
                  <a:pt x="4" y="15"/>
                  <a:pt x="0" y="22"/>
                  <a:pt x="9" y="23"/>
                </a:cubicBezTo>
                <a:cubicBezTo>
                  <a:pt x="16" y="23"/>
                  <a:pt x="17" y="16"/>
                  <a:pt x="11" y="15"/>
                </a:cubicBezTo>
                <a:close/>
                <a:moveTo>
                  <a:pt x="24" y="0"/>
                </a:moveTo>
                <a:cubicBezTo>
                  <a:pt x="23" y="0"/>
                  <a:pt x="17" y="3"/>
                  <a:pt x="16" y="4"/>
                </a:cubicBezTo>
                <a:cubicBezTo>
                  <a:pt x="15" y="5"/>
                  <a:pt x="14" y="6"/>
                  <a:pt x="13" y="7"/>
                </a:cubicBezTo>
                <a:cubicBezTo>
                  <a:pt x="14" y="7"/>
                  <a:pt x="14" y="7"/>
                  <a:pt x="14" y="9"/>
                </a:cubicBezTo>
                <a:cubicBezTo>
                  <a:pt x="16" y="8"/>
                  <a:pt x="18" y="6"/>
                  <a:pt x="20" y="6"/>
                </a:cubicBezTo>
                <a:cubicBezTo>
                  <a:pt x="21" y="6"/>
                  <a:pt x="22" y="6"/>
                  <a:pt x="23" y="6"/>
                </a:cubicBezTo>
                <a:cubicBezTo>
                  <a:pt x="23" y="6"/>
                  <a:pt x="23" y="3"/>
                  <a:pt x="23" y="3"/>
                </a:cubicBezTo>
                <a:cubicBezTo>
                  <a:pt x="24" y="2"/>
                  <a:pt x="25" y="2"/>
                  <a:pt x="26" y="1"/>
                </a:cubicBezTo>
                <a:cubicBezTo>
                  <a:pt x="25" y="1"/>
                  <a:pt x="26" y="0"/>
                  <a:pt x="24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3" name="Google Shape;553;p102"/>
          <p:cNvSpPr/>
          <p:nvPr/>
        </p:nvSpPr>
        <p:spPr>
          <a:xfrm>
            <a:off x="10632013" y="5219491"/>
            <a:ext cx="73881" cy="62392"/>
          </a:xfrm>
          <a:custGeom>
            <a:avLst/>
            <a:gdLst/>
            <a:ahLst/>
            <a:cxnLst/>
            <a:rect l="l" t="t" r="r" b="b"/>
            <a:pathLst>
              <a:path w="26" h="23" extrusionOk="0">
                <a:moveTo>
                  <a:pt x="11" y="15"/>
                </a:moveTo>
                <a:cubicBezTo>
                  <a:pt x="4" y="15"/>
                  <a:pt x="0" y="22"/>
                  <a:pt x="9" y="23"/>
                </a:cubicBezTo>
                <a:cubicBezTo>
                  <a:pt x="16" y="23"/>
                  <a:pt x="17" y="16"/>
                  <a:pt x="11" y="15"/>
                </a:cubicBezTo>
                <a:close/>
                <a:moveTo>
                  <a:pt x="24" y="0"/>
                </a:moveTo>
                <a:cubicBezTo>
                  <a:pt x="23" y="0"/>
                  <a:pt x="17" y="3"/>
                  <a:pt x="16" y="4"/>
                </a:cubicBezTo>
                <a:cubicBezTo>
                  <a:pt x="15" y="5"/>
                  <a:pt x="14" y="6"/>
                  <a:pt x="13" y="7"/>
                </a:cubicBezTo>
                <a:cubicBezTo>
                  <a:pt x="14" y="7"/>
                  <a:pt x="14" y="7"/>
                  <a:pt x="14" y="9"/>
                </a:cubicBezTo>
                <a:cubicBezTo>
                  <a:pt x="16" y="8"/>
                  <a:pt x="18" y="6"/>
                  <a:pt x="20" y="6"/>
                </a:cubicBezTo>
                <a:cubicBezTo>
                  <a:pt x="21" y="6"/>
                  <a:pt x="22" y="6"/>
                  <a:pt x="23" y="6"/>
                </a:cubicBezTo>
                <a:cubicBezTo>
                  <a:pt x="23" y="6"/>
                  <a:pt x="23" y="3"/>
                  <a:pt x="23" y="3"/>
                </a:cubicBezTo>
                <a:cubicBezTo>
                  <a:pt x="24" y="2"/>
                  <a:pt x="25" y="2"/>
                  <a:pt x="26" y="1"/>
                </a:cubicBezTo>
                <a:cubicBezTo>
                  <a:pt x="25" y="1"/>
                  <a:pt x="26" y="0"/>
                  <a:pt x="24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4" name="Google Shape;554;p102"/>
          <p:cNvSpPr/>
          <p:nvPr/>
        </p:nvSpPr>
        <p:spPr>
          <a:xfrm>
            <a:off x="4707678" y="6342562"/>
            <a:ext cx="625422" cy="138650"/>
          </a:xfrm>
          <a:custGeom>
            <a:avLst/>
            <a:gdLst/>
            <a:ahLst/>
            <a:cxnLst/>
            <a:rect l="l" t="t" r="r" b="b"/>
            <a:pathLst>
              <a:path w="217" h="50" extrusionOk="0">
                <a:moveTo>
                  <a:pt x="210" y="43"/>
                </a:moveTo>
                <a:cubicBezTo>
                  <a:pt x="211" y="44"/>
                  <a:pt x="210" y="45"/>
                  <a:pt x="210" y="45"/>
                </a:cubicBezTo>
                <a:cubicBezTo>
                  <a:pt x="210" y="46"/>
                  <a:pt x="214" y="48"/>
                  <a:pt x="214" y="48"/>
                </a:cubicBezTo>
                <a:cubicBezTo>
                  <a:pt x="213" y="50"/>
                  <a:pt x="216" y="48"/>
                  <a:pt x="215" y="48"/>
                </a:cubicBezTo>
                <a:cubicBezTo>
                  <a:pt x="217" y="47"/>
                  <a:pt x="215" y="46"/>
                  <a:pt x="216" y="44"/>
                </a:cubicBezTo>
                <a:cubicBezTo>
                  <a:pt x="213" y="44"/>
                  <a:pt x="211" y="44"/>
                  <a:pt x="210" y="43"/>
                </a:cubicBezTo>
                <a:close/>
                <a:moveTo>
                  <a:pt x="23" y="0"/>
                </a:moveTo>
                <a:cubicBezTo>
                  <a:pt x="22" y="0"/>
                  <a:pt x="19" y="2"/>
                  <a:pt x="19" y="3"/>
                </a:cubicBezTo>
                <a:cubicBezTo>
                  <a:pt x="19" y="4"/>
                  <a:pt x="19" y="4"/>
                  <a:pt x="19" y="4"/>
                </a:cubicBezTo>
                <a:cubicBezTo>
                  <a:pt x="19" y="4"/>
                  <a:pt x="20" y="5"/>
                  <a:pt x="19" y="6"/>
                </a:cubicBezTo>
                <a:cubicBezTo>
                  <a:pt x="19" y="6"/>
                  <a:pt x="18" y="6"/>
                  <a:pt x="17" y="6"/>
                </a:cubicBezTo>
                <a:cubicBezTo>
                  <a:pt x="16" y="7"/>
                  <a:pt x="15" y="9"/>
                  <a:pt x="14" y="11"/>
                </a:cubicBezTo>
                <a:cubicBezTo>
                  <a:pt x="13" y="10"/>
                  <a:pt x="14" y="12"/>
                  <a:pt x="13" y="12"/>
                </a:cubicBezTo>
                <a:cubicBezTo>
                  <a:pt x="12" y="11"/>
                  <a:pt x="13" y="13"/>
                  <a:pt x="13" y="13"/>
                </a:cubicBezTo>
                <a:cubicBezTo>
                  <a:pt x="15" y="14"/>
                  <a:pt x="16" y="14"/>
                  <a:pt x="17" y="15"/>
                </a:cubicBezTo>
                <a:cubicBezTo>
                  <a:pt x="18" y="14"/>
                  <a:pt x="16" y="14"/>
                  <a:pt x="16" y="14"/>
                </a:cubicBezTo>
                <a:cubicBezTo>
                  <a:pt x="16" y="13"/>
                  <a:pt x="16" y="13"/>
                  <a:pt x="16" y="13"/>
                </a:cubicBezTo>
                <a:cubicBezTo>
                  <a:pt x="18" y="13"/>
                  <a:pt x="17" y="12"/>
                  <a:pt x="17" y="11"/>
                </a:cubicBezTo>
                <a:cubicBezTo>
                  <a:pt x="19" y="11"/>
                  <a:pt x="21" y="12"/>
                  <a:pt x="23" y="12"/>
                </a:cubicBezTo>
                <a:cubicBezTo>
                  <a:pt x="22" y="10"/>
                  <a:pt x="22" y="10"/>
                  <a:pt x="21" y="8"/>
                </a:cubicBezTo>
                <a:cubicBezTo>
                  <a:pt x="25" y="9"/>
                  <a:pt x="24" y="10"/>
                  <a:pt x="28" y="7"/>
                </a:cubicBezTo>
                <a:cubicBezTo>
                  <a:pt x="29" y="6"/>
                  <a:pt x="29" y="6"/>
                  <a:pt x="29" y="6"/>
                </a:cubicBezTo>
                <a:cubicBezTo>
                  <a:pt x="29" y="6"/>
                  <a:pt x="31" y="7"/>
                  <a:pt x="32" y="7"/>
                </a:cubicBezTo>
                <a:cubicBezTo>
                  <a:pt x="33" y="5"/>
                  <a:pt x="33" y="5"/>
                  <a:pt x="33" y="5"/>
                </a:cubicBezTo>
                <a:cubicBezTo>
                  <a:pt x="32" y="5"/>
                  <a:pt x="31" y="5"/>
                  <a:pt x="30" y="5"/>
                </a:cubicBezTo>
                <a:cubicBezTo>
                  <a:pt x="30" y="5"/>
                  <a:pt x="30" y="2"/>
                  <a:pt x="30" y="2"/>
                </a:cubicBezTo>
                <a:cubicBezTo>
                  <a:pt x="30" y="2"/>
                  <a:pt x="28" y="2"/>
                  <a:pt x="29" y="3"/>
                </a:cubicBezTo>
                <a:cubicBezTo>
                  <a:pt x="28" y="4"/>
                  <a:pt x="27" y="4"/>
                  <a:pt x="26" y="5"/>
                </a:cubicBezTo>
                <a:cubicBezTo>
                  <a:pt x="26" y="4"/>
                  <a:pt x="25" y="4"/>
                  <a:pt x="25" y="3"/>
                </a:cubicBezTo>
                <a:cubicBezTo>
                  <a:pt x="24" y="2"/>
                  <a:pt x="25" y="2"/>
                  <a:pt x="25" y="2"/>
                </a:cubicBezTo>
                <a:cubicBezTo>
                  <a:pt x="25" y="1"/>
                  <a:pt x="25" y="1"/>
                  <a:pt x="25" y="1"/>
                </a:cubicBezTo>
                <a:cubicBezTo>
                  <a:pt x="24" y="0"/>
                  <a:pt x="24" y="1"/>
                  <a:pt x="23" y="0"/>
                </a:cubicBezTo>
                <a:close/>
                <a:moveTo>
                  <a:pt x="6" y="0"/>
                </a:moveTo>
                <a:cubicBezTo>
                  <a:pt x="6" y="2"/>
                  <a:pt x="7" y="3"/>
                  <a:pt x="7" y="3"/>
                </a:cubicBezTo>
                <a:cubicBezTo>
                  <a:pt x="6" y="4"/>
                  <a:pt x="6" y="4"/>
                  <a:pt x="5" y="5"/>
                </a:cubicBezTo>
                <a:cubicBezTo>
                  <a:pt x="6" y="5"/>
                  <a:pt x="7" y="5"/>
                  <a:pt x="7" y="5"/>
                </a:cubicBezTo>
                <a:cubicBezTo>
                  <a:pt x="7" y="5"/>
                  <a:pt x="7" y="7"/>
                  <a:pt x="7" y="7"/>
                </a:cubicBezTo>
                <a:cubicBezTo>
                  <a:pt x="5" y="9"/>
                  <a:pt x="0" y="10"/>
                  <a:pt x="4" y="13"/>
                </a:cubicBezTo>
                <a:cubicBezTo>
                  <a:pt x="5" y="12"/>
                  <a:pt x="7" y="11"/>
                  <a:pt x="7" y="10"/>
                </a:cubicBezTo>
                <a:cubicBezTo>
                  <a:pt x="7" y="9"/>
                  <a:pt x="7" y="9"/>
                  <a:pt x="7" y="9"/>
                </a:cubicBezTo>
                <a:cubicBezTo>
                  <a:pt x="8" y="9"/>
                  <a:pt x="8" y="10"/>
                  <a:pt x="9" y="9"/>
                </a:cubicBezTo>
                <a:cubicBezTo>
                  <a:pt x="10" y="9"/>
                  <a:pt x="9" y="9"/>
                  <a:pt x="11" y="9"/>
                </a:cubicBezTo>
                <a:cubicBezTo>
                  <a:pt x="12" y="8"/>
                  <a:pt x="12" y="6"/>
                  <a:pt x="13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7" y="1"/>
                  <a:pt x="17" y="1"/>
                  <a:pt x="17" y="1"/>
                </a:cubicBezTo>
                <a:cubicBezTo>
                  <a:pt x="12" y="1"/>
                  <a:pt x="10" y="1"/>
                  <a:pt x="6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5" name="Google Shape;555;p102"/>
          <p:cNvSpPr/>
          <p:nvPr/>
        </p:nvSpPr>
        <p:spPr>
          <a:xfrm>
            <a:off x="4707678" y="6342562"/>
            <a:ext cx="625422" cy="138650"/>
          </a:xfrm>
          <a:custGeom>
            <a:avLst/>
            <a:gdLst/>
            <a:ahLst/>
            <a:cxnLst/>
            <a:rect l="l" t="t" r="r" b="b"/>
            <a:pathLst>
              <a:path w="217" h="50" extrusionOk="0">
                <a:moveTo>
                  <a:pt x="210" y="43"/>
                </a:moveTo>
                <a:cubicBezTo>
                  <a:pt x="211" y="44"/>
                  <a:pt x="210" y="45"/>
                  <a:pt x="210" y="45"/>
                </a:cubicBezTo>
                <a:cubicBezTo>
                  <a:pt x="210" y="46"/>
                  <a:pt x="214" y="48"/>
                  <a:pt x="214" y="48"/>
                </a:cubicBezTo>
                <a:cubicBezTo>
                  <a:pt x="213" y="50"/>
                  <a:pt x="216" y="48"/>
                  <a:pt x="215" y="48"/>
                </a:cubicBezTo>
                <a:cubicBezTo>
                  <a:pt x="217" y="47"/>
                  <a:pt x="215" y="46"/>
                  <a:pt x="216" y="44"/>
                </a:cubicBezTo>
                <a:cubicBezTo>
                  <a:pt x="213" y="44"/>
                  <a:pt x="211" y="44"/>
                  <a:pt x="210" y="43"/>
                </a:cubicBezTo>
                <a:close/>
                <a:moveTo>
                  <a:pt x="23" y="0"/>
                </a:moveTo>
                <a:cubicBezTo>
                  <a:pt x="22" y="0"/>
                  <a:pt x="19" y="2"/>
                  <a:pt x="19" y="3"/>
                </a:cubicBezTo>
                <a:cubicBezTo>
                  <a:pt x="19" y="4"/>
                  <a:pt x="19" y="4"/>
                  <a:pt x="19" y="4"/>
                </a:cubicBezTo>
                <a:cubicBezTo>
                  <a:pt x="19" y="4"/>
                  <a:pt x="20" y="5"/>
                  <a:pt x="19" y="6"/>
                </a:cubicBezTo>
                <a:cubicBezTo>
                  <a:pt x="19" y="6"/>
                  <a:pt x="18" y="6"/>
                  <a:pt x="17" y="6"/>
                </a:cubicBezTo>
                <a:cubicBezTo>
                  <a:pt x="16" y="7"/>
                  <a:pt x="15" y="9"/>
                  <a:pt x="14" y="11"/>
                </a:cubicBezTo>
                <a:cubicBezTo>
                  <a:pt x="13" y="10"/>
                  <a:pt x="14" y="12"/>
                  <a:pt x="13" y="12"/>
                </a:cubicBezTo>
                <a:cubicBezTo>
                  <a:pt x="12" y="11"/>
                  <a:pt x="13" y="13"/>
                  <a:pt x="13" y="13"/>
                </a:cubicBezTo>
                <a:cubicBezTo>
                  <a:pt x="15" y="14"/>
                  <a:pt x="16" y="14"/>
                  <a:pt x="17" y="15"/>
                </a:cubicBezTo>
                <a:cubicBezTo>
                  <a:pt x="18" y="14"/>
                  <a:pt x="16" y="14"/>
                  <a:pt x="16" y="14"/>
                </a:cubicBezTo>
                <a:cubicBezTo>
                  <a:pt x="16" y="13"/>
                  <a:pt x="16" y="13"/>
                  <a:pt x="16" y="13"/>
                </a:cubicBezTo>
                <a:cubicBezTo>
                  <a:pt x="18" y="13"/>
                  <a:pt x="17" y="12"/>
                  <a:pt x="17" y="11"/>
                </a:cubicBezTo>
                <a:cubicBezTo>
                  <a:pt x="19" y="11"/>
                  <a:pt x="21" y="12"/>
                  <a:pt x="23" y="12"/>
                </a:cubicBezTo>
                <a:cubicBezTo>
                  <a:pt x="22" y="10"/>
                  <a:pt x="22" y="10"/>
                  <a:pt x="21" y="8"/>
                </a:cubicBezTo>
                <a:cubicBezTo>
                  <a:pt x="25" y="9"/>
                  <a:pt x="24" y="10"/>
                  <a:pt x="28" y="7"/>
                </a:cubicBezTo>
                <a:cubicBezTo>
                  <a:pt x="29" y="6"/>
                  <a:pt x="29" y="6"/>
                  <a:pt x="29" y="6"/>
                </a:cubicBezTo>
                <a:cubicBezTo>
                  <a:pt x="29" y="6"/>
                  <a:pt x="31" y="7"/>
                  <a:pt x="32" y="7"/>
                </a:cubicBezTo>
                <a:cubicBezTo>
                  <a:pt x="33" y="5"/>
                  <a:pt x="33" y="5"/>
                  <a:pt x="33" y="5"/>
                </a:cubicBezTo>
                <a:cubicBezTo>
                  <a:pt x="32" y="5"/>
                  <a:pt x="31" y="5"/>
                  <a:pt x="30" y="5"/>
                </a:cubicBezTo>
                <a:cubicBezTo>
                  <a:pt x="30" y="5"/>
                  <a:pt x="30" y="2"/>
                  <a:pt x="30" y="2"/>
                </a:cubicBezTo>
                <a:cubicBezTo>
                  <a:pt x="30" y="2"/>
                  <a:pt x="28" y="2"/>
                  <a:pt x="29" y="3"/>
                </a:cubicBezTo>
                <a:cubicBezTo>
                  <a:pt x="28" y="4"/>
                  <a:pt x="27" y="4"/>
                  <a:pt x="26" y="5"/>
                </a:cubicBezTo>
                <a:cubicBezTo>
                  <a:pt x="26" y="4"/>
                  <a:pt x="25" y="4"/>
                  <a:pt x="25" y="3"/>
                </a:cubicBezTo>
                <a:cubicBezTo>
                  <a:pt x="24" y="2"/>
                  <a:pt x="25" y="2"/>
                  <a:pt x="25" y="2"/>
                </a:cubicBezTo>
                <a:cubicBezTo>
                  <a:pt x="25" y="1"/>
                  <a:pt x="25" y="1"/>
                  <a:pt x="25" y="1"/>
                </a:cubicBezTo>
                <a:cubicBezTo>
                  <a:pt x="24" y="0"/>
                  <a:pt x="24" y="1"/>
                  <a:pt x="23" y="0"/>
                </a:cubicBezTo>
                <a:close/>
                <a:moveTo>
                  <a:pt x="6" y="0"/>
                </a:moveTo>
                <a:cubicBezTo>
                  <a:pt x="6" y="2"/>
                  <a:pt x="7" y="3"/>
                  <a:pt x="7" y="3"/>
                </a:cubicBezTo>
                <a:cubicBezTo>
                  <a:pt x="6" y="4"/>
                  <a:pt x="6" y="4"/>
                  <a:pt x="5" y="5"/>
                </a:cubicBezTo>
                <a:cubicBezTo>
                  <a:pt x="6" y="5"/>
                  <a:pt x="7" y="5"/>
                  <a:pt x="7" y="5"/>
                </a:cubicBezTo>
                <a:cubicBezTo>
                  <a:pt x="7" y="5"/>
                  <a:pt x="7" y="7"/>
                  <a:pt x="7" y="7"/>
                </a:cubicBezTo>
                <a:cubicBezTo>
                  <a:pt x="5" y="9"/>
                  <a:pt x="0" y="10"/>
                  <a:pt x="4" y="13"/>
                </a:cubicBezTo>
                <a:cubicBezTo>
                  <a:pt x="5" y="12"/>
                  <a:pt x="7" y="11"/>
                  <a:pt x="7" y="10"/>
                </a:cubicBezTo>
                <a:cubicBezTo>
                  <a:pt x="7" y="9"/>
                  <a:pt x="7" y="9"/>
                  <a:pt x="7" y="9"/>
                </a:cubicBezTo>
                <a:cubicBezTo>
                  <a:pt x="8" y="9"/>
                  <a:pt x="8" y="10"/>
                  <a:pt x="9" y="9"/>
                </a:cubicBezTo>
                <a:cubicBezTo>
                  <a:pt x="10" y="9"/>
                  <a:pt x="9" y="9"/>
                  <a:pt x="11" y="9"/>
                </a:cubicBezTo>
                <a:cubicBezTo>
                  <a:pt x="12" y="8"/>
                  <a:pt x="12" y="6"/>
                  <a:pt x="13" y="5"/>
                </a:cubicBezTo>
                <a:cubicBezTo>
                  <a:pt x="14" y="5"/>
                  <a:pt x="15" y="5"/>
                  <a:pt x="15" y="5"/>
                </a:cubicBezTo>
                <a:cubicBezTo>
                  <a:pt x="17" y="1"/>
                  <a:pt x="17" y="1"/>
                  <a:pt x="17" y="1"/>
                </a:cubicBezTo>
                <a:cubicBezTo>
                  <a:pt x="12" y="1"/>
                  <a:pt x="10" y="1"/>
                  <a:pt x="6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6" name="Google Shape;556;p102"/>
          <p:cNvSpPr/>
          <p:nvPr/>
        </p:nvSpPr>
        <p:spPr>
          <a:xfrm>
            <a:off x="7152668" y="4366790"/>
            <a:ext cx="36082" cy="19064"/>
          </a:xfrm>
          <a:custGeom>
            <a:avLst/>
            <a:gdLst/>
            <a:ahLst/>
            <a:cxnLst/>
            <a:rect l="l" t="t" r="r" b="b"/>
            <a:pathLst>
              <a:path w="12" h="7" extrusionOk="0">
                <a:moveTo>
                  <a:pt x="7" y="1"/>
                </a:moveTo>
                <a:cubicBezTo>
                  <a:pt x="12" y="2"/>
                  <a:pt x="5" y="7"/>
                  <a:pt x="5" y="7"/>
                </a:cubicBezTo>
                <a:cubicBezTo>
                  <a:pt x="2" y="5"/>
                  <a:pt x="0" y="0"/>
                  <a:pt x="7" y="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7" name="Google Shape;557;p102"/>
          <p:cNvSpPr/>
          <p:nvPr/>
        </p:nvSpPr>
        <p:spPr>
          <a:xfrm>
            <a:off x="7049577" y="4264535"/>
            <a:ext cx="384876" cy="327563"/>
          </a:xfrm>
          <a:custGeom>
            <a:avLst/>
            <a:gdLst/>
            <a:ahLst/>
            <a:cxnLst/>
            <a:rect l="l" t="t" r="r" b="b"/>
            <a:pathLst>
              <a:path w="134" h="118" extrusionOk="0">
                <a:moveTo>
                  <a:pt x="89" y="45"/>
                </a:moveTo>
                <a:cubicBezTo>
                  <a:pt x="87" y="49"/>
                  <a:pt x="87" y="49"/>
                  <a:pt x="87" y="49"/>
                </a:cubicBezTo>
                <a:cubicBezTo>
                  <a:pt x="87" y="49"/>
                  <a:pt x="89" y="52"/>
                  <a:pt x="90" y="54"/>
                </a:cubicBezTo>
                <a:cubicBezTo>
                  <a:pt x="92" y="56"/>
                  <a:pt x="91" y="57"/>
                  <a:pt x="93" y="59"/>
                </a:cubicBezTo>
                <a:cubicBezTo>
                  <a:pt x="95" y="60"/>
                  <a:pt x="96" y="62"/>
                  <a:pt x="99" y="63"/>
                </a:cubicBezTo>
                <a:cubicBezTo>
                  <a:pt x="103" y="65"/>
                  <a:pt x="122" y="74"/>
                  <a:pt x="122" y="74"/>
                </a:cubicBezTo>
                <a:cubicBezTo>
                  <a:pt x="134" y="74"/>
                  <a:pt x="134" y="74"/>
                  <a:pt x="134" y="74"/>
                </a:cubicBezTo>
                <a:cubicBezTo>
                  <a:pt x="112" y="108"/>
                  <a:pt x="112" y="108"/>
                  <a:pt x="112" y="108"/>
                </a:cubicBezTo>
                <a:cubicBezTo>
                  <a:pt x="101" y="109"/>
                  <a:pt x="101" y="109"/>
                  <a:pt x="101" y="109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89" y="112"/>
                  <a:pt x="89" y="112"/>
                  <a:pt x="89" y="112"/>
                </a:cubicBezTo>
                <a:cubicBezTo>
                  <a:pt x="87" y="114"/>
                  <a:pt x="87" y="114"/>
                  <a:pt x="87" y="114"/>
                </a:cubicBezTo>
                <a:cubicBezTo>
                  <a:pt x="87" y="114"/>
                  <a:pt x="79" y="116"/>
                  <a:pt x="77" y="115"/>
                </a:cubicBezTo>
                <a:cubicBezTo>
                  <a:pt x="75" y="114"/>
                  <a:pt x="75" y="111"/>
                  <a:pt x="75" y="111"/>
                </a:cubicBezTo>
                <a:cubicBezTo>
                  <a:pt x="75" y="111"/>
                  <a:pt x="72" y="115"/>
                  <a:pt x="69" y="114"/>
                </a:cubicBezTo>
                <a:cubicBezTo>
                  <a:pt x="67" y="112"/>
                  <a:pt x="66" y="117"/>
                  <a:pt x="66" y="117"/>
                </a:cubicBezTo>
                <a:cubicBezTo>
                  <a:pt x="66" y="117"/>
                  <a:pt x="63" y="117"/>
                  <a:pt x="61" y="117"/>
                </a:cubicBezTo>
                <a:cubicBezTo>
                  <a:pt x="59" y="117"/>
                  <a:pt x="57" y="118"/>
                  <a:pt x="56" y="116"/>
                </a:cubicBezTo>
                <a:cubicBezTo>
                  <a:pt x="55" y="115"/>
                  <a:pt x="49" y="115"/>
                  <a:pt x="49" y="115"/>
                </a:cubicBezTo>
                <a:cubicBezTo>
                  <a:pt x="49" y="115"/>
                  <a:pt x="45" y="117"/>
                  <a:pt x="43" y="115"/>
                </a:cubicBezTo>
                <a:cubicBezTo>
                  <a:pt x="41" y="114"/>
                  <a:pt x="38" y="116"/>
                  <a:pt x="37" y="116"/>
                </a:cubicBezTo>
                <a:cubicBezTo>
                  <a:pt x="36" y="116"/>
                  <a:pt x="31" y="115"/>
                  <a:pt x="31" y="115"/>
                </a:cubicBezTo>
                <a:cubicBezTo>
                  <a:pt x="30" y="113"/>
                  <a:pt x="30" y="113"/>
                  <a:pt x="30" y="113"/>
                </a:cubicBezTo>
                <a:cubicBezTo>
                  <a:pt x="30" y="113"/>
                  <a:pt x="30" y="108"/>
                  <a:pt x="28" y="108"/>
                </a:cubicBezTo>
                <a:cubicBezTo>
                  <a:pt x="27" y="108"/>
                  <a:pt x="27" y="108"/>
                  <a:pt x="26" y="108"/>
                </a:cubicBezTo>
                <a:cubicBezTo>
                  <a:pt x="24" y="108"/>
                  <a:pt x="21" y="107"/>
                  <a:pt x="21" y="104"/>
                </a:cubicBezTo>
                <a:cubicBezTo>
                  <a:pt x="20" y="101"/>
                  <a:pt x="17" y="98"/>
                  <a:pt x="17" y="95"/>
                </a:cubicBezTo>
                <a:cubicBezTo>
                  <a:pt x="17" y="92"/>
                  <a:pt x="16" y="92"/>
                  <a:pt x="15" y="91"/>
                </a:cubicBezTo>
                <a:cubicBezTo>
                  <a:pt x="13" y="89"/>
                  <a:pt x="12" y="88"/>
                  <a:pt x="11" y="86"/>
                </a:cubicBezTo>
                <a:cubicBezTo>
                  <a:pt x="9" y="83"/>
                  <a:pt x="8" y="83"/>
                  <a:pt x="6" y="82"/>
                </a:cubicBezTo>
                <a:cubicBezTo>
                  <a:pt x="5" y="82"/>
                  <a:pt x="0" y="83"/>
                  <a:pt x="1" y="81"/>
                </a:cubicBezTo>
                <a:cubicBezTo>
                  <a:pt x="1" y="79"/>
                  <a:pt x="2" y="76"/>
                  <a:pt x="2" y="76"/>
                </a:cubicBezTo>
                <a:cubicBezTo>
                  <a:pt x="2" y="76"/>
                  <a:pt x="2" y="76"/>
                  <a:pt x="5" y="75"/>
                </a:cubicBezTo>
                <a:cubicBezTo>
                  <a:pt x="8" y="75"/>
                  <a:pt x="9" y="74"/>
                  <a:pt x="9" y="74"/>
                </a:cubicBezTo>
                <a:cubicBezTo>
                  <a:pt x="9" y="74"/>
                  <a:pt x="10" y="70"/>
                  <a:pt x="10" y="68"/>
                </a:cubicBezTo>
                <a:cubicBezTo>
                  <a:pt x="10" y="67"/>
                  <a:pt x="11" y="61"/>
                  <a:pt x="11" y="59"/>
                </a:cubicBezTo>
                <a:cubicBezTo>
                  <a:pt x="10" y="57"/>
                  <a:pt x="15" y="52"/>
                  <a:pt x="15" y="48"/>
                </a:cubicBezTo>
                <a:cubicBezTo>
                  <a:pt x="15" y="45"/>
                  <a:pt x="15" y="43"/>
                  <a:pt x="15" y="43"/>
                </a:cubicBezTo>
                <a:cubicBezTo>
                  <a:pt x="15" y="43"/>
                  <a:pt x="17" y="41"/>
                  <a:pt x="19" y="40"/>
                </a:cubicBezTo>
                <a:cubicBezTo>
                  <a:pt x="21" y="39"/>
                  <a:pt x="22" y="39"/>
                  <a:pt x="22" y="37"/>
                </a:cubicBezTo>
                <a:cubicBezTo>
                  <a:pt x="23" y="35"/>
                  <a:pt x="24" y="34"/>
                  <a:pt x="25" y="32"/>
                </a:cubicBezTo>
                <a:cubicBezTo>
                  <a:pt x="26" y="29"/>
                  <a:pt x="27" y="27"/>
                  <a:pt x="27" y="24"/>
                </a:cubicBezTo>
                <a:cubicBezTo>
                  <a:pt x="27" y="20"/>
                  <a:pt x="31" y="18"/>
                  <a:pt x="32" y="16"/>
                </a:cubicBezTo>
                <a:cubicBezTo>
                  <a:pt x="33" y="13"/>
                  <a:pt x="36" y="9"/>
                  <a:pt x="36" y="9"/>
                </a:cubicBezTo>
                <a:cubicBezTo>
                  <a:pt x="41" y="7"/>
                  <a:pt x="41" y="7"/>
                  <a:pt x="41" y="7"/>
                </a:cubicBezTo>
                <a:cubicBezTo>
                  <a:pt x="41" y="7"/>
                  <a:pt x="45" y="6"/>
                  <a:pt x="45" y="7"/>
                </a:cubicBezTo>
                <a:cubicBezTo>
                  <a:pt x="46" y="9"/>
                  <a:pt x="47" y="10"/>
                  <a:pt x="47" y="10"/>
                </a:cubicBezTo>
                <a:cubicBezTo>
                  <a:pt x="49" y="2"/>
                  <a:pt x="49" y="2"/>
                  <a:pt x="49" y="2"/>
                </a:cubicBezTo>
                <a:cubicBezTo>
                  <a:pt x="49" y="2"/>
                  <a:pt x="50" y="0"/>
                  <a:pt x="52" y="2"/>
                </a:cubicBezTo>
                <a:cubicBezTo>
                  <a:pt x="54" y="3"/>
                  <a:pt x="56" y="7"/>
                  <a:pt x="57" y="7"/>
                </a:cubicBezTo>
                <a:cubicBezTo>
                  <a:pt x="59" y="7"/>
                  <a:pt x="60" y="5"/>
                  <a:pt x="61" y="7"/>
                </a:cubicBezTo>
                <a:cubicBezTo>
                  <a:pt x="62" y="9"/>
                  <a:pt x="68" y="9"/>
                  <a:pt x="71" y="10"/>
                </a:cubicBezTo>
                <a:cubicBezTo>
                  <a:pt x="73" y="11"/>
                  <a:pt x="74" y="14"/>
                  <a:pt x="77" y="17"/>
                </a:cubicBezTo>
                <a:cubicBezTo>
                  <a:pt x="79" y="19"/>
                  <a:pt x="79" y="22"/>
                  <a:pt x="80" y="24"/>
                </a:cubicBezTo>
                <a:cubicBezTo>
                  <a:pt x="81" y="25"/>
                  <a:pt x="84" y="27"/>
                  <a:pt x="84" y="27"/>
                </a:cubicBezTo>
                <a:cubicBezTo>
                  <a:pt x="84" y="27"/>
                  <a:pt x="79" y="33"/>
                  <a:pt x="80" y="36"/>
                </a:cubicBezTo>
                <a:cubicBezTo>
                  <a:pt x="80" y="38"/>
                  <a:pt x="77" y="41"/>
                  <a:pt x="78" y="43"/>
                </a:cubicBezTo>
                <a:cubicBezTo>
                  <a:pt x="78" y="45"/>
                  <a:pt x="81" y="46"/>
                  <a:pt x="83" y="46"/>
                </a:cubicBezTo>
                <a:cubicBezTo>
                  <a:pt x="85" y="46"/>
                  <a:pt x="86" y="45"/>
                  <a:pt x="86" y="45"/>
                </a:cubicBezTo>
                <a:lnTo>
                  <a:pt x="89" y="45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8" name="Google Shape;558;p102"/>
          <p:cNvSpPr/>
          <p:nvPr/>
        </p:nvSpPr>
        <p:spPr>
          <a:xfrm>
            <a:off x="6784974" y="2761908"/>
            <a:ext cx="164946" cy="88390"/>
          </a:xfrm>
          <a:custGeom>
            <a:avLst/>
            <a:gdLst/>
            <a:ahLst/>
            <a:cxnLst/>
            <a:rect l="l" t="t" r="r" b="b"/>
            <a:pathLst>
              <a:path w="57" h="32" extrusionOk="0">
                <a:moveTo>
                  <a:pt x="54" y="11"/>
                </a:moveTo>
                <a:cubicBezTo>
                  <a:pt x="55" y="10"/>
                  <a:pt x="55" y="10"/>
                  <a:pt x="55" y="10"/>
                </a:cubicBezTo>
                <a:cubicBezTo>
                  <a:pt x="55" y="10"/>
                  <a:pt x="57" y="8"/>
                  <a:pt x="57" y="6"/>
                </a:cubicBezTo>
                <a:cubicBezTo>
                  <a:pt x="57" y="5"/>
                  <a:pt x="55" y="3"/>
                  <a:pt x="55" y="3"/>
                </a:cubicBezTo>
                <a:cubicBezTo>
                  <a:pt x="50" y="2"/>
                  <a:pt x="51" y="2"/>
                  <a:pt x="48" y="0"/>
                </a:cubicBezTo>
                <a:cubicBezTo>
                  <a:pt x="47" y="0"/>
                  <a:pt x="46" y="0"/>
                  <a:pt x="46" y="0"/>
                </a:cubicBezTo>
                <a:cubicBezTo>
                  <a:pt x="45" y="0"/>
                  <a:pt x="45" y="1"/>
                  <a:pt x="45" y="3"/>
                </a:cubicBezTo>
                <a:cubicBezTo>
                  <a:pt x="43" y="3"/>
                  <a:pt x="39" y="3"/>
                  <a:pt x="37" y="3"/>
                </a:cubicBezTo>
                <a:cubicBezTo>
                  <a:pt x="36" y="3"/>
                  <a:pt x="36" y="1"/>
                  <a:pt x="35" y="1"/>
                </a:cubicBezTo>
                <a:cubicBezTo>
                  <a:pt x="33" y="1"/>
                  <a:pt x="34" y="3"/>
                  <a:pt x="33" y="4"/>
                </a:cubicBezTo>
                <a:cubicBezTo>
                  <a:pt x="26" y="3"/>
                  <a:pt x="23" y="6"/>
                  <a:pt x="18" y="7"/>
                </a:cubicBezTo>
                <a:cubicBezTo>
                  <a:pt x="18" y="12"/>
                  <a:pt x="17" y="14"/>
                  <a:pt x="18" y="19"/>
                </a:cubicBezTo>
                <a:cubicBezTo>
                  <a:pt x="19" y="19"/>
                  <a:pt x="20" y="19"/>
                  <a:pt x="21" y="19"/>
                </a:cubicBezTo>
                <a:cubicBezTo>
                  <a:pt x="21" y="22"/>
                  <a:pt x="21" y="24"/>
                  <a:pt x="20" y="25"/>
                </a:cubicBezTo>
                <a:cubicBezTo>
                  <a:pt x="20" y="25"/>
                  <a:pt x="24" y="25"/>
                  <a:pt x="26" y="25"/>
                </a:cubicBezTo>
                <a:cubicBezTo>
                  <a:pt x="27" y="25"/>
                  <a:pt x="28" y="24"/>
                  <a:pt x="28" y="24"/>
                </a:cubicBezTo>
                <a:cubicBezTo>
                  <a:pt x="28" y="24"/>
                  <a:pt x="31" y="24"/>
                  <a:pt x="34" y="25"/>
                </a:cubicBezTo>
                <a:cubicBezTo>
                  <a:pt x="37" y="26"/>
                  <a:pt x="37" y="28"/>
                  <a:pt x="37" y="28"/>
                </a:cubicBezTo>
                <a:cubicBezTo>
                  <a:pt x="39" y="28"/>
                  <a:pt x="39" y="28"/>
                  <a:pt x="39" y="28"/>
                </a:cubicBezTo>
                <a:cubicBezTo>
                  <a:pt x="42" y="32"/>
                  <a:pt x="42" y="32"/>
                  <a:pt x="42" y="32"/>
                </a:cubicBezTo>
                <a:cubicBezTo>
                  <a:pt x="46" y="31"/>
                  <a:pt x="46" y="31"/>
                  <a:pt x="46" y="31"/>
                </a:cubicBezTo>
                <a:cubicBezTo>
                  <a:pt x="46" y="31"/>
                  <a:pt x="46" y="26"/>
                  <a:pt x="48" y="26"/>
                </a:cubicBezTo>
                <a:cubicBezTo>
                  <a:pt x="50" y="25"/>
                  <a:pt x="52" y="22"/>
                  <a:pt x="52" y="22"/>
                </a:cubicBezTo>
                <a:cubicBezTo>
                  <a:pt x="52" y="20"/>
                  <a:pt x="52" y="20"/>
                  <a:pt x="52" y="20"/>
                </a:cubicBezTo>
                <a:cubicBezTo>
                  <a:pt x="52" y="19"/>
                  <a:pt x="50" y="19"/>
                  <a:pt x="50" y="18"/>
                </a:cubicBezTo>
                <a:cubicBezTo>
                  <a:pt x="49" y="15"/>
                  <a:pt x="49" y="14"/>
                  <a:pt x="49" y="11"/>
                </a:cubicBezTo>
                <a:cubicBezTo>
                  <a:pt x="49" y="11"/>
                  <a:pt x="50" y="10"/>
                  <a:pt x="51" y="10"/>
                </a:cubicBezTo>
                <a:cubicBezTo>
                  <a:pt x="51" y="10"/>
                  <a:pt x="53" y="10"/>
                  <a:pt x="53" y="10"/>
                </a:cubicBezTo>
                <a:cubicBezTo>
                  <a:pt x="53" y="10"/>
                  <a:pt x="53" y="11"/>
                  <a:pt x="54" y="11"/>
                </a:cubicBezTo>
                <a:close/>
                <a:moveTo>
                  <a:pt x="3" y="25"/>
                </a:moveTo>
                <a:cubicBezTo>
                  <a:pt x="2" y="25"/>
                  <a:pt x="3" y="27"/>
                  <a:pt x="3" y="27"/>
                </a:cubicBezTo>
                <a:cubicBezTo>
                  <a:pt x="3" y="27"/>
                  <a:pt x="5" y="24"/>
                  <a:pt x="3" y="25"/>
                </a:cubicBezTo>
                <a:close/>
                <a:moveTo>
                  <a:pt x="7" y="15"/>
                </a:moveTo>
                <a:cubicBezTo>
                  <a:pt x="6" y="15"/>
                  <a:pt x="3" y="17"/>
                  <a:pt x="2" y="18"/>
                </a:cubicBezTo>
                <a:cubicBezTo>
                  <a:pt x="1" y="17"/>
                  <a:pt x="2" y="17"/>
                  <a:pt x="1" y="16"/>
                </a:cubicBezTo>
                <a:cubicBezTo>
                  <a:pt x="1" y="21"/>
                  <a:pt x="0" y="21"/>
                  <a:pt x="3" y="23"/>
                </a:cubicBezTo>
                <a:cubicBezTo>
                  <a:pt x="4" y="23"/>
                  <a:pt x="4" y="24"/>
                  <a:pt x="5" y="24"/>
                </a:cubicBezTo>
                <a:cubicBezTo>
                  <a:pt x="5" y="24"/>
                  <a:pt x="6" y="23"/>
                  <a:pt x="7" y="22"/>
                </a:cubicBezTo>
                <a:cubicBezTo>
                  <a:pt x="8" y="22"/>
                  <a:pt x="9" y="23"/>
                  <a:pt x="10" y="22"/>
                </a:cubicBezTo>
                <a:cubicBezTo>
                  <a:pt x="11" y="22"/>
                  <a:pt x="13" y="17"/>
                  <a:pt x="13" y="16"/>
                </a:cubicBezTo>
                <a:cubicBezTo>
                  <a:pt x="11" y="16"/>
                  <a:pt x="9" y="14"/>
                  <a:pt x="7" y="15"/>
                </a:cubicBezTo>
                <a:close/>
                <a:moveTo>
                  <a:pt x="8" y="6"/>
                </a:moveTo>
                <a:cubicBezTo>
                  <a:pt x="7" y="6"/>
                  <a:pt x="7" y="8"/>
                  <a:pt x="7" y="8"/>
                </a:cubicBezTo>
                <a:cubicBezTo>
                  <a:pt x="6" y="8"/>
                  <a:pt x="4" y="8"/>
                  <a:pt x="4" y="9"/>
                </a:cubicBezTo>
                <a:cubicBezTo>
                  <a:pt x="5" y="9"/>
                  <a:pt x="5" y="9"/>
                  <a:pt x="6" y="10"/>
                </a:cubicBezTo>
                <a:cubicBezTo>
                  <a:pt x="6" y="10"/>
                  <a:pt x="6" y="12"/>
                  <a:pt x="7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12"/>
                  <a:pt x="8" y="11"/>
                  <a:pt x="9" y="11"/>
                </a:cubicBezTo>
                <a:cubicBezTo>
                  <a:pt x="10" y="9"/>
                  <a:pt x="10" y="9"/>
                  <a:pt x="10" y="9"/>
                </a:cubicBezTo>
                <a:lnTo>
                  <a:pt x="8" y="6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9" name="Google Shape;559;p102"/>
          <p:cNvSpPr/>
          <p:nvPr/>
        </p:nvSpPr>
        <p:spPr>
          <a:xfrm>
            <a:off x="7150951" y="4167479"/>
            <a:ext cx="159792" cy="173314"/>
          </a:xfrm>
          <a:custGeom>
            <a:avLst/>
            <a:gdLst/>
            <a:ahLst/>
            <a:cxnLst/>
            <a:rect l="l" t="t" r="r" b="b"/>
            <a:pathLst>
              <a:path w="56" h="62" extrusionOk="0">
                <a:moveTo>
                  <a:pt x="17" y="0"/>
                </a:moveTo>
                <a:cubicBezTo>
                  <a:pt x="15" y="3"/>
                  <a:pt x="15" y="3"/>
                  <a:pt x="15" y="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9" y="2"/>
                  <a:pt x="8" y="4"/>
                </a:cubicBezTo>
                <a:cubicBezTo>
                  <a:pt x="7" y="6"/>
                  <a:pt x="7" y="8"/>
                  <a:pt x="6" y="8"/>
                </a:cubicBezTo>
                <a:cubicBezTo>
                  <a:pt x="4" y="8"/>
                  <a:pt x="5" y="9"/>
                  <a:pt x="5" y="12"/>
                </a:cubicBezTo>
                <a:cubicBezTo>
                  <a:pt x="4" y="15"/>
                  <a:pt x="4" y="15"/>
                  <a:pt x="4" y="19"/>
                </a:cubicBezTo>
                <a:cubicBezTo>
                  <a:pt x="4" y="22"/>
                  <a:pt x="3" y="23"/>
                  <a:pt x="2" y="26"/>
                </a:cubicBezTo>
                <a:cubicBezTo>
                  <a:pt x="1" y="29"/>
                  <a:pt x="0" y="32"/>
                  <a:pt x="1" y="34"/>
                </a:cubicBezTo>
                <a:cubicBezTo>
                  <a:pt x="2" y="35"/>
                  <a:pt x="1" y="44"/>
                  <a:pt x="1" y="44"/>
                </a:cubicBezTo>
                <a:cubicBezTo>
                  <a:pt x="6" y="42"/>
                  <a:pt x="6" y="42"/>
                  <a:pt x="6" y="42"/>
                </a:cubicBezTo>
                <a:cubicBezTo>
                  <a:pt x="6" y="42"/>
                  <a:pt x="10" y="41"/>
                  <a:pt x="10" y="42"/>
                </a:cubicBezTo>
                <a:cubicBezTo>
                  <a:pt x="11" y="44"/>
                  <a:pt x="12" y="45"/>
                  <a:pt x="12" y="45"/>
                </a:cubicBezTo>
                <a:cubicBezTo>
                  <a:pt x="14" y="37"/>
                  <a:pt x="14" y="37"/>
                  <a:pt x="14" y="37"/>
                </a:cubicBezTo>
                <a:cubicBezTo>
                  <a:pt x="14" y="37"/>
                  <a:pt x="15" y="35"/>
                  <a:pt x="17" y="37"/>
                </a:cubicBezTo>
                <a:cubicBezTo>
                  <a:pt x="19" y="38"/>
                  <a:pt x="21" y="42"/>
                  <a:pt x="22" y="42"/>
                </a:cubicBezTo>
                <a:cubicBezTo>
                  <a:pt x="24" y="42"/>
                  <a:pt x="25" y="40"/>
                  <a:pt x="26" y="42"/>
                </a:cubicBezTo>
                <a:cubicBezTo>
                  <a:pt x="27" y="44"/>
                  <a:pt x="33" y="44"/>
                  <a:pt x="36" y="45"/>
                </a:cubicBezTo>
                <a:cubicBezTo>
                  <a:pt x="38" y="46"/>
                  <a:pt x="39" y="49"/>
                  <a:pt x="42" y="52"/>
                </a:cubicBezTo>
                <a:cubicBezTo>
                  <a:pt x="44" y="54"/>
                  <a:pt x="44" y="57"/>
                  <a:pt x="45" y="59"/>
                </a:cubicBezTo>
                <a:cubicBezTo>
                  <a:pt x="46" y="60"/>
                  <a:pt x="49" y="62"/>
                  <a:pt x="49" y="62"/>
                </a:cubicBezTo>
                <a:cubicBezTo>
                  <a:pt x="51" y="60"/>
                  <a:pt x="51" y="60"/>
                  <a:pt x="51" y="60"/>
                </a:cubicBezTo>
                <a:cubicBezTo>
                  <a:pt x="53" y="62"/>
                  <a:pt x="53" y="62"/>
                  <a:pt x="53" y="62"/>
                </a:cubicBezTo>
                <a:cubicBezTo>
                  <a:pt x="56" y="59"/>
                  <a:pt x="56" y="59"/>
                  <a:pt x="56" y="59"/>
                </a:cubicBezTo>
                <a:cubicBezTo>
                  <a:pt x="55" y="58"/>
                  <a:pt x="55" y="58"/>
                  <a:pt x="55" y="58"/>
                </a:cubicBezTo>
                <a:cubicBezTo>
                  <a:pt x="52" y="55"/>
                  <a:pt x="52" y="55"/>
                  <a:pt x="52" y="55"/>
                </a:cubicBezTo>
                <a:cubicBezTo>
                  <a:pt x="50" y="55"/>
                  <a:pt x="50" y="55"/>
                  <a:pt x="50" y="55"/>
                </a:cubicBezTo>
                <a:cubicBezTo>
                  <a:pt x="49" y="53"/>
                  <a:pt x="50" y="50"/>
                  <a:pt x="49" y="49"/>
                </a:cubicBezTo>
                <a:cubicBezTo>
                  <a:pt x="49" y="48"/>
                  <a:pt x="44" y="46"/>
                  <a:pt x="43" y="45"/>
                </a:cubicBezTo>
                <a:cubicBezTo>
                  <a:pt x="42" y="44"/>
                  <a:pt x="42" y="39"/>
                  <a:pt x="40" y="38"/>
                </a:cubicBezTo>
                <a:cubicBezTo>
                  <a:pt x="39" y="37"/>
                  <a:pt x="38" y="37"/>
                  <a:pt x="35" y="37"/>
                </a:cubicBezTo>
                <a:cubicBezTo>
                  <a:pt x="35" y="33"/>
                  <a:pt x="35" y="33"/>
                  <a:pt x="35" y="33"/>
                </a:cubicBezTo>
                <a:cubicBezTo>
                  <a:pt x="33" y="32"/>
                  <a:pt x="32" y="34"/>
                  <a:pt x="31" y="33"/>
                </a:cubicBezTo>
                <a:cubicBezTo>
                  <a:pt x="30" y="32"/>
                  <a:pt x="31" y="29"/>
                  <a:pt x="30" y="29"/>
                </a:cubicBezTo>
                <a:cubicBezTo>
                  <a:pt x="29" y="28"/>
                  <a:pt x="29" y="30"/>
                  <a:pt x="29" y="30"/>
                </a:cubicBezTo>
                <a:cubicBezTo>
                  <a:pt x="28" y="29"/>
                  <a:pt x="26" y="28"/>
                  <a:pt x="25" y="27"/>
                </a:cubicBezTo>
                <a:cubicBezTo>
                  <a:pt x="25" y="26"/>
                  <a:pt x="25" y="25"/>
                  <a:pt x="25" y="23"/>
                </a:cubicBezTo>
                <a:cubicBezTo>
                  <a:pt x="25" y="21"/>
                  <a:pt x="23" y="16"/>
                  <a:pt x="23" y="13"/>
                </a:cubicBezTo>
                <a:cubicBezTo>
                  <a:pt x="23" y="11"/>
                  <a:pt x="24" y="12"/>
                  <a:pt x="24" y="10"/>
                </a:cubicBezTo>
                <a:cubicBezTo>
                  <a:pt x="24" y="9"/>
                  <a:pt x="22" y="7"/>
                  <a:pt x="21" y="5"/>
                </a:cubicBezTo>
                <a:cubicBezTo>
                  <a:pt x="21" y="4"/>
                  <a:pt x="22" y="3"/>
                  <a:pt x="21" y="2"/>
                </a:cubicBezTo>
                <a:cubicBezTo>
                  <a:pt x="20" y="0"/>
                  <a:pt x="19" y="1"/>
                  <a:pt x="18" y="0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0" name="Google Shape;560;p102"/>
          <p:cNvSpPr/>
          <p:nvPr/>
        </p:nvSpPr>
        <p:spPr>
          <a:xfrm>
            <a:off x="6446491" y="4593830"/>
            <a:ext cx="80755" cy="74525"/>
          </a:xfrm>
          <a:custGeom>
            <a:avLst/>
            <a:gdLst/>
            <a:ahLst/>
            <a:cxnLst/>
            <a:rect l="l" t="t" r="r" b="b"/>
            <a:pathLst>
              <a:path w="29" h="27" extrusionOk="0">
                <a:moveTo>
                  <a:pt x="14" y="15"/>
                </a:moveTo>
                <a:cubicBezTo>
                  <a:pt x="14" y="16"/>
                  <a:pt x="14" y="17"/>
                  <a:pt x="14" y="17"/>
                </a:cubicBezTo>
                <a:cubicBezTo>
                  <a:pt x="12" y="18"/>
                  <a:pt x="12" y="18"/>
                  <a:pt x="12" y="18"/>
                </a:cubicBezTo>
                <a:cubicBezTo>
                  <a:pt x="12" y="19"/>
                  <a:pt x="13" y="21"/>
                  <a:pt x="13" y="23"/>
                </a:cubicBezTo>
                <a:cubicBezTo>
                  <a:pt x="13" y="24"/>
                  <a:pt x="12" y="25"/>
                  <a:pt x="11" y="26"/>
                </a:cubicBezTo>
                <a:cubicBezTo>
                  <a:pt x="28" y="27"/>
                  <a:pt x="28" y="27"/>
                  <a:pt x="28" y="27"/>
                </a:cubicBezTo>
                <a:cubicBezTo>
                  <a:pt x="29" y="15"/>
                  <a:pt x="29" y="15"/>
                  <a:pt x="29" y="15"/>
                </a:cubicBezTo>
                <a:lnTo>
                  <a:pt x="14" y="15"/>
                </a:lnTo>
                <a:close/>
                <a:moveTo>
                  <a:pt x="2" y="0"/>
                </a:moveTo>
                <a:cubicBezTo>
                  <a:pt x="2" y="1"/>
                  <a:pt x="1" y="2"/>
                  <a:pt x="0" y="3"/>
                </a:cubicBezTo>
                <a:cubicBezTo>
                  <a:pt x="2" y="4"/>
                  <a:pt x="2" y="4"/>
                  <a:pt x="2" y="4"/>
                </a:cubicBezTo>
                <a:cubicBezTo>
                  <a:pt x="2" y="4"/>
                  <a:pt x="3" y="4"/>
                  <a:pt x="4" y="4"/>
                </a:cubicBezTo>
                <a:cubicBezTo>
                  <a:pt x="4" y="3"/>
                  <a:pt x="4" y="2"/>
                  <a:pt x="4" y="0"/>
                </a:cubicBezTo>
                <a:cubicBezTo>
                  <a:pt x="4" y="0"/>
                  <a:pt x="3" y="1"/>
                  <a:pt x="2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1" name="Google Shape;561;p102"/>
          <p:cNvSpPr/>
          <p:nvPr/>
        </p:nvSpPr>
        <p:spPr>
          <a:xfrm>
            <a:off x="3997251" y="4271467"/>
            <a:ext cx="73882" cy="43328"/>
          </a:xfrm>
          <a:custGeom>
            <a:avLst/>
            <a:gdLst/>
            <a:ahLst/>
            <a:cxnLst/>
            <a:rect l="l" t="t" r="r" b="b"/>
            <a:pathLst>
              <a:path w="26" h="15" extrusionOk="0">
                <a:moveTo>
                  <a:pt x="1" y="8"/>
                </a:moveTo>
                <a:cubicBezTo>
                  <a:pt x="3" y="9"/>
                  <a:pt x="5" y="9"/>
                  <a:pt x="6" y="11"/>
                </a:cubicBezTo>
                <a:cubicBezTo>
                  <a:pt x="7" y="11"/>
                  <a:pt x="6" y="13"/>
                  <a:pt x="7" y="13"/>
                </a:cubicBezTo>
                <a:cubicBezTo>
                  <a:pt x="9" y="14"/>
                  <a:pt x="12" y="12"/>
                  <a:pt x="14" y="13"/>
                </a:cubicBezTo>
                <a:cubicBezTo>
                  <a:pt x="16" y="13"/>
                  <a:pt x="20" y="14"/>
                  <a:pt x="23" y="15"/>
                </a:cubicBezTo>
                <a:cubicBezTo>
                  <a:pt x="24" y="15"/>
                  <a:pt x="25" y="13"/>
                  <a:pt x="25" y="13"/>
                </a:cubicBezTo>
                <a:cubicBezTo>
                  <a:pt x="25" y="12"/>
                  <a:pt x="26" y="12"/>
                  <a:pt x="26" y="13"/>
                </a:cubicBezTo>
                <a:cubicBezTo>
                  <a:pt x="26" y="7"/>
                  <a:pt x="26" y="7"/>
                  <a:pt x="26" y="7"/>
                </a:cubicBezTo>
                <a:cubicBezTo>
                  <a:pt x="26" y="7"/>
                  <a:pt x="26" y="6"/>
                  <a:pt x="23" y="5"/>
                </a:cubicBezTo>
                <a:cubicBezTo>
                  <a:pt x="19" y="5"/>
                  <a:pt x="20" y="4"/>
                  <a:pt x="18" y="3"/>
                </a:cubicBezTo>
                <a:cubicBezTo>
                  <a:pt x="16" y="2"/>
                  <a:pt x="9" y="0"/>
                  <a:pt x="9" y="0"/>
                </a:cubicBezTo>
                <a:cubicBezTo>
                  <a:pt x="9" y="0"/>
                  <a:pt x="5" y="3"/>
                  <a:pt x="5" y="5"/>
                </a:cubicBezTo>
                <a:cubicBezTo>
                  <a:pt x="6" y="7"/>
                  <a:pt x="0" y="5"/>
                  <a:pt x="1" y="8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2" name="Google Shape;562;p102"/>
          <p:cNvSpPr/>
          <p:nvPr/>
        </p:nvSpPr>
        <p:spPr>
          <a:xfrm>
            <a:off x="6853702" y="3744595"/>
            <a:ext cx="278348" cy="305032"/>
          </a:xfrm>
          <a:custGeom>
            <a:avLst/>
            <a:gdLst/>
            <a:ahLst/>
            <a:cxnLst/>
            <a:rect l="l" t="t" r="r" b="b"/>
            <a:pathLst>
              <a:path w="97" h="111" extrusionOk="0">
                <a:moveTo>
                  <a:pt x="96" y="96"/>
                </a:moveTo>
                <a:cubicBezTo>
                  <a:pt x="96" y="96"/>
                  <a:pt x="95" y="95"/>
                  <a:pt x="95" y="95"/>
                </a:cubicBezTo>
                <a:cubicBezTo>
                  <a:pt x="94" y="92"/>
                  <a:pt x="95" y="90"/>
                  <a:pt x="94" y="87"/>
                </a:cubicBezTo>
                <a:cubicBezTo>
                  <a:pt x="96" y="87"/>
                  <a:pt x="96" y="87"/>
                  <a:pt x="97" y="87"/>
                </a:cubicBezTo>
                <a:cubicBezTo>
                  <a:pt x="97" y="86"/>
                  <a:pt x="95" y="85"/>
                  <a:pt x="94" y="85"/>
                </a:cubicBezTo>
                <a:cubicBezTo>
                  <a:pt x="94" y="84"/>
                  <a:pt x="94" y="83"/>
                  <a:pt x="94" y="82"/>
                </a:cubicBezTo>
                <a:cubicBezTo>
                  <a:pt x="94" y="80"/>
                  <a:pt x="90" y="73"/>
                  <a:pt x="89" y="71"/>
                </a:cubicBezTo>
                <a:cubicBezTo>
                  <a:pt x="88" y="70"/>
                  <a:pt x="87" y="71"/>
                  <a:pt x="86" y="70"/>
                </a:cubicBezTo>
                <a:cubicBezTo>
                  <a:pt x="86" y="70"/>
                  <a:pt x="84" y="65"/>
                  <a:pt x="84" y="65"/>
                </a:cubicBezTo>
                <a:cubicBezTo>
                  <a:pt x="82" y="62"/>
                  <a:pt x="83" y="60"/>
                  <a:pt x="82" y="57"/>
                </a:cubicBezTo>
                <a:cubicBezTo>
                  <a:pt x="81" y="56"/>
                  <a:pt x="80" y="54"/>
                  <a:pt x="80" y="53"/>
                </a:cubicBezTo>
                <a:cubicBezTo>
                  <a:pt x="80" y="53"/>
                  <a:pt x="80" y="52"/>
                  <a:pt x="80" y="51"/>
                </a:cubicBezTo>
                <a:cubicBezTo>
                  <a:pt x="79" y="51"/>
                  <a:pt x="78" y="51"/>
                  <a:pt x="78" y="51"/>
                </a:cubicBezTo>
                <a:cubicBezTo>
                  <a:pt x="76" y="48"/>
                  <a:pt x="78" y="45"/>
                  <a:pt x="77" y="43"/>
                </a:cubicBezTo>
                <a:cubicBezTo>
                  <a:pt x="77" y="43"/>
                  <a:pt x="75" y="42"/>
                  <a:pt x="75" y="42"/>
                </a:cubicBezTo>
                <a:cubicBezTo>
                  <a:pt x="74" y="40"/>
                  <a:pt x="70" y="35"/>
                  <a:pt x="70" y="33"/>
                </a:cubicBezTo>
                <a:cubicBezTo>
                  <a:pt x="70" y="32"/>
                  <a:pt x="71" y="30"/>
                  <a:pt x="70" y="29"/>
                </a:cubicBezTo>
                <a:cubicBezTo>
                  <a:pt x="72" y="31"/>
                  <a:pt x="74" y="32"/>
                  <a:pt x="75" y="34"/>
                </a:cubicBezTo>
                <a:cubicBezTo>
                  <a:pt x="76" y="36"/>
                  <a:pt x="75" y="38"/>
                  <a:pt x="76" y="40"/>
                </a:cubicBezTo>
                <a:cubicBezTo>
                  <a:pt x="77" y="41"/>
                  <a:pt x="81" y="45"/>
                  <a:pt x="82" y="45"/>
                </a:cubicBezTo>
                <a:cubicBezTo>
                  <a:pt x="83" y="46"/>
                  <a:pt x="84" y="45"/>
                  <a:pt x="85" y="45"/>
                </a:cubicBezTo>
                <a:cubicBezTo>
                  <a:pt x="86" y="43"/>
                  <a:pt x="87" y="40"/>
                  <a:pt x="88" y="38"/>
                </a:cubicBezTo>
                <a:cubicBezTo>
                  <a:pt x="89" y="35"/>
                  <a:pt x="89" y="34"/>
                  <a:pt x="90" y="32"/>
                </a:cubicBezTo>
                <a:cubicBezTo>
                  <a:pt x="89" y="31"/>
                  <a:pt x="89" y="29"/>
                  <a:pt x="89" y="29"/>
                </a:cubicBezTo>
                <a:cubicBezTo>
                  <a:pt x="87" y="14"/>
                  <a:pt x="87" y="14"/>
                  <a:pt x="87" y="14"/>
                </a:cubicBezTo>
                <a:cubicBezTo>
                  <a:pt x="86" y="9"/>
                  <a:pt x="86" y="9"/>
                  <a:pt x="86" y="9"/>
                </a:cubicBezTo>
                <a:cubicBezTo>
                  <a:pt x="85" y="8"/>
                  <a:pt x="85" y="8"/>
                  <a:pt x="85" y="8"/>
                </a:cubicBezTo>
                <a:cubicBezTo>
                  <a:pt x="84" y="9"/>
                  <a:pt x="82" y="8"/>
                  <a:pt x="80" y="8"/>
                </a:cubicBezTo>
                <a:cubicBezTo>
                  <a:pt x="79" y="8"/>
                  <a:pt x="76" y="11"/>
                  <a:pt x="74" y="10"/>
                </a:cubicBezTo>
                <a:cubicBezTo>
                  <a:pt x="74" y="10"/>
                  <a:pt x="75" y="8"/>
                  <a:pt x="71" y="8"/>
                </a:cubicBezTo>
                <a:cubicBezTo>
                  <a:pt x="70" y="8"/>
                  <a:pt x="67" y="11"/>
                  <a:pt x="66" y="11"/>
                </a:cubicBezTo>
                <a:cubicBezTo>
                  <a:pt x="66" y="9"/>
                  <a:pt x="66" y="9"/>
                  <a:pt x="66" y="9"/>
                </a:cubicBezTo>
                <a:cubicBezTo>
                  <a:pt x="65" y="9"/>
                  <a:pt x="63" y="10"/>
                  <a:pt x="62" y="9"/>
                </a:cubicBezTo>
                <a:cubicBezTo>
                  <a:pt x="63" y="9"/>
                  <a:pt x="62" y="8"/>
                  <a:pt x="63" y="8"/>
                </a:cubicBezTo>
                <a:cubicBezTo>
                  <a:pt x="63" y="7"/>
                  <a:pt x="63" y="7"/>
                  <a:pt x="63" y="7"/>
                </a:cubicBezTo>
                <a:cubicBezTo>
                  <a:pt x="62" y="7"/>
                  <a:pt x="61" y="6"/>
                  <a:pt x="61" y="6"/>
                </a:cubicBezTo>
                <a:cubicBezTo>
                  <a:pt x="59" y="6"/>
                  <a:pt x="57" y="7"/>
                  <a:pt x="59" y="8"/>
                </a:cubicBezTo>
                <a:cubicBezTo>
                  <a:pt x="60" y="9"/>
                  <a:pt x="59" y="11"/>
                  <a:pt x="59" y="11"/>
                </a:cubicBezTo>
                <a:cubicBezTo>
                  <a:pt x="57" y="11"/>
                  <a:pt x="57" y="11"/>
                  <a:pt x="57" y="11"/>
                </a:cubicBezTo>
                <a:cubicBezTo>
                  <a:pt x="56" y="10"/>
                  <a:pt x="58" y="8"/>
                  <a:pt x="58" y="8"/>
                </a:cubicBezTo>
                <a:cubicBezTo>
                  <a:pt x="54" y="9"/>
                  <a:pt x="54" y="9"/>
                  <a:pt x="50" y="8"/>
                </a:cubicBezTo>
                <a:cubicBezTo>
                  <a:pt x="50" y="8"/>
                  <a:pt x="49" y="12"/>
                  <a:pt x="49" y="12"/>
                </a:cubicBezTo>
                <a:cubicBezTo>
                  <a:pt x="47" y="12"/>
                  <a:pt x="47" y="11"/>
                  <a:pt x="44" y="11"/>
                </a:cubicBezTo>
                <a:cubicBezTo>
                  <a:pt x="43" y="11"/>
                  <a:pt x="42" y="13"/>
                  <a:pt x="39" y="12"/>
                </a:cubicBezTo>
                <a:cubicBezTo>
                  <a:pt x="39" y="12"/>
                  <a:pt x="37" y="10"/>
                  <a:pt x="36" y="9"/>
                </a:cubicBezTo>
                <a:cubicBezTo>
                  <a:pt x="33" y="9"/>
                  <a:pt x="29" y="11"/>
                  <a:pt x="26" y="10"/>
                </a:cubicBezTo>
                <a:cubicBezTo>
                  <a:pt x="25" y="9"/>
                  <a:pt x="25" y="9"/>
                  <a:pt x="25" y="9"/>
                </a:cubicBezTo>
                <a:cubicBezTo>
                  <a:pt x="23" y="8"/>
                  <a:pt x="22" y="8"/>
                  <a:pt x="20" y="7"/>
                </a:cubicBezTo>
                <a:cubicBezTo>
                  <a:pt x="19" y="7"/>
                  <a:pt x="19" y="6"/>
                  <a:pt x="19" y="5"/>
                </a:cubicBezTo>
                <a:cubicBezTo>
                  <a:pt x="15" y="4"/>
                  <a:pt x="11" y="5"/>
                  <a:pt x="7" y="5"/>
                </a:cubicBezTo>
                <a:cubicBezTo>
                  <a:pt x="5" y="1"/>
                  <a:pt x="5" y="1"/>
                  <a:pt x="5" y="1"/>
                </a:cubicBezTo>
                <a:cubicBezTo>
                  <a:pt x="4" y="0"/>
                  <a:pt x="2" y="1"/>
                  <a:pt x="1" y="1"/>
                </a:cubicBezTo>
                <a:cubicBezTo>
                  <a:pt x="1" y="1"/>
                  <a:pt x="0" y="6"/>
                  <a:pt x="1" y="8"/>
                </a:cubicBezTo>
                <a:cubicBezTo>
                  <a:pt x="2" y="10"/>
                  <a:pt x="5" y="14"/>
                  <a:pt x="3" y="16"/>
                </a:cubicBezTo>
                <a:cubicBezTo>
                  <a:pt x="1" y="18"/>
                  <a:pt x="1" y="19"/>
                  <a:pt x="1" y="22"/>
                </a:cubicBezTo>
                <a:cubicBezTo>
                  <a:pt x="2" y="26"/>
                  <a:pt x="1" y="26"/>
                  <a:pt x="3" y="28"/>
                </a:cubicBezTo>
                <a:cubicBezTo>
                  <a:pt x="4" y="29"/>
                  <a:pt x="4" y="30"/>
                  <a:pt x="4" y="30"/>
                </a:cubicBezTo>
                <a:cubicBezTo>
                  <a:pt x="5" y="108"/>
                  <a:pt x="5" y="108"/>
                  <a:pt x="5" y="108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9" y="107"/>
                  <a:pt x="69" y="107"/>
                  <a:pt x="69" y="107"/>
                </a:cubicBezTo>
                <a:cubicBezTo>
                  <a:pt x="70" y="109"/>
                  <a:pt x="70" y="109"/>
                  <a:pt x="70" y="109"/>
                </a:cubicBezTo>
                <a:cubicBezTo>
                  <a:pt x="78" y="109"/>
                  <a:pt x="78" y="109"/>
                  <a:pt x="78" y="109"/>
                </a:cubicBezTo>
                <a:cubicBezTo>
                  <a:pt x="79" y="111"/>
                  <a:pt x="79" y="111"/>
                  <a:pt x="79" y="111"/>
                </a:cubicBezTo>
                <a:cubicBezTo>
                  <a:pt x="82" y="110"/>
                  <a:pt x="82" y="110"/>
                  <a:pt x="82" y="110"/>
                </a:cubicBezTo>
                <a:cubicBezTo>
                  <a:pt x="83" y="105"/>
                  <a:pt x="83" y="105"/>
                  <a:pt x="83" y="105"/>
                </a:cubicBezTo>
                <a:cubicBezTo>
                  <a:pt x="86" y="104"/>
                  <a:pt x="86" y="104"/>
                  <a:pt x="86" y="104"/>
                </a:cubicBezTo>
                <a:cubicBezTo>
                  <a:pt x="88" y="98"/>
                  <a:pt x="88" y="98"/>
                  <a:pt x="88" y="98"/>
                </a:cubicBezTo>
                <a:cubicBezTo>
                  <a:pt x="91" y="98"/>
                  <a:pt x="91" y="98"/>
                  <a:pt x="91" y="98"/>
                </a:cubicBezTo>
                <a:lnTo>
                  <a:pt x="96" y="96"/>
                </a:lnTo>
                <a:close/>
                <a:moveTo>
                  <a:pt x="70" y="24"/>
                </a:moveTo>
                <a:cubicBezTo>
                  <a:pt x="69" y="24"/>
                  <a:pt x="70" y="27"/>
                  <a:pt x="70" y="27"/>
                </a:cubicBezTo>
                <a:cubicBezTo>
                  <a:pt x="69" y="27"/>
                  <a:pt x="69" y="24"/>
                  <a:pt x="70" y="24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3" name="Google Shape;563;p102"/>
          <p:cNvSpPr/>
          <p:nvPr/>
        </p:nvSpPr>
        <p:spPr>
          <a:xfrm>
            <a:off x="3933678" y="4668355"/>
            <a:ext cx="431266" cy="199310"/>
          </a:xfrm>
          <a:custGeom>
            <a:avLst/>
            <a:gdLst/>
            <a:ahLst/>
            <a:cxnLst/>
            <a:rect l="l" t="t" r="r" b="b"/>
            <a:pathLst>
              <a:path w="150" h="72" extrusionOk="0">
                <a:moveTo>
                  <a:pt x="10" y="19"/>
                </a:moveTo>
                <a:cubicBezTo>
                  <a:pt x="9" y="19"/>
                  <a:pt x="10" y="20"/>
                  <a:pt x="10" y="20"/>
                </a:cubicBezTo>
                <a:cubicBezTo>
                  <a:pt x="10" y="20"/>
                  <a:pt x="12" y="19"/>
                  <a:pt x="10" y="19"/>
                </a:cubicBezTo>
                <a:close/>
                <a:moveTo>
                  <a:pt x="119" y="0"/>
                </a:moveTo>
                <a:cubicBezTo>
                  <a:pt x="117" y="2"/>
                  <a:pt x="114" y="4"/>
                  <a:pt x="111" y="5"/>
                </a:cubicBezTo>
                <a:cubicBezTo>
                  <a:pt x="111" y="7"/>
                  <a:pt x="111" y="7"/>
                  <a:pt x="111" y="8"/>
                </a:cubicBezTo>
                <a:cubicBezTo>
                  <a:pt x="111" y="8"/>
                  <a:pt x="112" y="12"/>
                  <a:pt x="113" y="14"/>
                </a:cubicBezTo>
                <a:cubicBezTo>
                  <a:pt x="108" y="17"/>
                  <a:pt x="106" y="20"/>
                  <a:pt x="109" y="26"/>
                </a:cubicBezTo>
                <a:cubicBezTo>
                  <a:pt x="109" y="26"/>
                  <a:pt x="108" y="26"/>
                  <a:pt x="107" y="26"/>
                </a:cubicBezTo>
                <a:cubicBezTo>
                  <a:pt x="107" y="27"/>
                  <a:pt x="107" y="27"/>
                  <a:pt x="107" y="27"/>
                </a:cubicBezTo>
                <a:cubicBezTo>
                  <a:pt x="107" y="28"/>
                  <a:pt x="105" y="29"/>
                  <a:pt x="104" y="29"/>
                </a:cubicBezTo>
                <a:cubicBezTo>
                  <a:pt x="104" y="30"/>
                  <a:pt x="104" y="30"/>
                  <a:pt x="104" y="31"/>
                </a:cubicBezTo>
                <a:cubicBezTo>
                  <a:pt x="104" y="31"/>
                  <a:pt x="106" y="32"/>
                  <a:pt x="106" y="32"/>
                </a:cubicBezTo>
                <a:cubicBezTo>
                  <a:pt x="106" y="32"/>
                  <a:pt x="106" y="36"/>
                  <a:pt x="105" y="34"/>
                </a:cubicBezTo>
                <a:cubicBezTo>
                  <a:pt x="105" y="35"/>
                  <a:pt x="104" y="36"/>
                  <a:pt x="103" y="36"/>
                </a:cubicBezTo>
                <a:cubicBezTo>
                  <a:pt x="105" y="40"/>
                  <a:pt x="105" y="40"/>
                  <a:pt x="105" y="40"/>
                </a:cubicBezTo>
                <a:cubicBezTo>
                  <a:pt x="106" y="40"/>
                  <a:pt x="106" y="40"/>
                  <a:pt x="106" y="40"/>
                </a:cubicBezTo>
                <a:cubicBezTo>
                  <a:pt x="106" y="41"/>
                  <a:pt x="106" y="42"/>
                  <a:pt x="106" y="43"/>
                </a:cubicBezTo>
                <a:cubicBezTo>
                  <a:pt x="106" y="43"/>
                  <a:pt x="104" y="43"/>
                  <a:pt x="104" y="43"/>
                </a:cubicBezTo>
                <a:cubicBezTo>
                  <a:pt x="103" y="43"/>
                  <a:pt x="103" y="45"/>
                  <a:pt x="103" y="45"/>
                </a:cubicBezTo>
                <a:cubicBezTo>
                  <a:pt x="104" y="46"/>
                  <a:pt x="105" y="46"/>
                  <a:pt x="107" y="47"/>
                </a:cubicBezTo>
                <a:cubicBezTo>
                  <a:pt x="110" y="49"/>
                  <a:pt x="108" y="49"/>
                  <a:pt x="111" y="47"/>
                </a:cubicBezTo>
                <a:cubicBezTo>
                  <a:pt x="112" y="47"/>
                  <a:pt x="112" y="47"/>
                  <a:pt x="112" y="46"/>
                </a:cubicBezTo>
                <a:cubicBezTo>
                  <a:pt x="112" y="46"/>
                  <a:pt x="113" y="45"/>
                  <a:pt x="113" y="45"/>
                </a:cubicBezTo>
                <a:cubicBezTo>
                  <a:pt x="113" y="45"/>
                  <a:pt x="113" y="48"/>
                  <a:pt x="113" y="48"/>
                </a:cubicBezTo>
                <a:cubicBezTo>
                  <a:pt x="113" y="48"/>
                  <a:pt x="111" y="48"/>
                  <a:pt x="111" y="48"/>
                </a:cubicBezTo>
                <a:cubicBezTo>
                  <a:pt x="110" y="49"/>
                  <a:pt x="110" y="51"/>
                  <a:pt x="110" y="51"/>
                </a:cubicBezTo>
                <a:cubicBezTo>
                  <a:pt x="111" y="50"/>
                  <a:pt x="111" y="52"/>
                  <a:pt x="111" y="52"/>
                </a:cubicBezTo>
                <a:cubicBezTo>
                  <a:pt x="109" y="54"/>
                  <a:pt x="108" y="55"/>
                  <a:pt x="106" y="57"/>
                </a:cubicBezTo>
                <a:cubicBezTo>
                  <a:pt x="107" y="60"/>
                  <a:pt x="107" y="60"/>
                  <a:pt x="107" y="60"/>
                </a:cubicBezTo>
                <a:cubicBezTo>
                  <a:pt x="108" y="61"/>
                  <a:pt x="108" y="61"/>
                  <a:pt x="108" y="61"/>
                </a:cubicBezTo>
                <a:cubicBezTo>
                  <a:pt x="104" y="64"/>
                  <a:pt x="104" y="64"/>
                  <a:pt x="104" y="64"/>
                </a:cubicBezTo>
                <a:cubicBezTo>
                  <a:pt x="104" y="64"/>
                  <a:pt x="106" y="67"/>
                  <a:pt x="108" y="67"/>
                </a:cubicBezTo>
                <a:cubicBezTo>
                  <a:pt x="110" y="67"/>
                  <a:pt x="112" y="65"/>
                  <a:pt x="112" y="65"/>
                </a:cubicBezTo>
                <a:cubicBezTo>
                  <a:pt x="112" y="65"/>
                  <a:pt x="113" y="67"/>
                  <a:pt x="114" y="70"/>
                </a:cubicBezTo>
                <a:cubicBezTo>
                  <a:pt x="115" y="72"/>
                  <a:pt x="117" y="71"/>
                  <a:pt x="117" y="71"/>
                </a:cubicBezTo>
                <a:cubicBezTo>
                  <a:pt x="117" y="71"/>
                  <a:pt x="120" y="70"/>
                  <a:pt x="121" y="67"/>
                </a:cubicBezTo>
                <a:cubicBezTo>
                  <a:pt x="123" y="61"/>
                  <a:pt x="125" y="60"/>
                  <a:pt x="127" y="57"/>
                </a:cubicBezTo>
                <a:cubicBezTo>
                  <a:pt x="129" y="55"/>
                  <a:pt x="129" y="54"/>
                  <a:pt x="130" y="52"/>
                </a:cubicBezTo>
                <a:cubicBezTo>
                  <a:pt x="132" y="51"/>
                  <a:pt x="135" y="49"/>
                  <a:pt x="141" y="45"/>
                </a:cubicBezTo>
                <a:cubicBezTo>
                  <a:pt x="148" y="41"/>
                  <a:pt x="148" y="34"/>
                  <a:pt x="148" y="34"/>
                </a:cubicBezTo>
                <a:cubicBezTo>
                  <a:pt x="149" y="34"/>
                  <a:pt x="149" y="34"/>
                  <a:pt x="149" y="34"/>
                </a:cubicBezTo>
                <a:cubicBezTo>
                  <a:pt x="149" y="34"/>
                  <a:pt x="150" y="31"/>
                  <a:pt x="149" y="28"/>
                </a:cubicBezTo>
                <a:cubicBezTo>
                  <a:pt x="148" y="25"/>
                  <a:pt x="148" y="23"/>
                  <a:pt x="148" y="23"/>
                </a:cubicBezTo>
                <a:cubicBezTo>
                  <a:pt x="145" y="21"/>
                  <a:pt x="145" y="21"/>
                  <a:pt x="145" y="21"/>
                </a:cubicBezTo>
                <a:cubicBezTo>
                  <a:pt x="149" y="18"/>
                  <a:pt x="149" y="18"/>
                  <a:pt x="149" y="18"/>
                </a:cubicBezTo>
                <a:cubicBezTo>
                  <a:pt x="149" y="18"/>
                  <a:pt x="144" y="17"/>
                  <a:pt x="143" y="15"/>
                </a:cubicBezTo>
                <a:cubicBezTo>
                  <a:pt x="141" y="12"/>
                  <a:pt x="140" y="15"/>
                  <a:pt x="140" y="15"/>
                </a:cubicBezTo>
                <a:cubicBezTo>
                  <a:pt x="132" y="14"/>
                  <a:pt x="132" y="14"/>
                  <a:pt x="132" y="14"/>
                </a:cubicBezTo>
                <a:cubicBezTo>
                  <a:pt x="132" y="14"/>
                  <a:pt x="130" y="12"/>
                  <a:pt x="130" y="11"/>
                </a:cubicBezTo>
                <a:cubicBezTo>
                  <a:pt x="129" y="9"/>
                  <a:pt x="128" y="7"/>
                  <a:pt x="128" y="7"/>
                </a:cubicBezTo>
                <a:cubicBezTo>
                  <a:pt x="128" y="7"/>
                  <a:pt x="124" y="6"/>
                  <a:pt x="122" y="5"/>
                </a:cubicBezTo>
                <a:cubicBezTo>
                  <a:pt x="120" y="3"/>
                  <a:pt x="120" y="0"/>
                  <a:pt x="120" y="0"/>
                </a:cubicBezTo>
                <a:lnTo>
                  <a:pt x="119" y="0"/>
                </a:lnTo>
                <a:close/>
                <a:moveTo>
                  <a:pt x="2" y="15"/>
                </a:moveTo>
                <a:cubicBezTo>
                  <a:pt x="4" y="19"/>
                  <a:pt x="4" y="21"/>
                  <a:pt x="6" y="24"/>
                </a:cubicBezTo>
                <a:cubicBezTo>
                  <a:pt x="4" y="25"/>
                  <a:pt x="3" y="26"/>
                  <a:pt x="2" y="26"/>
                </a:cubicBezTo>
                <a:cubicBezTo>
                  <a:pt x="0" y="27"/>
                  <a:pt x="2" y="27"/>
                  <a:pt x="2" y="27"/>
                </a:cubicBezTo>
                <a:cubicBezTo>
                  <a:pt x="2" y="27"/>
                  <a:pt x="4" y="28"/>
                  <a:pt x="6" y="27"/>
                </a:cubicBezTo>
                <a:cubicBezTo>
                  <a:pt x="10" y="26"/>
                  <a:pt x="8" y="24"/>
                  <a:pt x="7" y="20"/>
                </a:cubicBezTo>
                <a:cubicBezTo>
                  <a:pt x="6" y="20"/>
                  <a:pt x="6" y="20"/>
                  <a:pt x="6" y="20"/>
                </a:cubicBezTo>
                <a:cubicBezTo>
                  <a:pt x="5" y="19"/>
                  <a:pt x="5" y="17"/>
                  <a:pt x="4" y="15"/>
                </a:cubicBezTo>
                <a:cubicBezTo>
                  <a:pt x="4" y="15"/>
                  <a:pt x="2" y="15"/>
                  <a:pt x="2" y="15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4" name="Google Shape;564;p102"/>
          <p:cNvSpPr/>
          <p:nvPr/>
        </p:nvSpPr>
        <p:spPr>
          <a:xfrm>
            <a:off x="4461976" y="4110286"/>
            <a:ext cx="101374" cy="57193"/>
          </a:xfrm>
          <a:custGeom>
            <a:avLst/>
            <a:gdLst/>
            <a:ahLst/>
            <a:cxnLst/>
            <a:rect l="l" t="t" r="r" b="b"/>
            <a:pathLst>
              <a:path w="35" h="21" extrusionOk="0">
                <a:moveTo>
                  <a:pt x="1" y="18"/>
                </a:moveTo>
                <a:cubicBezTo>
                  <a:pt x="2" y="19"/>
                  <a:pt x="3" y="20"/>
                  <a:pt x="3" y="21"/>
                </a:cubicBezTo>
                <a:cubicBezTo>
                  <a:pt x="3" y="21"/>
                  <a:pt x="5" y="21"/>
                  <a:pt x="5" y="21"/>
                </a:cubicBezTo>
                <a:cubicBezTo>
                  <a:pt x="6" y="21"/>
                  <a:pt x="6" y="19"/>
                  <a:pt x="7" y="18"/>
                </a:cubicBezTo>
                <a:cubicBezTo>
                  <a:pt x="7" y="19"/>
                  <a:pt x="6" y="16"/>
                  <a:pt x="6" y="14"/>
                </a:cubicBezTo>
                <a:cubicBezTo>
                  <a:pt x="8" y="15"/>
                  <a:pt x="9" y="15"/>
                  <a:pt x="11" y="16"/>
                </a:cubicBezTo>
                <a:cubicBezTo>
                  <a:pt x="11" y="16"/>
                  <a:pt x="12" y="18"/>
                  <a:pt x="12" y="18"/>
                </a:cubicBezTo>
                <a:cubicBezTo>
                  <a:pt x="18" y="19"/>
                  <a:pt x="18" y="14"/>
                  <a:pt x="18" y="14"/>
                </a:cubicBezTo>
                <a:cubicBezTo>
                  <a:pt x="21" y="13"/>
                  <a:pt x="35" y="19"/>
                  <a:pt x="29" y="10"/>
                </a:cubicBezTo>
                <a:cubicBezTo>
                  <a:pt x="28" y="9"/>
                  <a:pt x="26" y="9"/>
                  <a:pt x="25" y="8"/>
                </a:cubicBezTo>
                <a:cubicBezTo>
                  <a:pt x="27" y="8"/>
                  <a:pt x="19" y="8"/>
                  <a:pt x="17" y="6"/>
                </a:cubicBezTo>
                <a:cubicBezTo>
                  <a:pt x="17" y="6"/>
                  <a:pt x="15" y="3"/>
                  <a:pt x="14" y="2"/>
                </a:cubicBezTo>
                <a:cubicBezTo>
                  <a:pt x="13" y="2"/>
                  <a:pt x="12" y="3"/>
                  <a:pt x="11" y="2"/>
                </a:cubicBezTo>
                <a:cubicBezTo>
                  <a:pt x="10" y="2"/>
                  <a:pt x="10" y="0"/>
                  <a:pt x="9" y="0"/>
                </a:cubicBezTo>
                <a:cubicBezTo>
                  <a:pt x="9" y="0"/>
                  <a:pt x="4" y="0"/>
                  <a:pt x="3" y="0"/>
                </a:cubicBezTo>
                <a:cubicBezTo>
                  <a:pt x="3" y="1"/>
                  <a:pt x="2" y="2"/>
                  <a:pt x="1" y="2"/>
                </a:cubicBezTo>
                <a:cubicBezTo>
                  <a:pt x="1" y="2"/>
                  <a:pt x="1" y="3"/>
                  <a:pt x="0" y="3"/>
                </a:cubicBezTo>
                <a:cubicBezTo>
                  <a:pt x="1" y="8"/>
                  <a:pt x="1" y="8"/>
                  <a:pt x="1" y="8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2"/>
                  <a:pt x="1" y="14"/>
                  <a:pt x="1" y="15"/>
                </a:cubicBezTo>
                <a:cubicBezTo>
                  <a:pt x="2" y="16"/>
                  <a:pt x="1" y="18"/>
                  <a:pt x="1" y="18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5" name="Google Shape;565;p102"/>
          <p:cNvSpPr/>
          <p:nvPr/>
        </p:nvSpPr>
        <p:spPr>
          <a:xfrm>
            <a:off x="7271224" y="4332128"/>
            <a:ext cx="54982" cy="60660"/>
          </a:xfrm>
          <a:custGeom>
            <a:avLst/>
            <a:gdLst/>
            <a:ahLst/>
            <a:cxnLst/>
            <a:rect l="l" t="t" r="r" b="b"/>
            <a:pathLst>
              <a:path w="19" h="22" extrusionOk="0">
                <a:moveTo>
                  <a:pt x="16" y="16"/>
                </a:moveTo>
                <a:cubicBezTo>
                  <a:pt x="16" y="15"/>
                  <a:pt x="16" y="14"/>
                  <a:pt x="15" y="14"/>
                </a:cubicBezTo>
                <a:cubicBezTo>
                  <a:pt x="15" y="14"/>
                  <a:pt x="13" y="14"/>
                  <a:pt x="13" y="14"/>
                </a:cubicBezTo>
                <a:cubicBezTo>
                  <a:pt x="13" y="12"/>
                  <a:pt x="13" y="12"/>
                  <a:pt x="13" y="12"/>
                </a:cubicBezTo>
                <a:cubicBezTo>
                  <a:pt x="16" y="10"/>
                  <a:pt x="19" y="7"/>
                  <a:pt x="17" y="2"/>
                </a:cubicBezTo>
                <a:cubicBezTo>
                  <a:pt x="14" y="0"/>
                  <a:pt x="14" y="0"/>
                  <a:pt x="14" y="0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1"/>
                  <a:pt x="9" y="1"/>
                  <a:pt x="9" y="1"/>
                </a:cubicBezTo>
                <a:cubicBezTo>
                  <a:pt x="7" y="3"/>
                  <a:pt x="7" y="3"/>
                  <a:pt x="7" y="3"/>
                </a:cubicBezTo>
                <a:cubicBezTo>
                  <a:pt x="7" y="3"/>
                  <a:pt x="2" y="9"/>
                  <a:pt x="3" y="12"/>
                </a:cubicBezTo>
                <a:cubicBezTo>
                  <a:pt x="3" y="14"/>
                  <a:pt x="0" y="17"/>
                  <a:pt x="1" y="19"/>
                </a:cubicBezTo>
                <a:cubicBezTo>
                  <a:pt x="1" y="21"/>
                  <a:pt x="4" y="22"/>
                  <a:pt x="6" y="22"/>
                </a:cubicBezTo>
                <a:cubicBezTo>
                  <a:pt x="8" y="22"/>
                  <a:pt x="9" y="21"/>
                  <a:pt x="9" y="21"/>
                </a:cubicBezTo>
                <a:cubicBezTo>
                  <a:pt x="12" y="21"/>
                  <a:pt x="12" y="21"/>
                  <a:pt x="12" y="21"/>
                </a:cubicBezTo>
                <a:lnTo>
                  <a:pt x="16" y="16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6" name="Google Shape;566;p102"/>
          <p:cNvSpPr/>
          <p:nvPr/>
        </p:nvSpPr>
        <p:spPr>
          <a:xfrm>
            <a:off x="6446491" y="2834699"/>
            <a:ext cx="125427" cy="140383"/>
          </a:xfrm>
          <a:custGeom>
            <a:avLst/>
            <a:gdLst/>
            <a:ahLst/>
            <a:cxnLst/>
            <a:rect l="l" t="t" r="r" b="b"/>
            <a:pathLst>
              <a:path w="44" h="51" extrusionOk="0">
                <a:moveTo>
                  <a:pt x="15" y="42"/>
                </a:moveTo>
                <a:cubicBezTo>
                  <a:pt x="15" y="40"/>
                  <a:pt x="15" y="36"/>
                  <a:pt x="16" y="36"/>
                </a:cubicBezTo>
                <a:cubicBezTo>
                  <a:pt x="17" y="37"/>
                  <a:pt x="18" y="38"/>
                  <a:pt x="19" y="39"/>
                </a:cubicBezTo>
                <a:cubicBezTo>
                  <a:pt x="20" y="40"/>
                  <a:pt x="19" y="40"/>
                  <a:pt x="20" y="41"/>
                </a:cubicBezTo>
                <a:cubicBezTo>
                  <a:pt x="21" y="41"/>
                  <a:pt x="21" y="41"/>
                  <a:pt x="21" y="41"/>
                </a:cubicBezTo>
                <a:cubicBezTo>
                  <a:pt x="20" y="42"/>
                  <a:pt x="23" y="42"/>
                  <a:pt x="23" y="42"/>
                </a:cubicBezTo>
                <a:cubicBezTo>
                  <a:pt x="23" y="41"/>
                  <a:pt x="23" y="36"/>
                  <a:pt x="23" y="36"/>
                </a:cubicBezTo>
                <a:cubicBezTo>
                  <a:pt x="21" y="36"/>
                  <a:pt x="18" y="36"/>
                  <a:pt x="16" y="36"/>
                </a:cubicBezTo>
                <a:cubicBezTo>
                  <a:pt x="18" y="31"/>
                  <a:pt x="19" y="30"/>
                  <a:pt x="20" y="24"/>
                </a:cubicBezTo>
                <a:cubicBezTo>
                  <a:pt x="24" y="26"/>
                  <a:pt x="23" y="27"/>
                  <a:pt x="26" y="22"/>
                </a:cubicBezTo>
                <a:cubicBezTo>
                  <a:pt x="25" y="21"/>
                  <a:pt x="25" y="21"/>
                  <a:pt x="25" y="21"/>
                </a:cubicBezTo>
                <a:cubicBezTo>
                  <a:pt x="24" y="21"/>
                  <a:pt x="23" y="21"/>
                  <a:pt x="22" y="21"/>
                </a:cubicBezTo>
                <a:cubicBezTo>
                  <a:pt x="21" y="19"/>
                  <a:pt x="20" y="16"/>
                  <a:pt x="20" y="12"/>
                </a:cubicBezTo>
                <a:cubicBezTo>
                  <a:pt x="18" y="12"/>
                  <a:pt x="18" y="11"/>
                  <a:pt x="16" y="11"/>
                </a:cubicBezTo>
                <a:cubicBezTo>
                  <a:pt x="17" y="11"/>
                  <a:pt x="19" y="11"/>
                  <a:pt x="20" y="10"/>
                </a:cubicBezTo>
                <a:cubicBezTo>
                  <a:pt x="21" y="10"/>
                  <a:pt x="21" y="9"/>
                  <a:pt x="22" y="8"/>
                </a:cubicBezTo>
                <a:cubicBezTo>
                  <a:pt x="22" y="8"/>
                  <a:pt x="23" y="8"/>
                  <a:pt x="23" y="8"/>
                </a:cubicBezTo>
                <a:cubicBezTo>
                  <a:pt x="23" y="7"/>
                  <a:pt x="22" y="4"/>
                  <a:pt x="22" y="4"/>
                </a:cubicBezTo>
                <a:cubicBezTo>
                  <a:pt x="22" y="4"/>
                  <a:pt x="23" y="1"/>
                  <a:pt x="23" y="2"/>
                </a:cubicBezTo>
                <a:cubicBezTo>
                  <a:pt x="23" y="2"/>
                  <a:pt x="23" y="0"/>
                  <a:pt x="23" y="0"/>
                </a:cubicBezTo>
                <a:cubicBezTo>
                  <a:pt x="21" y="0"/>
                  <a:pt x="18" y="2"/>
                  <a:pt x="16" y="3"/>
                </a:cubicBezTo>
                <a:cubicBezTo>
                  <a:pt x="15" y="4"/>
                  <a:pt x="15" y="8"/>
                  <a:pt x="14" y="8"/>
                </a:cubicBezTo>
                <a:cubicBezTo>
                  <a:pt x="9" y="11"/>
                  <a:pt x="9" y="7"/>
                  <a:pt x="4" y="11"/>
                </a:cubicBezTo>
                <a:cubicBezTo>
                  <a:pt x="4" y="12"/>
                  <a:pt x="1" y="15"/>
                  <a:pt x="1" y="15"/>
                </a:cubicBezTo>
                <a:cubicBezTo>
                  <a:pt x="0" y="15"/>
                  <a:pt x="2" y="16"/>
                  <a:pt x="2" y="16"/>
                </a:cubicBezTo>
                <a:cubicBezTo>
                  <a:pt x="2" y="16"/>
                  <a:pt x="3" y="16"/>
                  <a:pt x="4" y="16"/>
                </a:cubicBezTo>
                <a:cubicBezTo>
                  <a:pt x="4" y="15"/>
                  <a:pt x="4" y="15"/>
                  <a:pt x="4" y="14"/>
                </a:cubicBezTo>
                <a:cubicBezTo>
                  <a:pt x="6" y="11"/>
                  <a:pt x="9" y="12"/>
                  <a:pt x="13" y="12"/>
                </a:cubicBezTo>
                <a:cubicBezTo>
                  <a:pt x="13" y="14"/>
                  <a:pt x="13" y="15"/>
                  <a:pt x="14" y="18"/>
                </a:cubicBezTo>
                <a:cubicBezTo>
                  <a:pt x="9" y="14"/>
                  <a:pt x="11" y="16"/>
                  <a:pt x="7" y="20"/>
                </a:cubicBezTo>
                <a:cubicBezTo>
                  <a:pt x="5" y="20"/>
                  <a:pt x="2" y="20"/>
                  <a:pt x="0" y="20"/>
                </a:cubicBezTo>
                <a:cubicBezTo>
                  <a:pt x="0" y="26"/>
                  <a:pt x="0" y="26"/>
                  <a:pt x="4" y="29"/>
                </a:cubicBezTo>
                <a:cubicBezTo>
                  <a:pt x="4" y="30"/>
                  <a:pt x="4" y="30"/>
                  <a:pt x="4" y="30"/>
                </a:cubicBezTo>
                <a:cubicBezTo>
                  <a:pt x="2" y="31"/>
                  <a:pt x="2" y="31"/>
                  <a:pt x="2" y="31"/>
                </a:cubicBezTo>
                <a:cubicBezTo>
                  <a:pt x="0" y="36"/>
                  <a:pt x="4" y="38"/>
                  <a:pt x="6" y="40"/>
                </a:cubicBezTo>
                <a:cubicBezTo>
                  <a:pt x="6" y="40"/>
                  <a:pt x="6" y="41"/>
                  <a:pt x="6" y="42"/>
                </a:cubicBezTo>
                <a:lnTo>
                  <a:pt x="15" y="42"/>
                </a:lnTo>
                <a:close/>
                <a:moveTo>
                  <a:pt x="38" y="43"/>
                </a:moveTo>
                <a:cubicBezTo>
                  <a:pt x="36" y="43"/>
                  <a:pt x="34" y="45"/>
                  <a:pt x="32" y="46"/>
                </a:cubicBezTo>
                <a:cubicBezTo>
                  <a:pt x="32" y="46"/>
                  <a:pt x="29" y="45"/>
                  <a:pt x="30" y="45"/>
                </a:cubicBezTo>
                <a:cubicBezTo>
                  <a:pt x="30" y="45"/>
                  <a:pt x="30" y="45"/>
                  <a:pt x="29" y="44"/>
                </a:cubicBezTo>
                <a:cubicBezTo>
                  <a:pt x="27" y="43"/>
                  <a:pt x="28" y="44"/>
                  <a:pt x="27" y="44"/>
                </a:cubicBezTo>
                <a:cubicBezTo>
                  <a:pt x="27" y="46"/>
                  <a:pt x="28" y="46"/>
                  <a:pt x="27" y="46"/>
                </a:cubicBezTo>
                <a:cubicBezTo>
                  <a:pt x="27" y="48"/>
                  <a:pt x="28" y="48"/>
                  <a:pt x="28" y="49"/>
                </a:cubicBezTo>
                <a:cubicBezTo>
                  <a:pt x="28" y="49"/>
                  <a:pt x="29" y="50"/>
                  <a:pt x="29" y="50"/>
                </a:cubicBezTo>
                <a:cubicBezTo>
                  <a:pt x="30" y="50"/>
                  <a:pt x="30" y="50"/>
                  <a:pt x="30" y="50"/>
                </a:cubicBezTo>
                <a:cubicBezTo>
                  <a:pt x="32" y="49"/>
                  <a:pt x="32" y="49"/>
                  <a:pt x="32" y="49"/>
                </a:cubicBezTo>
                <a:cubicBezTo>
                  <a:pt x="33" y="49"/>
                  <a:pt x="34" y="50"/>
                  <a:pt x="34" y="50"/>
                </a:cubicBezTo>
                <a:cubicBezTo>
                  <a:pt x="34" y="50"/>
                  <a:pt x="35" y="47"/>
                  <a:pt x="36" y="47"/>
                </a:cubicBezTo>
                <a:cubicBezTo>
                  <a:pt x="36" y="47"/>
                  <a:pt x="44" y="43"/>
                  <a:pt x="38" y="43"/>
                </a:cubicBezTo>
                <a:close/>
                <a:moveTo>
                  <a:pt x="24" y="42"/>
                </a:moveTo>
                <a:cubicBezTo>
                  <a:pt x="24" y="43"/>
                  <a:pt x="21" y="51"/>
                  <a:pt x="24" y="48"/>
                </a:cubicBezTo>
                <a:cubicBezTo>
                  <a:pt x="24" y="48"/>
                  <a:pt x="26" y="41"/>
                  <a:pt x="24" y="42"/>
                </a:cubicBezTo>
                <a:close/>
                <a:moveTo>
                  <a:pt x="35" y="25"/>
                </a:moveTo>
                <a:cubicBezTo>
                  <a:pt x="34" y="26"/>
                  <a:pt x="33" y="26"/>
                  <a:pt x="32" y="26"/>
                </a:cubicBezTo>
                <a:cubicBezTo>
                  <a:pt x="34" y="30"/>
                  <a:pt x="34" y="30"/>
                  <a:pt x="34" y="30"/>
                </a:cubicBezTo>
                <a:cubicBezTo>
                  <a:pt x="33" y="31"/>
                  <a:pt x="33" y="32"/>
                  <a:pt x="32" y="32"/>
                </a:cubicBezTo>
                <a:cubicBezTo>
                  <a:pt x="31" y="32"/>
                  <a:pt x="31" y="32"/>
                  <a:pt x="31" y="32"/>
                </a:cubicBezTo>
                <a:cubicBezTo>
                  <a:pt x="31" y="32"/>
                  <a:pt x="30" y="30"/>
                  <a:pt x="30" y="30"/>
                </a:cubicBezTo>
                <a:cubicBezTo>
                  <a:pt x="26" y="29"/>
                  <a:pt x="28" y="31"/>
                  <a:pt x="27" y="32"/>
                </a:cubicBezTo>
                <a:cubicBezTo>
                  <a:pt x="27" y="33"/>
                  <a:pt x="25" y="32"/>
                  <a:pt x="24" y="32"/>
                </a:cubicBezTo>
                <a:cubicBezTo>
                  <a:pt x="25" y="33"/>
                  <a:pt x="24" y="34"/>
                  <a:pt x="24" y="34"/>
                </a:cubicBezTo>
                <a:cubicBezTo>
                  <a:pt x="25" y="35"/>
                  <a:pt x="26" y="35"/>
                  <a:pt x="27" y="36"/>
                </a:cubicBezTo>
                <a:cubicBezTo>
                  <a:pt x="27" y="37"/>
                  <a:pt x="27" y="39"/>
                  <a:pt x="27" y="40"/>
                </a:cubicBezTo>
                <a:cubicBezTo>
                  <a:pt x="28" y="40"/>
                  <a:pt x="29" y="40"/>
                  <a:pt x="30" y="40"/>
                </a:cubicBezTo>
                <a:cubicBezTo>
                  <a:pt x="29" y="39"/>
                  <a:pt x="31" y="39"/>
                  <a:pt x="32" y="39"/>
                </a:cubicBezTo>
                <a:cubicBezTo>
                  <a:pt x="32" y="42"/>
                  <a:pt x="32" y="42"/>
                  <a:pt x="32" y="42"/>
                </a:cubicBezTo>
                <a:cubicBezTo>
                  <a:pt x="33" y="42"/>
                  <a:pt x="34" y="42"/>
                  <a:pt x="34" y="42"/>
                </a:cubicBezTo>
                <a:cubicBezTo>
                  <a:pt x="35" y="42"/>
                  <a:pt x="34" y="40"/>
                  <a:pt x="35" y="40"/>
                </a:cubicBezTo>
                <a:cubicBezTo>
                  <a:pt x="35" y="39"/>
                  <a:pt x="39" y="38"/>
                  <a:pt x="39" y="38"/>
                </a:cubicBezTo>
                <a:cubicBezTo>
                  <a:pt x="39" y="37"/>
                  <a:pt x="39" y="36"/>
                  <a:pt x="39" y="36"/>
                </a:cubicBezTo>
                <a:cubicBezTo>
                  <a:pt x="38" y="35"/>
                  <a:pt x="37" y="35"/>
                  <a:pt x="36" y="34"/>
                </a:cubicBezTo>
                <a:cubicBezTo>
                  <a:pt x="37" y="34"/>
                  <a:pt x="38" y="33"/>
                  <a:pt x="38" y="32"/>
                </a:cubicBezTo>
                <a:cubicBezTo>
                  <a:pt x="39" y="30"/>
                  <a:pt x="38" y="27"/>
                  <a:pt x="38" y="25"/>
                </a:cubicBezTo>
                <a:cubicBezTo>
                  <a:pt x="37" y="25"/>
                  <a:pt x="35" y="25"/>
                  <a:pt x="35" y="25"/>
                </a:cubicBezTo>
                <a:close/>
                <a:moveTo>
                  <a:pt x="8" y="13"/>
                </a:moveTo>
                <a:cubicBezTo>
                  <a:pt x="7" y="13"/>
                  <a:pt x="4" y="18"/>
                  <a:pt x="8" y="16"/>
                </a:cubicBezTo>
                <a:cubicBezTo>
                  <a:pt x="9" y="16"/>
                  <a:pt x="9" y="12"/>
                  <a:pt x="8" y="13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7" name="Google Shape;567;p102"/>
          <p:cNvSpPr/>
          <p:nvPr/>
        </p:nvSpPr>
        <p:spPr>
          <a:xfrm>
            <a:off x="6542710" y="3089470"/>
            <a:ext cx="149483" cy="97056"/>
          </a:xfrm>
          <a:custGeom>
            <a:avLst/>
            <a:gdLst/>
            <a:ahLst/>
            <a:cxnLst/>
            <a:rect l="l" t="t" r="r" b="b"/>
            <a:pathLst>
              <a:path w="52" h="35" extrusionOk="0">
                <a:moveTo>
                  <a:pt x="41" y="30"/>
                </a:moveTo>
                <a:cubicBezTo>
                  <a:pt x="41" y="30"/>
                  <a:pt x="43" y="26"/>
                  <a:pt x="45" y="26"/>
                </a:cubicBezTo>
                <a:cubicBezTo>
                  <a:pt x="47" y="26"/>
                  <a:pt x="46" y="22"/>
                  <a:pt x="48" y="22"/>
                </a:cubicBezTo>
                <a:cubicBezTo>
                  <a:pt x="49" y="22"/>
                  <a:pt x="52" y="20"/>
                  <a:pt x="52" y="20"/>
                </a:cubicBezTo>
                <a:cubicBezTo>
                  <a:pt x="52" y="20"/>
                  <a:pt x="50" y="14"/>
                  <a:pt x="49" y="15"/>
                </a:cubicBezTo>
                <a:cubicBezTo>
                  <a:pt x="48" y="16"/>
                  <a:pt x="46" y="10"/>
                  <a:pt x="44" y="11"/>
                </a:cubicBezTo>
                <a:cubicBezTo>
                  <a:pt x="42" y="12"/>
                  <a:pt x="41" y="12"/>
                  <a:pt x="39" y="10"/>
                </a:cubicBezTo>
                <a:cubicBezTo>
                  <a:pt x="36" y="9"/>
                  <a:pt x="35" y="5"/>
                  <a:pt x="33" y="6"/>
                </a:cubicBezTo>
                <a:cubicBezTo>
                  <a:pt x="31" y="7"/>
                  <a:pt x="31" y="4"/>
                  <a:pt x="29" y="4"/>
                </a:cubicBezTo>
                <a:cubicBezTo>
                  <a:pt x="27" y="4"/>
                  <a:pt x="24" y="3"/>
                  <a:pt x="24" y="3"/>
                </a:cubicBezTo>
                <a:cubicBezTo>
                  <a:pt x="21" y="2"/>
                  <a:pt x="21" y="2"/>
                  <a:pt x="21" y="2"/>
                </a:cubicBezTo>
                <a:cubicBezTo>
                  <a:pt x="18" y="0"/>
                  <a:pt x="18" y="0"/>
                  <a:pt x="18" y="0"/>
                </a:cubicBezTo>
                <a:cubicBezTo>
                  <a:pt x="18" y="0"/>
                  <a:pt x="15" y="2"/>
                  <a:pt x="12" y="4"/>
                </a:cubicBezTo>
                <a:cubicBezTo>
                  <a:pt x="9" y="5"/>
                  <a:pt x="8" y="5"/>
                  <a:pt x="7" y="7"/>
                </a:cubicBezTo>
                <a:cubicBezTo>
                  <a:pt x="6" y="10"/>
                  <a:pt x="4" y="9"/>
                  <a:pt x="2" y="10"/>
                </a:cubicBezTo>
                <a:cubicBezTo>
                  <a:pt x="0" y="10"/>
                  <a:pt x="0" y="10"/>
                  <a:pt x="1" y="13"/>
                </a:cubicBezTo>
                <a:cubicBezTo>
                  <a:pt x="3" y="16"/>
                  <a:pt x="3" y="16"/>
                  <a:pt x="4" y="18"/>
                </a:cubicBezTo>
                <a:cubicBezTo>
                  <a:pt x="6" y="20"/>
                  <a:pt x="6" y="21"/>
                  <a:pt x="6" y="24"/>
                </a:cubicBezTo>
                <a:cubicBezTo>
                  <a:pt x="6" y="27"/>
                  <a:pt x="9" y="25"/>
                  <a:pt x="11" y="27"/>
                </a:cubicBezTo>
                <a:cubicBezTo>
                  <a:pt x="14" y="30"/>
                  <a:pt x="14" y="30"/>
                  <a:pt x="14" y="30"/>
                </a:cubicBezTo>
                <a:cubicBezTo>
                  <a:pt x="14" y="30"/>
                  <a:pt x="19" y="35"/>
                  <a:pt x="21" y="32"/>
                </a:cubicBezTo>
                <a:cubicBezTo>
                  <a:pt x="22" y="28"/>
                  <a:pt x="24" y="27"/>
                  <a:pt x="24" y="27"/>
                </a:cubicBezTo>
                <a:cubicBezTo>
                  <a:pt x="24" y="27"/>
                  <a:pt x="27" y="26"/>
                  <a:pt x="29" y="28"/>
                </a:cubicBezTo>
                <a:cubicBezTo>
                  <a:pt x="31" y="30"/>
                  <a:pt x="33" y="31"/>
                  <a:pt x="35" y="30"/>
                </a:cubicBezTo>
                <a:cubicBezTo>
                  <a:pt x="38" y="30"/>
                  <a:pt x="41" y="30"/>
                  <a:pt x="41" y="30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8" name="Google Shape;568;p102"/>
          <p:cNvSpPr/>
          <p:nvPr/>
        </p:nvSpPr>
        <p:spPr>
          <a:xfrm>
            <a:off x="7046140" y="3623275"/>
            <a:ext cx="67010" cy="43328"/>
          </a:xfrm>
          <a:custGeom>
            <a:avLst/>
            <a:gdLst/>
            <a:ahLst/>
            <a:cxnLst/>
            <a:rect l="l" t="t" r="r" b="b"/>
            <a:pathLst>
              <a:path w="23" h="15" extrusionOk="0">
                <a:moveTo>
                  <a:pt x="16" y="8"/>
                </a:moveTo>
                <a:cubicBezTo>
                  <a:pt x="16" y="7"/>
                  <a:pt x="16" y="5"/>
                  <a:pt x="16" y="5"/>
                </a:cubicBezTo>
                <a:cubicBezTo>
                  <a:pt x="17" y="5"/>
                  <a:pt x="17" y="5"/>
                  <a:pt x="17" y="5"/>
                </a:cubicBezTo>
                <a:cubicBezTo>
                  <a:pt x="18" y="4"/>
                  <a:pt x="23" y="0"/>
                  <a:pt x="20" y="1"/>
                </a:cubicBezTo>
                <a:cubicBezTo>
                  <a:pt x="18" y="1"/>
                  <a:pt x="16" y="4"/>
                  <a:pt x="14" y="5"/>
                </a:cubicBezTo>
                <a:cubicBezTo>
                  <a:pt x="11" y="6"/>
                  <a:pt x="9" y="4"/>
                  <a:pt x="7" y="5"/>
                </a:cubicBezTo>
                <a:cubicBezTo>
                  <a:pt x="7" y="5"/>
                  <a:pt x="7" y="6"/>
                  <a:pt x="7" y="7"/>
                </a:cubicBezTo>
                <a:cubicBezTo>
                  <a:pt x="6" y="7"/>
                  <a:pt x="5" y="7"/>
                  <a:pt x="5" y="7"/>
                </a:cubicBezTo>
                <a:cubicBezTo>
                  <a:pt x="6" y="8"/>
                  <a:pt x="7" y="9"/>
                  <a:pt x="9" y="8"/>
                </a:cubicBezTo>
                <a:cubicBezTo>
                  <a:pt x="10" y="8"/>
                  <a:pt x="10" y="7"/>
                  <a:pt x="11" y="7"/>
                </a:cubicBezTo>
                <a:cubicBezTo>
                  <a:pt x="12" y="6"/>
                  <a:pt x="12" y="7"/>
                  <a:pt x="13" y="7"/>
                </a:cubicBezTo>
                <a:cubicBezTo>
                  <a:pt x="15" y="7"/>
                  <a:pt x="15" y="7"/>
                  <a:pt x="16" y="8"/>
                </a:cubicBezTo>
                <a:close/>
                <a:moveTo>
                  <a:pt x="16" y="8"/>
                </a:moveTo>
                <a:cubicBezTo>
                  <a:pt x="16" y="8"/>
                  <a:pt x="16" y="9"/>
                  <a:pt x="16" y="9"/>
                </a:cubicBezTo>
                <a:cubicBezTo>
                  <a:pt x="15" y="10"/>
                  <a:pt x="14" y="10"/>
                  <a:pt x="12" y="11"/>
                </a:cubicBezTo>
                <a:cubicBezTo>
                  <a:pt x="8" y="13"/>
                  <a:pt x="6" y="15"/>
                  <a:pt x="1" y="11"/>
                </a:cubicBezTo>
                <a:cubicBezTo>
                  <a:pt x="1" y="11"/>
                  <a:pt x="1" y="9"/>
                  <a:pt x="0" y="9"/>
                </a:cubicBezTo>
                <a:cubicBezTo>
                  <a:pt x="2" y="8"/>
                  <a:pt x="3" y="7"/>
                  <a:pt x="5" y="7"/>
                </a:cubicBezTo>
                <a:cubicBezTo>
                  <a:pt x="6" y="8"/>
                  <a:pt x="7" y="9"/>
                  <a:pt x="9" y="8"/>
                </a:cubicBezTo>
                <a:cubicBezTo>
                  <a:pt x="10" y="8"/>
                  <a:pt x="10" y="7"/>
                  <a:pt x="11" y="7"/>
                </a:cubicBezTo>
                <a:cubicBezTo>
                  <a:pt x="12" y="6"/>
                  <a:pt x="12" y="7"/>
                  <a:pt x="13" y="7"/>
                </a:cubicBezTo>
                <a:cubicBezTo>
                  <a:pt x="15" y="7"/>
                  <a:pt x="15" y="7"/>
                  <a:pt x="16" y="8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9" name="Google Shape;569;p102"/>
          <p:cNvSpPr/>
          <p:nvPr/>
        </p:nvSpPr>
        <p:spPr>
          <a:xfrm>
            <a:off x="7046140" y="3623275"/>
            <a:ext cx="67010" cy="43328"/>
          </a:xfrm>
          <a:custGeom>
            <a:avLst/>
            <a:gdLst/>
            <a:ahLst/>
            <a:cxnLst/>
            <a:rect l="l" t="t" r="r" b="b"/>
            <a:pathLst>
              <a:path w="23" h="15" extrusionOk="0">
                <a:moveTo>
                  <a:pt x="16" y="8"/>
                </a:moveTo>
                <a:cubicBezTo>
                  <a:pt x="16" y="7"/>
                  <a:pt x="16" y="5"/>
                  <a:pt x="16" y="5"/>
                </a:cubicBezTo>
                <a:cubicBezTo>
                  <a:pt x="17" y="5"/>
                  <a:pt x="17" y="5"/>
                  <a:pt x="17" y="5"/>
                </a:cubicBezTo>
                <a:cubicBezTo>
                  <a:pt x="18" y="4"/>
                  <a:pt x="23" y="0"/>
                  <a:pt x="20" y="1"/>
                </a:cubicBezTo>
                <a:cubicBezTo>
                  <a:pt x="18" y="1"/>
                  <a:pt x="16" y="4"/>
                  <a:pt x="14" y="5"/>
                </a:cubicBezTo>
                <a:cubicBezTo>
                  <a:pt x="11" y="6"/>
                  <a:pt x="9" y="4"/>
                  <a:pt x="7" y="5"/>
                </a:cubicBezTo>
                <a:cubicBezTo>
                  <a:pt x="7" y="5"/>
                  <a:pt x="7" y="6"/>
                  <a:pt x="7" y="7"/>
                </a:cubicBezTo>
                <a:cubicBezTo>
                  <a:pt x="6" y="7"/>
                  <a:pt x="5" y="7"/>
                  <a:pt x="5" y="7"/>
                </a:cubicBezTo>
                <a:cubicBezTo>
                  <a:pt x="6" y="8"/>
                  <a:pt x="7" y="9"/>
                  <a:pt x="9" y="8"/>
                </a:cubicBezTo>
                <a:cubicBezTo>
                  <a:pt x="10" y="8"/>
                  <a:pt x="10" y="7"/>
                  <a:pt x="11" y="7"/>
                </a:cubicBezTo>
                <a:cubicBezTo>
                  <a:pt x="12" y="6"/>
                  <a:pt x="12" y="7"/>
                  <a:pt x="13" y="7"/>
                </a:cubicBezTo>
                <a:cubicBezTo>
                  <a:pt x="15" y="7"/>
                  <a:pt x="15" y="7"/>
                  <a:pt x="16" y="8"/>
                </a:cubicBezTo>
                <a:close/>
                <a:moveTo>
                  <a:pt x="16" y="8"/>
                </a:moveTo>
                <a:cubicBezTo>
                  <a:pt x="16" y="8"/>
                  <a:pt x="16" y="9"/>
                  <a:pt x="16" y="9"/>
                </a:cubicBezTo>
                <a:cubicBezTo>
                  <a:pt x="15" y="10"/>
                  <a:pt x="14" y="10"/>
                  <a:pt x="12" y="11"/>
                </a:cubicBezTo>
                <a:cubicBezTo>
                  <a:pt x="8" y="13"/>
                  <a:pt x="6" y="15"/>
                  <a:pt x="1" y="11"/>
                </a:cubicBezTo>
                <a:cubicBezTo>
                  <a:pt x="1" y="11"/>
                  <a:pt x="1" y="9"/>
                  <a:pt x="0" y="9"/>
                </a:cubicBezTo>
                <a:cubicBezTo>
                  <a:pt x="2" y="8"/>
                  <a:pt x="3" y="7"/>
                  <a:pt x="5" y="7"/>
                </a:cubicBezTo>
                <a:cubicBezTo>
                  <a:pt x="6" y="8"/>
                  <a:pt x="7" y="9"/>
                  <a:pt x="9" y="8"/>
                </a:cubicBezTo>
                <a:cubicBezTo>
                  <a:pt x="10" y="8"/>
                  <a:pt x="10" y="7"/>
                  <a:pt x="11" y="7"/>
                </a:cubicBezTo>
                <a:cubicBezTo>
                  <a:pt x="12" y="6"/>
                  <a:pt x="12" y="7"/>
                  <a:pt x="13" y="7"/>
                </a:cubicBezTo>
                <a:cubicBezTo>
                  <a:pt x="15" y="7"/>
                  <a:pt x="15" y="7"/>
                  <a:pt x="16" y="8"/>
                </a:cubicBezTo>
                <a:close/>
              </a:path>
            </a:pathLst>
          </a:custGeom>
          <a:solidFill>
            <a:srgbClr val="A5A5A5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0" name="Google Shape;570;p102"/>
          <p:cNvSpPr/>
          <p:nvPr/>
        </p:nvSpPr>
        <p:spPr>
          <a:xfrm>
            <a:off x="4147547" y="4004564"/>
            <a:ext cx="252574" cy="105722"/>
          </a:xfrm>
          <a:custGeom>
            <a:avLst/>
            <a:gdLst/>
            <a:ahLst/>
            <a:cxnLst/>
            <a:rect l="l" t="t" r="r" b="b"/>
            <a:pathLst>
              <a:path w="88" h="38" extrusionOk="0">
                <a:moveTo>
                  <a:pt x="14" y="12"/>
                </a:moveTo>
                <a:cubicBezTo>
                  <a:pt x="14" y="12"/>
                  <a:pt x="14" y="14"/>
                  <a:pt x="14" y="15"/>
                </a:cubicBezTo>
                <a:cubicBezTo>
                  <a:pt x="15" y="14"/>
                  <a:pt x="17" y="17"/>
                  <a:pt x="12" y="19"/>
                </a:cubicBezTo>
                <a:cubicBezTo>
                  <a:pt x="11" y="20"/>
                  <a:pt x="16" y="19"/>
                  <a:pt x="14" y="19"/>
                </a:cubicBezTo>
                <a:cubicBezTo>
                  <a:pt x="19" y="16"/>
                  <a:pt x="17" y="20"/>
                  <a:pt x="18" y="13"/>
                </a:cubicBezTo>
                <a:cubicBezTo>
                  <a:pt x="17" y="13"/>
                  <a:pt x="16" y="13"/>
                  <a:pt x="14" y="12"/>
                </a:cubicBezTo>
                <a:close/>
                <a:moveTo>
                  <a:pt x="14" y="1"/>
                </a:moveTo>
                <a:cubicBezTo>
                  <a:pt x="12" y="1"/>
                  <a:pt x="3" y="7"/>
                  <a:pt x="2" y="9"/>
                </a:cubicBezTo>
                <a:cubicBezTo>
                  <a:pt x="2" y="10"/>
                  <a:pt x="2" y="13"/>
                  <a:pt x="2" y="13"/>
                </a:cubicBezTo>
                <a:cubicBezTo>
                  <a:pt x="1" y="13"/>
                  <a:pt x="1" y="13"/>
                  <a:pt x="0" y="14"/>
                </a:cubicBezTo>
                <a:cubicBezTo>
                  <a:pt x="2" y="14"/>
                  <a:pt x="5" y="14"/>
                  <a:pt x="7" y="13"/>
                </a:cubicBezTo>
                <a:cubicBezTo>
                  <a:pt x="7" y="13"/>
                  <a:pt x="7" y="11"/>
                  <a:pt x="7" y="11"/>
                </a:cubicBezTo>
                <a:cubicBezTo>
                  <a:pt x="8" y="11"/>
                  <a:pt x="9" y="11"/>
                  <a:pt x="10" y="11"/>
                </a:cubicBezTo>
                <a:cubicBezTo>
                  <a:pt x="11" y="11"/>
                  <a:pt x="10" y="9"/>
                  <a:pt x="11" y="9"/>
                </a:cubicBezTo>
                <a:cubicBezTo>
                  <a:pt x="12" y="7"/>
                  <a:pt x="16" y="4"/>
                  <a:pt x="20" y="5"/>
                </a:cubicBezTo>
                <a:cubicBezTo>
                  <a:pt x="21" y="5"/>
                  <a:pt x="23" y="6"/>
                  <a:pt x="24" y="6"/>
                </a:cubicBezTo>
                <a:cubicBezTo>
                  <a:pt x="24" y="6"/>
                  <a:pt x="24" y="8"/>
                  <a:pt x="24" y="9"/>
                </a:cubicBezTo>
                <a:cubicBezTo>
                  <a:pt x="26" y="10"/>
                  <a:pt x="28" y="9"/>
                  <a:pt x="31" y="10"/>
                </a:cubicBezTo>
                <a:cubicBezTo>
                  <a:pt x="31" y="10"/>
                  <a:pt x="33" y="12"/>
                  <a:pt x="33" y="12"/>
                </a:cubicBezTo>
                <a:cubicBezTo>
                  <a:pt x="34" y="12"/>
                  <a:pt x="35" y="11"/>
                  <a:pt x="36" y="12"/>
                </a:cubicBezTo>
                <a:cubicBezTo>
                  <a:pt x="37" y="12"/>
                  <a:pt x="36" y="14"/>
                  <a:pt x="37" y="15"/>
                </a:cubicBezTo>
                <a:cubicBezTo>
                  <a:pt x="38" y="16"/>
                  <a:pt x="40" y="16"/>
                  <a:pt x="41" y="17"/>
                </a:cubicBezTo>
                <a:cubicBezTo>
                  <a:pt x="42" y="17"/>
                  <a:pt x="42" y="19"/>
                  <a:pt x="43" y="19"/>
                </a:cubicBezTo>
                <a:cubicBezTo>
                  <a:pt x="45" y="20"/>
                  <a:pt x="49" y="19"/>
                  <a:pt x="52" y="19"/>
                </a:cubicBezTo>
                <a:cubicBezTo>
                  <a:pt x="52" y="20"/>
                  <a:pt x="51" y="21"/>
                  <a:pt x="52" y="23"/>
                </a:cubicBezTo>
                <a:cubicBezTo>
                  <a:pt x="53" y="27"/>
                  <a:pt x="58" y="29"/>
                  <a:pt x="63" y="30"/>
                </a:cubicBezTo>
                <a:cubicBezTo>
                  <a:pt x="63" y="31"/>
                  <a:pt x="63" y="32"/>
                  <a:pt x="63" y="33"/>
                </a:cubicBezTo>
                <a:cubicBezTo>
                  <a:pt x="63" y="34"/>
                  <a:pt x="60" y="36"/>
                  <a:pt x="59" y="36"/>
                </a:cubicBezTo>
                <a:cubicBezTo>
                  <a:pt x="59" y="37"/>
                  <a:pt x="60" y="38"/>
                  <a:pt x="60" y="38"/>
                </a:cubicBezTo>
                <a:cubicBezTo>
                  <a:pt x="66" y="37"/>
                  <a:pt x="75" y="36"/>
                  <a:pt x="81" y="36"/>
                </a:cubicBezTo>
                <a:cubicBezTo>
                  <a:pt x="81" y="36"/>
                  <a:pt x="82" y="37"/>
                  <a:pt x="83" y="36"/>
                </a:cubicBezTo>
                <a:cubicBezTo>
                  <a:pt x="85" y="36"/>
                  <a:pt x="87" y="34"/>
                  <a:pt x="88" y="34"/>
                </a:cubicBezTo>
                <a:cubicBezTo>
                  <a:pt x="88" y="33"/>
                  <a:pt x="87" y="32"/>
                  <a:pt x="87" y="31"/>
                </a:cubicBezTo>
                <a:cubicBezTo>
                  <a:pt x="87" y="31"/>
                  <a:pt x="85" y="29"/>
                  <a:pt x="83" y="29"/>
                </a:cubicBezTo>
                <a:cubicBezTo>
                  <a:pt x="80" y="29"/>
                  <a:pt x="79" y="31"/>
                  <a:pt x="76" y="28"/>
                </a:cubicBezTo>
                <a:cubicBezTo>
                  <a:pt x="76" y="28"/>
                  <a:pt x="77" y="25"/>
                  <a:pt x="77" y="24"/>
                </a:cubicBezTo>
                <a:cubicBezTo>
                  <a:pt x="70" y="24"/>
                  <a:pt x="70" y="25"/>
                  <a:pt x="66" y="19"/>
                </a:cubicBezTo>
                <a:cubicBezTo>
                  <a:pt x="65" y="19"/>
                  <a:pt x="65" y="20"/>
                  <a:pt x="64" y="19"/>
                </a:cubicBezTo>
                <a:cubicBezTo>
                  <a:pt x="63" y="19"/>
                  <a:pt x="63" y="16"/>
                  <a:pt x="62" y="15"/>
                </a:cubicBezTo>
                <a:cubicBezTo>
                  <a:pt x="61" y="15"/>
                  <a:pt x="59" y="16"/>
                  <a:pt x="58" y="15"/>
                </a:cubicBezTo>
                <a:cubicBezTo>
                  <a:pt x="58" y="14"/>
                  <a:pt x="58" y="14"/>
                  <a:pt x="58" y="14"/>
                </a:cubicBezTo>
                <a:cubicBezTo>
                  <a:pt x="57" y="13"/>
                  <a:pt x="56" y="14"/>
                  <a:pt x="56" y="14"/>
                </a:cubicBezTo>
                <a:cubicBezTo>
                  <a:pt x="55" y="14"/>
                  <a:pt x="54" y="12"/>
                  <a:pt x="54" y="12"/>
                </a:cubicBezTo>
                <a:cubicBezTo>
                  <a:pt x="50" y="11"/>
                  <a:pt x="49" y="12"/>
                  <a:pt x="46" y="11"/>
                </a:cubicBezTo>
                <a:cubicBezTo>
                  <a:pt x="44" y="9"/>
                  <a:pt x="44" y="6"/>
                  <a:pt x="42" y="5"/>
                </a:cubicBezTo>
                <a:cubicBezTo>
                  <a:pt x="41" y="4"/>
                  <a:pt x="29" y="1"/>
                  <a:pt x="28" y="1"/>
                </a:cubicBezTo>
                <a:cubicBezTo>
                  <a:pt x="27" y="1"/>
                  <a:pt x="27" y="4"/>
                  <a:pt x="25" y="3"/>
                </a:cubicBezTo>
                <a:cubicBezTo>
                  <a:pt x="25" y="3"/>
                  <a:pt x="24" y="1"/>
                  <a:pt x="24" y="1"/>
                </a:cubicBezTo>
                <a:cubicBezTo>
                  <a:pt x="20" y="1"/>
                  <a:pt x="17" y="0"/>
                  <a:pt x="14" y="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1" name="Google Shape;571;p102"/>
          <p:cNvSpPr/>
          <p:nvPr/>
        </p:nvSpPr>
        <p:spPr>
          <a:xfrm>
            <a:off x="6575355" y="3247186"/>
            <a:ext cx="161511" cy="157714"/>
          </a:xfrm>
          <a:custGeom>
            <a:avLst/>
            <a:gdLst/>
            <a:ahLst/>
            <a:cxnLst/>
            <a:rect l="l" t="t" r="r" b="b"/>
            <a:pathLst>
              <a:path w="56" h="57" extrusionOk="0">
                <a:moveTo>
                  <a:pt x="45" y="57"/>
                </a:moveTo>
                <a:cubicBezTo>
                  <a:pt x="45" y="57"/>
                  <a:pt x="43" y="55"/>
                  <a:pt x="42" y="53"/>
                </a:cubicBezTo>
                <a:cubicBezTo>
                  <a:pt x="42" y="52"/>
                  <a:pt x="41" y="51"/>
                  <a:pt x="41" y="51"/>
                </a:cubicBezTo>
                <a:cubicBezTo>
                  <a:pt x="41" y="51"/>
                  <a:pt x="38" y="50"/>
                  <a:pt x="37" y="48"/>
                </a:cubicBezTo>
                <a:cubicBezTo>
                  <a:pt x="35" y="47"/>
                  <a:pt x="35" y="48"/>
                  <a:pt x="33" y="45"/>
                </a:cubicBezTo>
                <a:cubicBezTo>
                  <a:pt x="32" y="43"/>
                  <a:pt x="27" y="39"/>
                  <a:pt x="25" y="36"/>
                </a:cubicBezTo>
                <a:cubicBezTo>
                  <a:pt x="23" y="33"/>
                  <a:pt x="26" y="36"/>
                  <a:pt x="25" y="33"/>
                </a:cubicBezTo>
                <a:cubicBezTo>
                  <a:pt x="25" y="30"/>
                  <a:pt x="21" y="26"/>
                  <a:pt x="21" y="26"/>
                </a:cubicBezTo>
                <a:cubicBezTo>
                  <a:pt x="21" y="26"/>
                  <a:pt x="21" y="25"/>
                  <a:pt x="21" y="23"/>
                </a:cubicBezTo>
                <a:cubicBezTo>
                  <a:pt x="21" y="21"/>
                  <a:pt x="23" y="21"/>
                  <a:pt x="24" y="22"/>
                </a:cubicBezTo>
                <a:cubicBezTo>
                  <a:pt x="24" y="23"/>
                  <a:pt x="26" y="26"/>
                  <a:pt x="27" y="24"/>
                </a:cubicBezTo>
                <a:cubicBezTo>
                  <a:pt x="28" y="22"/>
                  <a:pt x="29" y="24"/>
                  <a:pt x="30" y="25"/>
                </a:cubicBezTo>
                <a:cubicBezTo>
                  <a:pt x="32" y="27"/>
                  <a:pt x="36" y="23"/>
                  <a:pt x="38" y="24"/>
                </a:cubicBezTo>
                <a:cubicBezTo>
                  <a:pt x="40" y="25"/>
                  <a:pt x="43" y="26"/>
                  <a:pt x="43" y="26"/>
                </a:cubicBezTo>
                <a:cubicBezTo>
                  <a:pt x="43" y="26"/>
                  <a:pt x="44" y="25"/>
                  <a:pt x="44" y="27"/>
                </a:cubicBezTo>
                <a:cubicBezTo>
                  <a:pt x="45" y="30"/>
                  <a:pt x="52" y="28"/>
                  <a:pt x="52" y="28"/>
                </a:cubicBezTo>
                <a:cubicBezTo>
                  <a:pt x="52" y="28"/>
                  <a:pt x="56" y="26"/>
                  <a:pt x="52" y="23"/>
                </a:cubicBezTo>
                <a:cubicBezTo>
                  <a:pt x="50" y="22"/>
                  <a:pt x="53" y="19"/>
                  <a:pt x="53" y="19"/>
                </a:cubicBezTo>
                <a:cubicBezTo>
                  <a:pt x="52" y="19"/>
                  <a:pt x="52" y="19"/>
                  <a:pt x="52" y="19"/>
                </a:cubicBezTo>
                <a:cubicBezTo>
                  <a:pt x="52" y="19"/>
                  <a:pt x="48" y="20"/>
                  <a:pt x="46" y="18"/>
                </a:cubicBezTo>
                <a:cubicBezTo>
                  <a:pt x="44" y="17"/>
                  <a:pt x="41" y="17"/>
                  <a:pt x="38" y="14"/>
                </a:cubicBezTo>
                <a:cubicBezTo>
                  <a:pt x="35" y="12"/>
                  <a:pt x="33" y="9"/>
                  <a:pt x="32" y="6"/>
                </a:cubicBezTo>
                <a:cubicBezTo>
                  <a:pt x="32" y="3"/>
                  <a:pt x="27" y="0"/>
                  <a:pt x="27" y="0"/>
                </a:cubicBezTo>
                <a:cubicBezTo>
                  <a:pt x="27" y="0"/>
                  <a:pt x="24" y="1"/>
                  <a:pt x="24" y="3"/>
                </a:cubicBezTo>
                <a:cubicBezTo>
                  <a:pt x="24" y="5"/>
                  <a:pt x="23" y="5"/>
                  <a:pt x="21" y="5"/>
                </a:cubicBezTo>
                <a:cubicBezTo>
                  <a:pt x="19" y="5"/>
                  <a:pt x="19" y="3"/>
                  <a:pt x="18" y="7"/>
                </a:cubicBezTo>
                <a:cubicBezTo>
                  <a:pt x="18" y="9"/>
                  <a:pt x="17" y="14"/>
                  <a:pt x="15" y="15"/>
                </a:cubicBezTo>
                <a:cubicBezTo>
                  <a:pt x="12" y="15"/>
                  <a:pt x="11" y="10"/>
                  <a:pt x="11" y="13"/>
                </a:cubicBezTo>
                <a:cubicBezTo>
                  <a:pt x="11" y="16"/>
                  <a:pt x="11" y="16"/>
                  <a:pt x="10" y="18"/>
                </a:cubicBezTo>
                <a:cubicBezTo>
                  <a:pt x="9" y="20"/>
                  <a:pt x="0" y="21"/>
                  <a:pt x="0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1" y="22"/>
                  <a:pt x="2" y="28"/>
                  <a:pt x="2" y="29"/>
                </a:cubicBezTo>
                <a:cubicBezTo>
                  <a:pt x="2" y="29"/>
                  <a:pt x="4" y="29"/>
                  <a:pt x="4" y="28"/>
                </a:cubicBezTo>
                <a:cubicBezTo>
                  <a:pt x="4" y="28"/>
                  <a:pt x="4" y="27"/>
                  <a:pt x="4" y="26"/>
                </a:cubicBezTo>
                <a:cubicBezTo>
                  <a:pt x="4" y="25"/>
                  <a:pt x="5" y="26"/>
                  <a:pt x="7" y="26"/>
                </a:cubicBezTo>
                <a:cubicBezTo>
                  <a:pt x="7" y="24"/>
                  <a:pt x="8" y="21"/>
                  <a:pt x="9" y="20"/>
                </a:cubicBezTo>
                <a:cubicBezTo>
                  <a:pt x="12" y="23"/>
                  <a:pt x="12" y="24"/>
                  <a:pt x="11" y="30"/>
                </a:cubicBezTo>
                <a:cubicBezTo>
                  <a:pt x="12" y="31"/>
                  <a:pt x="20" y="36"/>
                  <a:pt x="14" y="36"/>
                </a:cubicBezTo>
                <a:cubicBezTo>
                  <a:pt x="14" y="36"/>
                  <a:pt x="15" y="38"/>
                  <a:pt x="14" y="38"/>
                </a:cubicBezTo>
                <a:cubicBezTo>
                  <a:pt x="16" y="39"/>
                  <a:pt x="18" y="41"/>
                  <a:pt x="18" y="41"/>
                </a:cubicBezTo>
                <a:cubicBezTo>
                  <a:pt x="19" y="41"/>
                  <a:pt x="20" y="40"/>
                  <a:pt x="20" y="41"/>
                </a:cubicBezTo>
                <a:cubicBezTo>
                  <a:pt x="21" y="41"/>
                  <a:pt x="21" y="43"/>
                  <a:pt x="22" y="44"/>
                </a:cubicBezTo>
                <a:cubicBezTo>
                  <a:pt x="24" y="44"/>
                  <a:pt x="26" y="43"/>
                  <a:pt x="27" y="43"/>
                </a:cubicBezTo>
                <a:cubicBezTo>
                  <a:pt x="28" y="43"/>
                  <a:pt x="33" y="50"/>
                  <a:pt x="34" y="51"/>
                </a:cubicBezTo>
                <a:cubicBezTo>
                  <a:pt x="36" y="52"/>
                  <a:pt x="38" y="52"/>
                  <a:pt x="38" y="52"/>
                </a:cubicBezTo>
                <a:cubicBezTo>
                  <a:pt x="40" y="52"/>
                  <a:pt x="41" y="55"/>
                  <a:pt x="42" y="56"/>
                </a:cubicBezTo>
                <a:cubicBezTo>
                  <a:pt x="43" y="57"/>
                  <a:pt x="44" y="57"/>
                  <a:pt x="45" y="57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2" name="Google Shape;572;p102"/>
          <p:cNvSpPr/>
          <p:nvPr/>
        </p:nvSpPr>
        <p:spPr>
          <a:xfrm>
            <a:off x="4106310" y="4366790"/>
            <a:ext cx="85909" cy="97056"/>
          </a:xfrm>
          <a:custGeom>
            <a:avLst/>
            <a:gdLst/>
            <a:ahLst/>
            <a:cxnLst/>
            <a:rect l="l" t="t" r="r" b="b"/>
            <a:pathLst>
              <a:path w="30" h="35" extrusionOk="0">
                <a:moveTo>
                  <a:pt x="10" y="3"/>
                </a:moveTo>
                <a:cubicBezTo>
                  <a:pt x="12" y="3"/>
                  <a:pt x="14" y="3"/>
                  <a:pt x="14" y="3"/>
                </a:cubicBezTo>
                <a:cubicBezTo>
                  <a:pt x="14" y="3"/>
                  <a:pt x="15" y="5"/>
                  <a:pt x="17" y="5"/>
                </a:cubicBezTo>
                <a:cubicBezTo>
                  <a:pt x="19" y="5"/>
                  <a:pt x="20" y="5"/>
                  <a:pt x="20" y="5"/>
                </a:cubicBezTo>
                <a:cubicBezTo>
                  <a:pt x="21" y="7"/>
                  <a:pt x="21" y="9"/>
                  <a:pt x="22" y="11"/>
                </a:cubicBezTo>
                <a:cubicBezTo>
                  <a:pt x="23" y="14"/>
                  <a:pt x="29" y="17"/>
                  <a:pt x="30" y="20"/>
                </a:cubicBezTo>
                <a:cubicBezTo>
                  <a:pt x="27" y="21"/>
                  <a:pt x="27" y="21"/>
                  <a:pt x="27" y="21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0"/>
                  <a:pt x="26" y="23"/>
                  <a:pt x="25" y="25"/>
                </a:cubicBezTo>
                <a:cubicBezTo>
                  <a:pt x="24" y="27"/>
                  <a:pt x="27" y="29"/>
                  <a:pt x="27" y="31"/>
                </a:cubicBezTo>
                <a:cubicBezTo>
                  <a:pt x="26" y="32"/>
                  <a:pt x="26" y="35"/>
                  <a:pt x="26" y="35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30"/>
                  <a:pt x="22" y="29"/>
                  <a:pt x="22" y="29"/>
                </a:cubicBezTo>
                <a:cubicBezTo>
                  <a:pt x="22" y="31"/>
                  <a:pt x="21" y="33"/>
                  <a:pt x="21" y="34"/>
                </a:cubicBezTo>
                <a:cubicBezTo>
                  <a:pt x="19" y="30"/>
                  <a:pt x="19" y="29"/>
                  <a:pt x="20" y="24"/>
                </a:cubicBezTo>
                <a:cubicBezTo>
                  <a:pt x="18" y="23"/>
                  <a:pt x="17" y="23"/>
                  <a:pt x="15" y="22"/>
                </a:cubicBezTo>
                <a:cubicBezTo>
                  <a:pt x="15" y="21"/>
                  <a:pt x="15" y="21"/>
                  <a:pt x="15" y="21"/>
                </a:cubicBezTo>
                <a:cubicBezTo>
                  <a:pt x="15" y="21"/>
                  <a:pt x="13" y="21"/>
                  <a:pt x="13" y="21"/>
                </a:cubicBezTo>
                <a:cubicBezTo>
                  <a:pt x="12" y="20"/>
                  <a:pt x="12" y="18"/>
                  <a:pt x="11" y="16"/>
                </a:cubicBezTo>
                <a:cubicBezTo>
                  <a:pt x="11" y="16"/>
                  <a:pt x="10" y="16"/>
                  <a:pt x="9" y="15"/>
                </a:cubicBezTo>
                <a:cubicBezTo>
                  <a:pt x="8" y="15"/>
                  <a:pt x="8" y="15"/>
                  <a:pt x="8" y="15"/>
                </a:cubicBezTo>
                <a:cubicBezTo>
                  <a:pt x="8" y="15"/>
                  <a:pt x="8" y="17"/>
                  <a:pt x="8" y="18"/>
                </a:cubicBezTo>
                <a:cubicBezTo>
                  <a:pt x="7" y="19"/>
                  <a:pt x="8" y="19"/>
                  <a:pt x="7" y="20"/>
                </a:cubicBezTo>
                <a:cubicBezTo>
                  <a:pt x="7" y="20"/>
                  <a:pt x="6" y="21"/>
                  <a:pt x="5" y="20"/>
                </a:cubicBezTo>
                <a:cubicBezTo>
                  <a:pt x="4" y="20"/>
                  <a:pt x="4" y="18"/>
                  <a:pt x="3" y="17"/>
                </a:cubicBezTo>
                <a:cubicBezTo>
                  <a:pt x="2" y="16"/>
                  <a:pt x="1" y="16"/>
                  <a:pt x="0" y="16"/>
                </a:cubicBezTo>
                <a:cubicBezTo>
                  <a:pt x="1" y="14"/>
                  <a:pt x="1" y="12"/>
                  <a:pt x="1" y="11"/>
                </a:cubicBezTo>
                <a:cubicBezTo>
                  <a:pt x="2" y="11"/>
                  <a:pt x="3" y="11"/>
                  <a:pt x="3" y="11"/>
                </a:cubicBezTo>
                <a:cubicBezTo>
                  <a:pt x="4" y="9"/>
                  <a:pt x="2" y="9"/>
                  <a:pt x="2" y="9"/>
                </a:cubicBezTo>
                <a:cubicBezTo>
                  <a:pt x="1" y="7"/>
                  <a:pt x="2" y="5"/>
                  <a:pt x="1" y="3"/>
                </a:cubicBezTo>
                <a:cubicBezTo>
                  <a:pt x="1" y="2"/>
                  <a:pt x="0" y="1"/>
                  <a:pt x="0" y="0"/>
                </a:cubicBezTo>
                <a:cubicBezTo>
                  <a:pt x="0" y="0"/>
                  <a:pt x="1" y="0"/>
                  <a:pt x="3" y="1"/>
                </a:cubicBezTo>
                <a:cubicBezTo>
                  <a:pt x="4" y="3"/>
                  <a:pt x="6" y="3"/>
                  <a:pt x="10" y="4"/>
                </a:cubicBezTo>
                <a:cubicBezTo>
                  <a:pt x="10" y="4"/>
                  <a:pt x="10" y="3"/>
                  <a:pt x="10" y="3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3" name="Google Shape;573;p102"/>
          <p:cNvSpPr/>
          <p:nvPr/>
        </p:nvSpPr>
        <p:spPr>
          <a:xfrm>
            <a:off x="6515219" y="4597296"/>
            <a:ext cx="185565" cy="247839"/>
          </a:xfrm>
          <a:custGeom>
            <a:avLst/>
            <a:gdLst/>
            <a:ahLst/>
            <a:cxnLst/>
            <a:rect l="l" t="t" r="r" b="b"/>
            <a:pathLst>
              <a:path w="65" h="89" extrusionOk="0">
                <a:moveTo>
                  <a:pt x="8" y="88"/>
                </a:moveTo>
                <a:cubicBezTo>
                  <a:pt x="8" y="88"/>
                  <a:pt x="9" y="87"/>
                  <a:pt x="11" y="87"/>
                </a:cubicBezTo>
                <a:cubicBezTo>
                  <a:pt x="15" y="87"/>
                  <a:pt x="11" y="87"/>
                  <a:pt x="13" y="85"/>
                </a:cubicBezTo>
                <a:cubicBezTo>
                  <a:pt x="16" y="83"/>
                  <a:pt x="17" y="86"/>
                  <a:pt x="17" y="86"/>
                </a:cubicBezTo>
                <a:cubicBezTo>
                  <a:pt x="17" y="86"/>
                  <a:pt x="18" y="87"/>
                  <a:pt x="20" y="85"/>
                </a:cubicBezTo>
                <a:cubicBezTo>
                  <a:pt x="21" y="84"/>
                  <a:pt x="23" y="85"/>
                  <a:pt x="25" y="85"/>
                </a:cubicBezTo>
                <a:cubicBezTo>
                  <a:pt x="27" y="85"/>
                  <a:pt x="26" y="81"/>
                  <a:pt x="26" y="81"/>
                </a:cubicBezTo>
                <a:cubicBezTo>
                  <a:pt x="26" y="81"/>
                  <a:pt x="27" y="82"/>
                  <a:pt x="29" y="82"/>
                </a:cubicBezTo>
                <a:cubicBezTo>
                  <a:pt x="31" y="82"/>
                  <a:pt x="33" y="81"/>
                  <a:pt x="33" y="81"/>
                </a:cubicBezTo>
                <a:cubicBezTo>
                  <a:pt x="33" y="87"/>
                  <a:pt x="33" y="87"/>
                  <a:pt x="33" y="87"/>
                </a:cubicBezTo>
                <a:cubicBezTo>
                  <a:pt x="34" y="89"/>
                  <a:pt x="34" y="89"/>
                  <a:pt x="34" y="89"/>
                </a:cubicBezTo>
                <a:cubicBezTo>
                  <a:pt x="37" y="88"/>
                  <a:pt x="37" y="88"/>
                  <a:pt x="37" y="88"/>
                </a:cubicBezTo>
                <a:cubicBezTo>
                  <a:pt x="41" y="87"/>
                  <a:pt x="41" y="87"/>
                  <a:pt x="41" y="87"/>
                </a:cubicBezTo>
                <a:cubicBezTo>
                  <a:pt x="45" y="83"/>
                  <a:pt x="45" y="83"/>
                  <a:pt x="45" y="83"/>
                </a:cubicBezTo>
                <a:cubicBezTo>
                  <a:pt x="46" y="80"/>
                  <a:pt x="46" y="80"/>
                  <a:pt x="46" y="80"/>
                </a:cubicBezTo>
                <a:cubicBezTo>
                  <a:pt x="48" y="76"/>
                  <a:pt x="48" y="76"/>
                  <a:pt x="48" y="76"/>
                </a:cubicBezTo>
                <a:cubicBezTo>
                  <a:pt x="49" y="73"/>
                  <a:pt x="49" y="73"/>
                  <a:pt x="49" y="73"/>
                </a:cubicBezTo>
                <a:cubicBezTo>
                  <a:pt x="50" y="70"/>
                  <a:pt x="50" y="70"/>
                  <a:pt x="50" y="70"/>
                </a:cubicBezTo>
                <a:cubicBezTo>
                  <a:pt x="50" y="68"/>
                  <a:pt x="50" y="68"/>
                  <a:pt x="50" y="68"/>
                </a:cubicBezTo>
                <a:cubicBezTo>
                  <a:pt x="50" y="64"/>
                  <a:pt x="50" y="64"/>
                  <a:pt x="50" y="64"/>
                </a:cubicBezTo>
                <a:cubicBezTo>
                  <a:pt x="51" y="61"/>
                  <a:pt x="51" y="61"/>
                  <a:pt x="51" y="61"/>
                </a:cubicBezTo>
                <a:cubicBezTo>
                  <a:pt x="51" y="58"/>
                  <a:pt x="51" y="58"/>
                  <a:pt x="51" y="58"/>
                </a:cubicBezTo>
                <a:cubicBezTo>
                  <a:pt x="53" y="54"/>
                  <a:pt x="53" y="54"/>
                  <a:pt x="53" y="54"/>
                </a:cubicBezTo>
                <a:cubicBezTo>
                  <a:pt x="55" y="51"/>
                  <a:pt x="55" y="51"/>
                  <a:pt x="55" y="51"/>
                </a:cubicBezTo>
                <a:cubicBezTo>
                  <a:pt x="55" y="52"/>
                  <a:pt x="55" y="52"/>
                  <a:pt x="55" y="52"/>
                </a:cubicBezTo>
                <a:cubicBezTo>
                  <a:pt x="56" y="47"/>
                  <a:pt x="56" y="47"/>
                  <a:pt x="56" y="47"/>
                </a:cubicBezTo>
                <a:cubicBezTo>
                  <a:pt x="56" y="44"/>
                  <a:pt x="56" y="44"/>
                  <a:pt x="56" y="44"/>
                </a:cubicBezTo>
                <a:cubicBezTo>
                  <a:pt x="59" y="40"/>
                  <a:pt x="59" y="40"/>
                  <a:pt x="59" y="40"/>
                </a:cubicBezTo>
                <a:cubicBezTo>
                  <a:pt x="60" y="35"/>
                  <a:pt x="60" y="35"/>
                  <a:pt x="60" y="35"/>
                </a:cubicBezTo>
                <a:cubicBezTo>
                  <a:pt x="60" y="31"/>
                  <a:pt x="60" y="31"/>
                  <a:pt x="60" y="31"/>
                </a:cubicBezTo>
                <a:cubicBezTo>
                  <a:pt x="60" y="26"/>
                  <a:pt x="60" y="26"/>
                  <a:pt x="60" y="26"/>
                </a:cubicBezTo>
                <a:cubicBezTo>
                  <a:pt x="59" y="23"/>
                  <a:pt x="59" y="23"/>
                  <a:pt x="59" y="23"/>
                </a:cubicBezTo>
                <a:cubicBezTo>
                  <a:pt x="60" y="19"/>
                  <a:pt x="60" y="19"/>
                  <a:pt x="60" y="19"/>
                </a:cubicBezTo>
                <a:cubicBezTo>
                  <a:pt x="60" y="15"/>
                  <a:pt x="60" y="15"/>
                  <a:pt x="60" y="15"/>
                </a:cubicBezTo>
                <a:cubicBezTo>
                  <a:pt x="62" y="12"/>
                  <a:pt x="62" y="12"/>
                  <a:pt x="62" y="12"/>
                </a:cubicBezTo>
                <a:cubicBezTo>
                  <a:pt x="64" y="9"/>
                  <a:pt x="64" y="9"/>
                  <a:pt x="64" y="9"/>
                </a:cubicBezTo>
                <a:cubicBezTo>
                  <a:pt x="65" y="5"/>
                  <a:pt x="65" y="5"/>
                  <a:pt x="65" y="5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1" y="1"/>
                  <a:pt x="59" y="2"/>
                </a:cubicBezTo>
                <a:cubicBezTo>
                  <a:pt x="57" y="2"/>
                  <a:pt x="57" y="0"/>
                  <a:pt x="55" y="1"/>
                </a:cubicBezTo>
                <a:cubicBezTo>
                  <a:pt x="52" y="2"/>
                  <a:pt x="53" y="2"/>
                  <a:pt x="52" y="5"/>
                </a:cubicBezTo>
                <a:cubicBezTo>
                  <a:pt x="51" y="7"/>
                  <a:pt x="48" y="7"/>
                  <a:pt x="48" y="7"/>
                </a:cubicBezTo>
                <a:cubicBezTo>
                  <a:pt x="48" y="7"/>
                  <a:pt x="45" y="10"/>
                  <a:pt x="46" y="12"/>
                </a:cubicBezTo>
                <a:cubicBezTo>
                  <a:pt x="46" y="13"/>
                  <a:pt x="47" y="16"/>
                  <a:pt x="47" y="16"/>
                </a:cubicBezTo>
                <a:cubicBezTo>
                  <a:pt x="47" y="16"/>
                  <a:pt x="45" y="15"/>
                  <a:pt x="42" y="15"/>
                </a:cubicBezTo>
                <a:cubicBezTo>
                  <a:pt x="40" y="14"/>
                  <a:pt x="39" y="15"/>
                  <a:pt x="37" y="15"/>
                </a:cubicBezTo>
                <a:cubicBezTo>
                  <a:pt x="35" y="15"/>
                  <a:pt x="35" y="15"/>
                  <a:pt x="34" y="13"/>
                </a:cubicBezTo>
                <a:cubicBezTo>
                  <a:pt x="33" y="12"/>
                  <a:pt x="30" y="11"/>
                  <a:pt x="28" y="12"/>
                </a:cubicBezTo>
                <a:cubicBezTo>
                  <a:pt x="21" y="12"/>
                  <a:pt x="21" y="12"/>
                  <a:pt x="21" y="12"/>
                </a:cubicBezTo>
                <a:cubicBezTo>
                  <a:pt x="21" y="12"/>
                  <a:pt x="21" y="17"/>
                  <a:pt x="21" y="19"/>
                </a:cubicBezTo>
                <a:cubicBezTo>
                  <a:pt x="22" y="20"/>
                  <a:pt x="20" y="23"/>
                  <a:pt x="22" y="22"/>
                </a:cubicBezTo>
                <a:cubicBezTo>
                  <a:pt x="24" y="21"/>
                  <a:pt x="25" y="22"/>
                  <a:pt x="27" y="22"/>
                </a:cubicBezTo>
                <a:cubicBezTo>
                  <a:pt x="29" y="22"/>
                  <a:pt x="32" y="23"/>
                  <a:pt x="32" y="23"/>
                </a:cubicBezTo>
                <a:cubicBezTo>
                  <a:pt x="32" y="30"/>
                  <a:pt x="32" y="30"/>
                  <a:pt x="32" y="30"/>
                </a:cubicBezTo>
                <a:cubicBezTo>
                  <a:pt x="32" y="30"/>
                  <a:pt x="30" y="29"/>
                  <a:pt x="27" y="30"/>
                </a:cubicBezTo>
                <a:cubicBezTo>
                  <a:pt x="25" y="30"/>
                  <a:pt x="24" y="30"/>
                  <a:pt x="24" y="32"/>
                </a:cubicBezTo>
                <a:cubicBezTo>
                  <a:pt x="24" y="34"/>
                  <a:pt x="25" y="37"/>
                  <a:pt x="25" y="37"/>
                </a:cubicBezTo>
                <a:cubicBezTo>
                  <a:pt x="25" y="37"/>
                  <a:pt x="22" y="37"/>
                  <a:pt x="23" y="38"/>
                </a:cubicBezTo>
                <a:cubicBezTo>
                  <a:pt x="25" y="39"/>
                  <a:pt x="27" y="41"/>
                  <a:pt x="27" y="42"/>
                </a:cubicBezTo>
                <a:cubicBezTo>
                  <a:pt x="27" y="43"/>
                  <a:pt x="28" y="44"/>
                  <a:pt x="27" y="47"/>
                </a:cubicBezTo>
                <a:cubicBezTo>
                  <a:pt x="26" y="50"/>
                  <a:pt x="27" y="49"/>
                  <a:pt x="28" y="51"/>
                </a:cubicBezTo>
                <a:cubicBezTo>
                  <a:pt x="30" y="53"/>
                  <a:pt x="26" y="55"/>
                  <a:pt x="28" y="56"/>
                </a:cubicBezTo>
                <a:cubicBezTo>
                  <a:pt x="30" y="57"/>
                  <a:pt x="31" y="57"/>
                  <a:pt x="30" y="61"/>
                </a:cubicBezTo>
                <a:cubicBezTo>
                  <a:pt x="29" y="66"/>
                  <a:pt x="29" y="67"/>
                  <a:pt x="27" y="66"/>
                </a:cubicBezTo>
                <a:cubicBezTo>
                  <a:pt x="25" y="64"/>
                  <a:pt x="25" y="61"/>
                  <a:pt x="23" y="61"/>
                </a:cubicBezTo>
                <a:cubicBezTo>
                  <a:pt x="21" y="60"/>
                  <a:pt x="17" y="62"/>
                  <a:pt x="17" y="62"/>
                </a:cubicBezTo>
                <a:cubicBezTo>
                  <a:pt x="17" y="62"/>
                  <a:pt x="17" y="60"/>
                  <a:pt x="14" y="59"/>
                </a:cubicBezTo>
                <a:cubicBezTo>
                  <a:pt x="12" y="59"/>
                  <a:pt x="16" y="62"/>
                  <a:pt x="14" y="63"/>
                </a:cubicBezTo>
                <a:cubicBezTo>
                  <a:pt x="12" y="64"/>
                  <a:pt x="7" y="61"/>
                  <a:pt x="8" y="65"/>
                </a:cubicBezTo>
                <a:cubicBezTo>
                  <a:pt x="10" y="68"/>
                  <a:pt x="9" y="66"/>
                  <a:pt x="8" y="67"/>
                </a:cubicBezTo>
                <a:cubicBezTo>
                  <a:pt x="6" y="69"/>
                  <a:pt x="9" y="71"/>
                  <a:pt x="10" y="74"/>
                </a:cubicBezTo>
                <a:cubicBezTo>
                  <a:pt x="10" y="77"/>
                  <a:pt x="11" y="79"/>
                  <a:pt x="8" y="78"/>
                </a:cubicBezTo>
                <a:cubicBezTo>
                  <a:pt x="5" y="77"/>
                  <a:pt x="5" y="76"/>
                  <a:pt x="3" y="76"/>
                </a:cubicBezTo>
                <a:cubicBezTo>
                  <a:pt x="1" y="76"/>
                  <a:pt x="0" y="82"/>
                  <a:pt x="0" y="82"/>
                </a:cubicBezTo>
                <a:cubicBezTo>
                  <a:pt x="1" y="82"/>
                  <a:pt x="3" y="83"/>
                  <a:pt x="4" y="85"/>
                </a:cubicBezTo>
                <a:cubicBezTo>
                  <a:pt x="4" y="86"/>
                  <a:pt x="4" y="86"/>
                  <a:pt x="4" y="86"/>
                </a:cubicBezTo>
                <a:cubicBezTo>
                  <a:pt x="6" y="86"/>
                  <a:pt x="6" y="86"/>
                  <a:pt x="6" y="86"/>
                </a:cubicBezTo>
                <a:cubicBezTo>
                  <a:pt x="6" y="86"/>
                  <a:pt x="5" y="88"/>
                  <a:pt x="6" y="88"/>
                </a:cubicBezTo>
                <a:lnTo>
                  <a:pt x="8" y="88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4" name="Google Shape;574;p102"/>
          <p:cNvSpPr/>
          <p:nvPr/>
        </p:nvSpPr>
        <p:spPr>
          <a:xfrm>
            <a:off x="4269537" y="4344259"/>
            <a:ext cx="321303" cy="493944"/>
          </a:xfrm>
          <a:custGeom>
            <a:avLst/>
            <a:gdLst/>
            <a:ahLst/>
            <a:cxnLst/>
            <a:rect l="l" t="t" r="r" b="b"/>
            <a:pathLst>
              <a:path w="111" h="178" extrusionOk="0">
                <a:moveTo>
                  <a:pt x="67" y="7"/>
                </a:moveTo>
                <a:cubicBezTo>
                  <a:pt x="67" y="6"/>
                  <a:pt x="69" y="7"/>
                  <a:pt x="69" y="7"/>
                </a:cubicBezTo>
                <a:cubicBezTo>
                  <a:pt x="70" y="6"/>
                  <a:pt x="70" y="5"/>
                  <a:pt x="70" y="5"/>
                </a:cubicBezTo>
                <a:cubicBezTo>
                  <a:pt x="70" y="3"/>
                  <a:pt x="70" y="3"/>
                  <a:pt x="70" y="3"/>
                </a:cubicBezTo>
                <a:cubicBezTo>
                  <a:pt x="69" y="3"/>
                  <a:pt x="69" y="3"/>
                  <a:pt x="68" y="3"/>
                </a:cubicBezTo>
                <a:cubicBezTo>
                  <a:pt x="68" y="2"/>
                  <a:pt x="67" y="1"/>
                  <a:pt x="66" y="1"/>
                </a:cubicBezTo>
                <a:cubicBezTo>
                  <a:pt x="66" y="0"/>
                  <a:pt x="65" y="1"/>
                  <a:pt x="64" y="1"/>
                </a:cubicBezTo>
                <a:cubicBezTo>
                  <a:pt x="63" y="2"/>
                  <a:pt x="62" y="2"/>
                  <a:pt x="62" y="3"/>
                </a:cubicBezTo>
                <a:cubicBezTo>
                  <a:pt x="61" y="3"/>
                  <a:pt x="62" y="5"/>
                  <a:pt x="62" y="5"/>
                </a:cubicBezTo>
                <a:cubicBezTo>
                  <a:pt x="61" y="7"/>
                  <a:pt x="58" y="9"/>
                  <a:pt x="56" y="9"/>
                </a:cubicBezTo>
                <a:cubicBezTo>
                  <a:pt x="55" y="10"/>
                  <a:pt x="54" y="9"/>
                  <a:pt x="53" y="10"/>
                </a:cubicBezTo>
                <a:cubicBezTo>
                  <a:pt x="51" y="11"/>
                  <a:pt x="50" y="14"/>
                  <a:pt x="48" y="15"/>
                </a:cubicBezTo>
                <a:cubicBezTo>
                  <a:pt x="46" y="15"/>
                  <a:pt x="44" y="14"/>
                  <a:pt x="42" y="15"/>
                </a:cubicBezTo>
                <a:cubicBezTo>
                  <a:pt x="42" y="15"/>
                  <a:pt x="42" y="16"/>
                  <a:pt x="41" y="17"/>
                </a:cubicBezTo>
                <a:cubicBezTo>
                  <a:pt x="42" y="17"/>
                  <a:pt x="40" y="22"/>
                  <a:pt x="40" y="18"/>
                </a:cubicBezTo>
                <a:cubicBezTo>
                  <a:pt x="40" y="18"/>
                  <a:pt x="39" y="17"/>
                  <a:pt x="37" y="17"/>
                </a:cubicBezTo>
                <a:cubicBezTo>
                  <a:pt x="36" y="17"/>
                  <a:pt x="36" y="19"/>
                  <a:pt x="35" y="20"/>
                </a:cubicBezTo>
                <a:cubicBezTo>
                  <a:pt x="34" y="20"/>
                  <a:pt x="34" y="20"/>
                  <a:pt x="34" y="20"/>
                </a:cubicBezTo>
                <a:cubicBezTo>
                  <a:pt x="33" y="23"/>
                  <a:pt x="35" y="27"/>
                  <a:pt x="34" y="28"/>
                </a:cubicBezTo>
                <a:cubicBezTo>
                  <a:pt x="34" y="29"/>
                  <a:pt x="31" y="29"/>
                  <a:pt x="31" y="30"/>
                </a:cubicBezTo>
                <a:cubicBezTo>
                  <a:pt x="30" y="31"/>
                  <a:pt x="31" y="32"/>
                  <a:pt x="31" y="34"/>
                </a:cubicBezTo>
                <a:cubicBezTo>
                  <a:pt x="30" y="34"/>
                  <a:pt x="30" y="34"/>
                  <a:pt x="28" y="34"/>
                </a:cubicBezTo>
                <a:cubicBezTo>
                  <a:pt x="25" y="40"/>
                  <a:pt x="25" y="41"/>
                  <a:pt x="24" y="48"/>
                </a:cubicBezTo>
                <a:cubicBezTo>
                  <a:pt x="23" y="48"/>
                  <a:pt x="22" y="49"/>
                  <a:pt x="22" y="48"/>
                </a:cubicBezTo>
                <a:cubicBezTo>
                  <a:pt x="20" y="48"/>
                  <a:pt x="20" y="44"/>
                  <a:pt x="19" y="43"/>
                </a:cubicBezTo>
                <a:cubicBezTo>
                  <a:pt x="19" y="43"/>
                  <a:pt x="18" y="42"/>
                  <a:pt x="17" y="42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6"/>
                  <a:pt x="18" y="47"/>
                  <a:pt x="18" y="49"/>
                </a:cubicBezTo>
                <a:cubicBezTo>
                  <a:pt x="18" y="52"/>
                  <a:pt x="16" y="54"/>
                  <a:pt x="16" y="54"/>
                </a:cubicBezTo>
                <a:cubicBezTo>
                  <a:pt x="15" y="56"/>
                  <a:pt x="15" y="56"/>
                  <a:pt x="15" y="56"/>
                </a:cubicBezTo>
                <a:cubicBezTo>
                  <a:pt x="16" y="57"/>
                  <a:pt x="16" y="57"/>
                  <a:pt x="17" y="57"/>
                </a:cubicBezTo>
                <a:cubicBezTo>
                  <a:pt x="17" y="64"/>
                  <a:pt x="16" y="67"/>
                  <a:pt x="17" y="72"/>
                </a:cubicBezTo>
                <a:cubicBezTo>
                  <a:pt x="14" y="73"/>
                  <a:pt x="14" y="73"/>
                  <a:pt x="14" y="73"/>
                </a:cubicBezTo>
                <a:cubicBezTo>
                  <a:pt x="14" y="74"/>
                  <a:pt x="15" y="74"/>
                  <a:pt x="16" y="75"/>
                </a:cubicBezTo>
                <a:cubicBezTo>
                  <a:pt x="15" y="79"/>
                  <a:pt x="16" y="80"/>
                  <a:pt x="15" y="84"/>
                </a:cubicBezTo>
                <a:cubicBezTo>
                  <a:pt x="15" y="85"/>
                  <a:pt x="13" y="87"/>
                  <a:pt x="13" y="88"/>
                </a:cubicBezTo>
                <a:cubicBezTo>
                  <a:pt x="12" y="87"/>
                  <a:pt x="12" y="89"/>
                  <a:pt x="12" y="89"/>
                </a:cubicBezTo>
                <a:cubicBezTo>
                  <a:pt x="13" y="90"/>
                  <a:pt x="13" y="91"/>
                  <a:pt x="15" y="92"/>
                </a:cubicBezTo>
                <a:cubicBezTo>
                  <a:pt x="16" y="93"/>
                  <a:pt x="16" y="92"/>
                  <a:pt x="17" y="92"/>
                </a:cubicBezTo>
                <a:cubicBezTo>
                  <a:pt x="17" y="94"/>
                  <a:pt x="17" y="94"/>
                  <a:pt x="17" y="94"/>
                </a:cubicBezTo>
                <a:cubicBezTo>
                  <a:pt x="16" y="95"/>
                  <a:pt x="14" y="96"/>
                  <a:pt x="13" y="97"/>
                </a:cubicBezTo>
                <a:cubicBezTo>
                  <a:pt x="12" y="98"/>
                  <a:pt x="13" y="101"/>
                  <a:pt x="12" y="102"/>
                </a:cubicBezTo>
                <a:cubicBezTo>
                  <a:pt x="11" y="103"/>
                  <a:pt x="8" y="102"/>
                  <a:pt x="7" y="103"/>
                </a:cubicBezTo>
                <a:cubicBezTo>
                  <a:pt x="6" y="103"/>
                  <a:pt x="5" y="105"/>
                  <a:pt x="5" y="106"/>
                </a:cubicBezTo>
                <a:cubicBezTo>
                  <a:pt x="4" y="106"/>
                  <a:pt x="4" y="106"/>
                  <a:pt x="4" y="106"/>
                </a:cubicBezTo>
                <a:cubicBezTo>
                  <a:pt x="4" y="106"/>
                  <a:pt x="4" y="108"/>
                  <a:pt x="4" y="109"/>
                </a:cubicBezTo>
                <a:cubicBezTo>
                  <a:pt x="3" y="108"/>
                  <a:pt x="4" y="109"/>
                  <a:pt x="3" y="110"/>
                </a:cubicBezTo>
                <a:cubicBezTo>
                  <a:pt x="3" y="109"/>
                  <a:pt x="4" y="111"/>
                  <a:pt x="5" y="112"/>
                </a:cubicBezTo>
                <a:cubicBezTo>
                  <a:pt x="5" y="113"/>
                  <a:pt x="5" y="113"/>
                  <a:pt x="5" y="113"/>
                </a:cubicBezTo>
                <a:cubicBezTo>
                  <a:pt x="4" y="113"/>
                  <a:pt x="2" y="112"/>
                  <a:pt x="1" y="113"/>
                </a:cubicBezTo>
                <a:cubicBezTo>
                  <a:pt x="0" y="113"/>
                  <a:pt x="1" y="116"/>
                  <a:pt x="1" y="117"/>
                </a:cubicBezTo>
                <a:cubicBezTo>
                  <a:pt x="2" y="117"/>
                  <a:pt x="2" y="117"/>
                  <a:pt x="2" y="117"/>
                </a:cubicBezTo>
                <a:cubicBezTo>
                  <a:pt x="2" y="117"/>
                  <a:pt x="2" y="120"/>
                  <a:pt x="4" y="122"/>
                </a:cubicBezTo>
                <a:cubicBezTo>
                  <a:pt x="6" y="123"/>
                  <a:pt x="10" y="124"/>
                  <a:pt x="10" y="124"/>
                </a:cubicBezTo>
                <a:cubicBezTo>
                  <a:pt x="10" y="124"/>
                  <a:pt x="11" y="126"/>
                  <a:pt x="12" y="128"/>
                </a:cubicBezTo>
                <a:cubicBezTo>
                  <a:pt x="12" y="129"/>
                  <a:pt x="14" y="131"/>
                  <a:pt x="14" y="131"/>
                </a:cubicBezTo>
                <a:cubicBezTo>
                  <a:pt x="22" y="132"/>
                  <a:pt x="22" y="132"/>
                  <a:pt x="22" y="132"/>
                </a:cubicBezTo>
                <a:cubicBezTo>
                  <a:pt x="22" y="132"/>
                  <a:pt x="23" y="130"/>
                  <a:pt x="25" y="132"/>
                </a:cubicBezTo>
                <a:cubicBezTo>
                  <a:pt x="26" y="134"/>
                  <a:pt x="32" y="135"/>
                  <a:pt x="32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36" y="135"/>
                  <a:pt x="36" y="140"/>
                  <a:pt x="38" y="140"/>
                </a:cubicBezTo>
                <a:cubicBezTo>
                  <a:pt x="39" y="140"/>
                  <a:pt x="42" y="143"/>
                  <a:pt x="41" y="145"/>
                </a:cubicBezTo>
                <a:cubicBezTo>
                  <a:pt x="41" y="146"/>
                  <a:pt x="46" y="149"/>
                  <a:pt x="46" y="149"/>
                </a:cubicBezTo>
                <a:cubicBezTo>
                  <a:pt x="50" y="149"/>
                  <a:pt x="50" y="149"/>
                  <a:pt x="50" y="149"/>
                </a:cubicBezTo>
                <a:cubicBezTo>
                  <a:pt x="51" y="152"/>
                  <a:pt x="51" y="152"/>
                  <a:pt x="51" y="152"/>
                </a:cubicBezTo>
                <a:cubicBezTo>
                  <a:pt x="51" y="152"/>
                  <a:pt x="52" y="155"/>
                  <a:pt x="54" y="155"/>
                </a:cubicBezTo>
                <a:cubicBezTo>
                  <a:pt x="55" y="155"/>
                  <a:pt x="58" y="157"/>
                  <a:pt x="58" y="157"/>
                </a:cubicBezTo>
                <a:cubicBezTo>
                  <a:pt x="59" y="154"/>
                  <a:pt x="59" y="154"/>
                  <a:pt x="59" y="154"/>
                </a:cubicBezTo>
                <a:cubicBezTo>
                  <a:pt x="59" y="154"/>
                  <a:pt x="64" y="153"/>
                  <a:pt x="65" y="155"/>
                </a:cubicBezTo>
                <a:cubicBezTo>
                  <a:pt x="66" y="156"/>
                  <a:pt x="70" y="157"/>
                  <a:pt x="72" y="157"/>
                </a:cubicBezTo>
                <a:cubicBezTo>
                  <a:pt x="74" y="157"/>
                  <a:pt x="76" y="160"/>
                  <a:pt x="76" y="160"/>
                </a:cubicBezTo>
                <a:cubicBezTo>
                  <a:pt x="67" y="176"/>
                  <a:pt x="67" y="176"/>
                  <a:pt x="67" y="176"/>
                </a:cubicBezTo>
                <a:cubicBezTo>
                  <a:pt x="72" y="176"/>
                  <a:pt x="72" y="176"/>
                  <a:pt x="72" y="176"/>
                </a:cubicBezTo>
                <a:cubicBezTo>
                  <a:pt x="74" y="178"/>
                  <a:pt x="74" y="178"/>
                  <a:pt x="74" y="178"/>
                </a:cubicBezTo>
                <a:cubicBezTo>
                  <a:pt x="74" y="178"/>
                  <a:pt x="83" y="156"/>
                  <a:pt x="84" y="153"/>
                </a:cubicBezTo>
                <a:cubicBezTo>
                  <a:pt x="84" y="151"/>
                  <a:pt x="87" y="148"/>
                  <a:pt x="85" y="145"/>
                </a:cubicBezTo>
                <a:cubicBezTo>
                  <a:pt x="85" y="144"/>
                  <a:pt x="82" y="137"/>
                  <a:pt x="82" y="137"/>
                </a:cubicBezTo>
                <a:cubicBezTo>
                  <a:pt x="79" y="136"/>
                  <a:pt x="79" y="136"/>
                  <a:pt x="79" y="136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5" y="131"/>
                  <a:pt x="85" y="131"/>
                  <a:pt x="85" y="131"/>
                </a:cubicBezTo>
                <a:cubicBezTo>
                  <a:pt x="86" y="130"/>
                  <a:pt x="86" y="130"/>
                  <a:pt x="86" y="130"/>
                </a:cubicBezTo>
                <a:cubicBezTo>
                  <a:pt x="81" y="129"/>
                  <a:pt x="81" y="129"/>
                  <a:pt x="81" y="129"/>
                </a:cubicBezTo>
                <a:cubicBezTo>
                  <a:pt x="82" y="125"/>
                  <a:pt x="82" y="125"/>
                  <a:pt x="82" y="125"/>
                </a:cubicBezTo>
                <a:cubicBezTo>
                  <a:pt x="82" y="125"/>
                  <a:pt x="85" y="127"/>
                  <a:pt x="87" y="127"/>
                </a:cubicBezTo>
                <a:cubicBezTo>
                  <a:pt x="90" y="127"/>
                  <a:pt x="96" y="126"/>
                  <a:pt x="96" y="126"/>
                </a:cubicBezTo>
                <a:cubicBezTo>
                  <a:pt x="96" y="124"/>
                  <a:pt x="96" y="124"/>
                  <a:pt x="96" y="124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2" y="125"/>
                  <a:pt x="102" y="125"/>
                  <a:pt x="102" y="125"/>
                </a:cubicBezTo>
                <a:cubicBezTo>
                  <a:pt x="103" y="121"/>
                  <a:pt x="103" y="121"/>
                  <a:pt x="103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07" y="125"/>
                  <a:pt x="107" y="125"/>
                  <a:pt x="107" y="125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10" y="121"/>
                  <a:pt x="110" y="121"/>
                  <a:pt x="110" y="121"/>
                </a:cubicBezTo>
                <a:cubicBezTo>
                  <a:pt x="110" y="121"/>
                  <a:pt x="109" y="119"/>
                  <a:pt x="108" y="117"/>
                </a:cubicBezTo>
                <a:cubicBezTo>
                  <a:pt x="108" y="115"/>
                  <a:pt x="109" y="113"/>
                  <a:pt x="106" y="114"/>
                </a:cubicBezTo>
                <a:cubicBezTo>
                  <a:pt x="104" y="116"/>
                  <a:pt x="105" y="111"/>
                  <a:pt x="105" y="111"/>
                </a:cubicBezTo>
                <a:cubicBezTo>
                  <a:pt x="105" y="111"/>
                  <a:pt x="108" y="108"/>
                  <a:pt x="109" y="106"/>
                </a:cubicBezTo>
                <a:cubicBezTo>
                  <a:pt x="109" y="104"/>
                  <a:pt x="111" y="100"/>
                  <a:pt x="111" y="100"/>
                </a:cubicBezTo>
                <a:cubicBezTo>
                  <a:pt x="111" y="100"/>
                  <a:pt x="104" y="96"/>
                  <a:pt x="102" y="95"/>
                </a:cubicBezTo>
                <a:cubicBezTo>
                  <a:pt x="101" y="93"/>
                  <a:pt x="98" y="91"/>
                  <a:pt x="98" y="89"/>
                </a:cubicBezTo>
                <a:cubicBezTo>
                  <a:pt x="98" y="87"/>
                  <a:pt x="94" y="86"/>
                  <a:pt x="93" y="82"/>
                </a:cubicBezTo>
                <a:cubicBezTo>
                  <a:pt x="92" y="79"/>
                  <a:pt x="95" y="78"/>
                  <a:pt x="95" y="78"/>
                </a:cubicBezTo>
                <a:cubicBezTo>
                  <a:pt x="96" y="72"/>
                  <a:pt x="96" y="72"/>
                  <a:pt x="96" y="72"/>
                </a:cubicBezTo>
                <a:cubicBezTo>
                  <a:pt x="96" y="72"/>
                  <a:pt x="92" y="71"/>
                  <a:pt x="90" y="71"/>
                </a:cubicBezTo>
                <a:cubicBezTo>
                  <a:pt x="88" y="71"/>
                  <a:pt x="83" y="72"/>
                  <a:pt x="83" y="72"/>
                </a:cubicBezTo>
                <a:cubicBezTo>
                  <a:pt x="83" y="72"/>
                  <a:pt x="80" y="67"/>
                  <a:pt x="79" y="65"/>
                </a:cubicBezTo>
                <a:cubicBezTo>
                  <a:pt x="78" y="63"/>
                  <a:pt x="76" y="62"/>
                  <a:pt x="74" y="63"/>
                </a:cubicBezTo>
                <a:cubicBezTo>
                  <a:pt x="71" y="64"/>
                  <a:pt x="66" y="63"/>
                  <a:pt x="66" y="63"/>
                </a:cubicBezTo>
                <a:cubicBezTo>
                  <a:pt x="60" y="62"/>
                  <a:pt x="60" y="62"/>
                  <a:pt x="60" y="62"/>
                </a:cubicBezTo>
                <a:cubicBezTo>
                  <a:pt x="60" y="62"/>
                  <a:pt x="61" y="59"/>
                  <a:pt x="59" y="57"/>
                </a:cubicBezTo>
                <a:cubicBezTo>
                  <a:pt x="57" y="54"/>
                  <a:pt x="56" y="53"/>
                  <a:pt x="55" y="51"/>
                </a:cubicBezTo>
                <a:cubicBezTo>
                  <a:pt x="55" y="48"/>
                  <a:pt x="57" y="48"/>
                  <a:pt x="57" y="48"/>
                </a:cubicBezTo>
                <a:cubicBezTo>
                  <a:pt x="53" y="40"/>
                  <a:pt x="53" y="40"/>
                  <a:pt x="53" y="40"/>
                </a:cubicBezTo>
                <a:cubicBezTo>
                  <a:pt x="50" y="41"/>
                  <a:pt x="50" y="41"/>
                  <a:pt x="50" y="41"/>
                </a:cubicBezTo>
                <a:cubicBezTo>
                  <a:pt x="50" y="41"/>
                  <a:pt x="47" y="42"/>
                  <a:pt x="49" y="37"/>
                </a:cubicBezTo>
                <a:cubicBezTo>
                  <a:pt x="51" y="33"/>
                  <a:pt x="49" y="33"/>
                  <a:pt x="50" y="30"/>
                </a:cubicBezTo>
                <a:cubicBezTo>
                  <a:pt x="52" y="27"/>
                  <a:pt x="50" y="24"/>
                  <a:pt x="50" y="24"/>
                </a:cubicBezTo>
                <a:cubicBezTo>
                  <a:pt x="54" y="23"/>
                  <a:pt x="54" y="23"/>
                  <a:pt x="54" y="23"/>
                </a:cubicBezTo>
                <a:cubicBezTo>
                  <a:pt x="57" y="14"/>
                  <a:pt x="57" y="14"/>
                  <a:pt x="57" y="14"/>
                </a:cubicBezTo>
                <a:cubicBezTo>
                  <a:pt x="62" y="8"/>
                  <a:pt x="62" y="8"/>
                  <a:pt x="62" y="8"/>
                </a:cubicBezTo>
                <a:cubicBezTo>
                  <a:pt x="62" y="8"/>
                  <a:pt x="65" y="7"/>
                  <a:pt x="67" y="7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5" name="Google Shape;575;p102"/>
          <p:cNvSpPr/>
          <p:nvPr/>
        </p:nvSpPr>
        <p:spPr>
          <a:xfrm>
            <a:off x="8053002" y="3006279"/>
            <a:ext cx="1527476" cy="1178531"/>
          </a:xfrm>
          <a:custGeom>
            <a:avLst/>
            <a:gdLst/>
            <a:ahLst/>
            <a:cxnLst/>
            <a:rect l="l" t="t" r="r" b="b"/>
            <a:pathLst>
              <a:path w="531" h="425" extrusionOk="0">
                <a:moveTo>
                  <a:pt x="326" y="402"/>
                </a:moveTo>
                <a:cubicBezTo>
                  <a:pt x="323" y="403"/>
                  <a:pt x="320" y="405"/>
                  <a:pt x="317" y="406"/>
                </a:cubicBezTo>
                <a:cubicBezTo>
                  <a:pt x="315" y="406"/>
                  <a:pt x="313" y="406"/>
                  <a:pt x="312" y="406"/>
                </a:cubicBezTo>
                <a:cubicBezTo>
                  <a:pt x="311" y="407"/>
                  <a:pt x="312" y="408"/>
                  <a:pt x="311" y="409"/>
                </a:cubicBezTo>
                <a:cubicBezTo>
                  <a:pt x="311" y="410"/>
                  <a:pt x="310" y="409"/>
                  <a:pt x="309" y="410"/>
                </a:cubicBezTo>
                <a:cubicBezTo>
                  <a:pt x="308" y="411"/>
                  <a:pt x="307" y="411"/>
                  <a:pt x="305" y="412"/>
                </a:cubicBezTo>
                <a:cubicBezTo>
                  <a:pt x="306" y="416"/>
                  <a:pt x="305" y="418"/>
                  <a:pt x="307" y="420"/>
                </a:cubicBezTo>
                <a:cubicBezTo>
                  <a:pt x="308" y="422"/>
                  <a:pt x="309" y="422"/>
                  <a:pt x="311" y="422"/>
                </a:cubicBezTo>
                <a:cubicBezTo>
                  <a:pt x="311" y="423"/>
                  <a:pt x="314" y="425"/>
                  <a:pt x="314" y="425"/>
                </a:cubicBezTo>
                <a:cubicBezTo>
                  <a:pt x="315" y="425"/>
                  <a:pt x="320" y="422"/>
                  <a:pt x="321" y="422"/>
                </a:cubicBezTo>
                <a:cubicBezTo>
                  <a:pt x="321" y="421"/>
                  <a:pt x="321" y="420"/>
                  <a:pt x="321" y="420"/>
                </a:cubicBezTo>
                <a:cubicBezTo>
                  <a:pt x="323" y="419"/>
                  <a:pt x="324" y="420"/>
                  <a:pt x="325" y="418"/>
                </a:cubicBezTo>
                <a:cubicBezTo>
                  <a:pt x="326" y="417"/>
                  <a:pt x="325" y="416"/>
                  <a:pt x="325" y="414"/>
                </a:cubicBezTo>
                <a:cubicBezTo>
                  <a:pt x="327" y="413"/>
                  <a:pt x="327" y="413"/>
                  <a:pt x="327" y="413"/>
                </a:cubicBezTo>
                <a:cubicBezTo>
                  <a:pt x="328" y="408"/>
                  <a:pt x="326" y="410"/>
                  <a:pt x="329" y="408"/>
                </a:cubicBezTo>
                <a:cubicBezTo>
                  <a:pt x="329" y="408"/>
                  <a:pt x="330" y="406"/>
                  <a:pt x="329" y="406"/>
                </a:cubicBezTo>
                <a:cubicBezTo>
                  <a:pt x="329" y="406"/>
                  <a:pt x="329" y="405"/>
                  <a:pt x="329" y="404"/>
                </a:cubicBezTo>
                <a:cubicBezTo>
                  <a:pt x="328" y="404"/>
                  <a:pt x="326" y="403"/>
                  <a:pt x="326" y="402"/>
                </a:cubicBezTo>
                <a:close/>
                <a:moveTo>
                  <a:pt x="343" y="301"/>
                </a:moveTo>
                <a:cubicBezTo>
                  <a:pt x="343" y="301"/>
                  <a:pt x="344" y="303"/>
                  <a:pt x="345" y="303"/>
                </a:cubicBezTo>
                <a:cubicBezTo>
                  <a:pt x="344" y="303"/>
                  <a:pt x="344" y="303"/>
                  <a:pt x="344" y="305"/>
                </a:cubicBezTo>
                <a:cubicBezTo>
                  <a:pt x="343" y="305"/>
                  <a:pt x="342" y="306"/>
                  <a:pt x="342" y="306"/>
                </a:cubicBezTo>
                <a:cubicBezTo>
                  <a:pt x="341" y="306"/>
                  <a:pt x="338" y="305"/>
                  <a:pt x="337" y="304"/>
                </a:cubicBezTo>
                <a:cubicBezTo>
                  <a:pt x="337" y="303"/>
                  <a:pt x="337" y="303"/>
                  <a:pt x="337" y="303"/>
                </a:cubicBezTo>
                <a:cubicBezTo>
                  <a:pt x="338" y="302"/>
                  <a:pt x="337" y="302"/>
                  <a:pt x="339" y="301"/>
                </a:cubicBezTo>
                <a:cubicBezTo>
                  <a:pt x="339" y="301"/>
                  <a:pt x="339" y="303"/>
                  <a:pt x="339" y="303"/>
                </a:cubicBezTo>
                <a:cubicBezTo>
                  <a:pt x="339" y="303"/>
                  <a:pt x="340" y="304"/>
                  <a:pt x="341" y="303"/>
                </a:cubicBezTo>
                <a:cubicBezTo>
                  <a:pt x="341" y="303"/>
                  <a:pt x="341" y="302"/>
                  <a:pt x="341" y="301"/>
                </a:cubicBezTo>
                <a:cubicBezTo>
                  <a:pt x="342" y="301"/>
                  <a:pt x="343" y="301"/>
                  <a:pt x="343" y="301"/>
                </a:cubicBezTo>
                <a:close/>
                <a:moveTo>
                  <a:pt x="379" y="296"/>
                </a:moveTo>
                <a:cubicBezTo>
                  <a:pt x="384" y="296"/>
                  <a:pt x="378" y="299"/>
                  <a:pt x="377" y="300"/>
                </a:cubicBezTo>
                <a:cubicBezTo>
                  <a:pt x="376" y="298"/>
                  <a:pt x="373" y="296"/>
                  <a:pt x="379" y="296"/>
                </a:cubicBezTo>
                <a:close/>
                <a:moveTo>
                  <a:pt x="407" y="272"/>
                </a:moveTo>
                <a:cubicBezTo>
                  <a:pt x="409" y="273"/>
                  <a:pt x="409" y="273"/>
                  <a:pt x="409" y="273"/>
                </a:cubicBezTo>
                <a:cubicBezTo>
                  <a:pt x="408" y="273"/>
                  <a:pt x="409" y="276"/>
                  <a:pt x="409" y="277"/>
                </a:cubicBezTo>
                <a:cubicBezTo>
                  <a:pt x="409" y="277"/>
                  <a:pt x="405" y="277"/>
                  <a:pt x="406" y="277"/>
                </a:cubicBezTo>
                <a:cubicBezTo>
                  <a:pt x="406" y="276"/>
                  <a:pt x="405" y="276"/>
                  <a:pt x="404" y="276"/>
                </a:cubicBezTo>
                <a:cubicBezTo>
                  <a:pt x="405" y="276"/>
                  <a:pt x="404" y="274"/>
                  <a:pt x="404" y="273"/>
                </a:cubicBezTo>
                <a:cubicBezTo>
                  <a:pt x="405" y="273"/>
                  <a:pt x="407" y="273"/>
                  <a:pt x="407" y="272"/>
                </a:cubicBezTo>
                <a:close/>
                <a:moveTo>
                  <a:pt x="418" y="271"/>
                </a:moveTo>
                <a:cubicBezTo>
                  <a:pt x="418" y="271"/>
                  <a:pt x="419" y="273"/>
                  <a:pt x="419" y="273"/>
                </a:cubicBezTo>
                <a:cubicBezTo>
                  <a:pt x="420" y="273"/>
                  <a:pt x="420" y="271"/>
                  <a:pt x="418" y="271"/>
                </a:cubicBezTo>
                <a:close/>
                <a:moveTo>
                  <a:pt x="383" y="233"/>
                </a:moveTo>
                <a:cubicBezTo>
                  <a:pt x="383" y="233"/>
                  <a:pt x="384" y="236"/>
                  <a:pt x="383" y="235"/>
                </a:cubicBezTo>
                <a:cubicBezTo>
                  <a:pt x="382" y="235"/>
                  <a:pt x="381" y="232"/>
                  <a:pt x="383" y="233"/>
                </a:cubicBezTo>
                <a:close/>
                <a:moveTo>
                  <a:pt x="512" y="109"/>
                </a:moveTo>
                <a:cubicBezTo>
                  <a:pt x="514" y="106"/>
                  <a:pt x="514" y="106"/>
                  <a:pt x="514" y="106"/>
                </a:cubicBezTo>
                <a:cubicBezTo>
                  <a:pt x="518" y="104"/>
                  <a:pt x="518" y="104"/>
                  <a:pt x="518" y="104"/>
                </a:cubicBezTo>
                <a:cubicBezTo>
                  <a:pt x="519" y="101"/>
                  <a:pt x="519" y="101"/>
                  <a:pt x="519" y="101"/>
                </a:cubicBezTo>
                <a:cubicBezTo>
                  <a:pt x="522" y="99"/>
                  <a:pt x="522" y="99"/>
                  <a:pt x="522" y="99"/>
                </a:cubicBezTo>
                <a:cubicBezTo>
                  <a:pt x="526" y="96"/>
                  <a:pt x="526" y="96"/>
                  <a:pt x="526" y="96"/>
                </a:cubicBezTo>
                <a:cubicBezTo>
                  <a:pt x="528" y="92"/>
                  <a:pt x="528" y="92"/>
                  <a:pt x="528" y="92"/>
                </a:cubicBezTo>
                <a:cubicBezTo>
                  <a:pt x="529" y="85"/>
                  <a:pt x="529" y="85"/>
                  <a:pt x="529" y="85"/>
                </a:cubicBezTo>
                <a:cubicBezTo>
                  <a:pt x="528" y="82"/>
                  <a:pt x="528" y="82"/>
                  <a:pt x="528" y="82"/>
                </a:cubicBezTo>
                <a:cubicBezTo>
                  <a:pt x="531" y="80"/>
                  <a:pt x="531" y="80"/>
                  <a:pt x="531" y="80"/>
                </a:cubicBezTo>
                <a:cubicBezTo>
                  <a:pt x="531" y="75"/>
                  <a:pt x="531" y="75"/>
                  <a:pt x="531" y="75"/>
                </a:cubicBezTo>
                <a:cubicBezTo>
                  <a:pt x="529" y="73"/>
                  <a:pt x="529" y="73"/>
                  <a:pt x="529" y="73"/>
                </a:cubicBezTo>
                <a:cubicBezTo>
                  <a:pt x="529" y="70"/>
                  <a:pt x="529" y="70"/>
                  <a:pt x="529" y="70"/>
                </a:cubicBezTo>
                <a:cubicBezTo>
                  <a:pt x="531" y="64"/>
                  <a:pt x="531" y="64"/>
                  <a:pt x="531" y="64"/>
                </a:cubicBezTo>
                <a:cubicBezTo>
                  <a:pt x="527" y="66"/>
                  <a:pt x="527" y="66"/>
                  <a:pt x="527" y="66"/>
                </a:cubicBezTo>
                <a:cubicBezTo>
                  <a:pt x="525" y="69"/>
                  <a:pt x="525" y="69"/>
                  <a:pt x="525" y="69"/>
                </a:cubicBezTo>
                <a:cubicBezTo>
                  <a:pt x="521" y="70"/>
                  <a:pt x="521" y="70"/>
                  <a:pt x="521" y="70"/>
                </a:cubicBezTo>
                <a:cubicBezTo>
                  <a:pt x="518" y="70"/>
                  <a:pt x="518" y="70"/>
                  <a:pt x="518" y="70"/>
                </a:cubicBezTo>
                <a:cubicBezTo>
                  <a:pt x="515" y="72"/>
                  <a:pt x="515" y="72"/>
                  <a:pt x="515" y="72"/>
                </a:cubicBezTo>
                <a:cubicBezTo>
                  <a:pt x="512" y="75"/>
                  <a:pt x="512" y="75"/>
                  <a:pt x="512" y="75"/>
                </a:cubicBezTo>
                <a:cubicBezTo>
                  <a:pt x="509" y="77"/>
                  <a:pt x="509" y="77"/>
                  <a:pt x="509" y="77"/>
                </a:cubicBezTo>
                <a:cubicBezTo>
                  <a:pt x="506" y="78"/>
                  <a:pt x="506" y="78"/>
                  <a:pt x="506" y="78"/>
                </a:cubicBezTo>
                <a:cubicBezTo>
                  <a:pt x="502" y="76"/>
                  <a:pt x="502" y="76"/>
                  <a:pt x="502" y="76"/>
                </a:cubicBezTo>
                <a:cubicBezTo>
                  <a:pt x="498" y="74"/>
                  <a:pt x="498" y="74"/>
                  <a:pt x="498" y="74"/>
                </a:cubicBezTo>
                <a:cubicBezTo>
                  <a:pt x="496" y="70"/>
                  <a:pt x="496" y="70"/>
                  <a:pt x="496" y="70"/>
                </a:cubicBezTo>
                <a:cubicBezTo>
                  <a:pt x="497" y="66"/>
                  <a:pt x="497" y="66"/>
                  <a:pt x="497" y="66"/>
                </a:cubicBezTo>
                <a:cubicBezTo>
                  <a:pt x="495" y="63"/>
                  <a:pt x="495" y="63"/>
                  <a:pt x="495" y="63"/>
                </a:cubicBezTo>
                <a:cubicBezTo>
                  <a:pt x="492" y="59"/>
                  <a:pt x="492" y="59"/>
                  <a:pt x="492" y="59"/>
                </a:cubicBezTo>
                <a:cubicBezTo>
                  <a:pt x="490" y="54"/>
                  <a:pt x="490" y="54"/>
                  <a:pt x="490" y="54"/>
                </a:cubicBezTo>
                <a:cubicBezTo>
                  <a:pt x="489" y="51"/>
                  <a:pt x="489" y="51"/>
                  <a:pt x="489" y="51"/>
                </a:cubicBezTo>
                <a:cubicBezTo>
                  <a:pt x="486" y="48"/>
                  <a:pt x="486" y="48"/>
                  <a:pt x="486" y="48"/>
                </a:cubicBezTo>
                <a:cubicBezTo>
                  <a:pt x="481" y="46"/>
                  <a:pt x="481" y="46"/>
                  <a:pt x="481" y="46"/>
                </a:cubicBezTo>
                <a:cubicBezTo>
                  <a:pt x="477" y="46"/>
                  <a:pt x="477" y="46"/>
                  <a:pt x="477" y="46"/>
                </a:cubicBezTo>
                <a:cubicBezTo>
                  <a:pt x="474" y="46"/>
                  <a:pt x="474" y="46"/>
                  <a:pt x="474" y="46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68" y="38"/>
                  <a:pt x="468" y="38"/>
                  <a:pt x="468" y="38"/>
                </a:cubicBezTo>
                <a:cubicBezTo>
                  <a:pt x="464" y="32"/>
                  <a:pt x="464" y="32"/>
                  <a:pt x="464" y="32"/>
                </a:cubicBezTo>
                <a:cubicBezTo>
                  <a:pt x="463" y="26"/>
                  <a:pt x="463" y="26"/>
                  <a:pt x="463" y="26"/>
                </a:cubicBezTo>
                <a:cubicBezTo>
                  <a:pt x="463" y="23"/>
                  <a:pt x="463" y="23"/>
                  <a:pt x="463" y="23"/>
                </a:cubicBezTo>
                <a:cubicBezTo>
                  <a:pt x="460" y="18"/>
                  <a:pt x="460" y="18"/>
                  <a:pt x="460" y="18"/>
                </a:cubicBezTo>
                <a:cubicBezTo>
                  <a:pt x="457" y="15"/>
                  <a:pt x="457" y="15"/>
                  <a:pt x="457" y="15"/>
                </a:cubicBezTo>
                <a:cubicBezTo>
                  <a:pt x="453" y="11"/>
                  <a:pt x="453" y="11"/>
                  <a:pt x="453" y="11"/>
                </a:cubicBezTo>
                <a:cubicBezTo>
                  <a:pt x="447" y="10"/>
                  <a:pt x="447" y="10"/>
                  <a:pt x="447" y="10"/>
                </a:cubicBezTo>
                <a:cubicBezTo>
                  <a:pt x="443" y="7"/>
                  <a:pt x="443" y="7"/>
                  <a:pt x="443" y="7"/>
                </a:cubicBezTo>
                <a:cubicBezTo>
                  <a:pt x="440" y="4"/>
                  <a:pt x="440" y="4"/>
                  <a:pt x="440" y="4"/>
                </a:cubicBezTo>
                <a:cubicBezTo>
                  <a:pt x="437" y="1"/>
                  <a:pt x="437" y="1"/>
                  <a:pt x="437" y="1"/>
                </a:cubicBezTo>
                <a:cubicBezTo>
                  <a:pt x="431" y="0"/>
                  <a:pt x="431" y="0"/>
                  <a:pt x="431" y="0"/>
                </a:cubicBezTo>
                <a:cubicBezTo>
                  <a:pt x="429" y="1"/>
                  <a:pt x="429" y="1"/>
                  <a:pt x="429" y="1"/>
                </a:cubicBezTo>
                <a:cubicBezTo>
                  <a:pt x="424" y="3"/>
                  <a:pt x="424" y="3"/>
                  <a:pt x="424" y="3"/>
                </a:cubicBezTo>
                <a:cubicBezTo>
                  <a:pt x="419" y="3"/>
                  <a:pt x="419" y="3"/>
                  <a:pt x="419" y="3"/>
                </a:cubicBezTo>
                <a:cubicBezTo>
                  <a:pt x="416" y="6"/>
                  <a:pt x="416" y="6"/>
                  <a:pt x="416" y="6"/>
                </a:cubicBezTo>
                <a:cubicBezTo>
                  <a:pt x="412" y="9"/>
                  <a:pt x="412" y="9"/>
                  <a:pt x="412" y="9"/>
                </a:cubicBezTo>
                <a:cubicBezTo>
                  <a:pt x="409" y="13"/>
                  <a:pt x="409" y="13"/>
                  <a:pt x="409" y="13"/>
                </a:cubicBezTo>
                <a:cubicBezTo>
                  <a:pt x="407" y="14"/>
                  <a:pt x="407" y="14"/>
                  <a:pt x="407" y="14"/>
                </a:cubicBezTo>
                <a:cubicBezTo>
                  <a:pt x="407" y="17"/>
                  <a:pt x="407" y="17"/>
                  <a:pt x="407" y="17"/>
                </a:cubicBezTo>
                <a:cubicBezTo>
                  <a:pt x="409" y="16"/>
                  <a:pt x="409" y="16"/>
                  <a:pt x="409" y="16"/>
                </a:cubicBezTo>
                <a:cubicBezTo>
                  <a:pt x="410" y="21"/>
                  <a:pt x="410" y="21"/>
                  <a:pt x="410" y="21"/>
                </a:cubicBezTo>
                <a:cubicBezTo>
                  <a:pt x="409" y="25"/>
                  <a:pt x="409" y="25"/>
                  <a:pt x="409" y="25"/>
                </a:cubicBezTo>
                <a:cubicBezTo>
                  <a:pt x="407" y="27"/>
                  <a:pt x="407" y="27"/>
                  <a:pt x="407" y="27"/>
                </a:cubicBezTo>
                <a:cubicBezTo>
                  <a:pt x="408" y="32"/>
                  <a:pt x="408" y="32"/>
                  <a:pt x="408" y="32"/>
                </a:cubicBezTo>
                <a:cubicBezTo>
                  <a:pt x="405" y="36"/>
                  <a:pt x="405" y="36"/>
                  <a:pt x="405" y="36"/>
                </a:cubicBezTo>
                <a:cubicBezTo>
                  <a:pt x="403" y="40"/>
                  <a:pt x="403" y="40"/>
                  <a:pt x="403" y="40"/>
                </a:cubicBezTo>
                <a:cubicBezTo>
                  <a:pt x="403" y="40"/>
                  <a:pt x="396" y="45"/>
                  <a:pt x="399" y="46"/>
                </a:cubicBezTo>
                <a:cubicBezTo>
                  <a:pt x="399" y="48"/>
                  <a:pt x="393" y="50"/>
                  <a:pt x="393" y="50"/>
                </a:cubicBezTo>
                <a:cubicBezTo>
                  <a:pt x="387" y="55"/>
                  <a:pt x="387" y="55"/>
                  <a:pt x="387" y="55"/>
                </a:cubicBezTo>
                <a:cubicBezTo>
                  <a:pt x="384" y="52"/>
                  <a:pt x="384" y="52"/>
                  <a:pt x="384" y="52"/>
                </a:cubicBezTo>
                <a:cubicBezTo>
                  <a:pt x="378" y="49"/>
                  <a:pt x="378" y="49"/>
                  <a:pt x="378" y="49"/>
                </a:cubicBezTo>
                <a:cubicBezTo>
                  <a:pt x="374" y="51"/>
                  <a:pt x="374" y="51"/>
                  <a:pt x="374" y="51"/>
                </a:cubicBezTo>
                <a:cubicBezTo>
                  <a:pt x="370" y="61"/>
                  <a:pt x="370" y="61"/>
                  <a:pt x="370" y="61"/>
                </a:cubicBezTo>
                <a:cubicBezTo>
                  <a:pt x="370" y="61"/>
                  <a:pt x="370" y="63"/>
                  <a:pt x="371" y="64"/>
                </a:cubicBezTo>
                <a:cubicBezTo>
                  <a:pt x="372" y="68"/>
                  <a:pt x="369" y="71"/>
                  <a:pt x="369" y="71"/>
                </a:cubicBezTo>
                <a:cubicBezTo>
                  <a:pt x="368" y="76"/>
                  <a:pt x="368" y="76"/>
                  <a:pt x="368" y="76"/>
                </a:cubicBezTo>
                <a:cubicBezTo>
                  <a:pt x="375" y="78"/>
                  <a:pt x="375" y="78"/>
                  <a:pt x="375" y="78"/>
                </a:cubicBezTo>
                <a:cubicBezTo>
                  <a:pt x="381" y="77"/>
                  <a:pt x="381" y="77"/>
                  <a:pt x="381" y="77"/>
                </a:cubicBezTo>
                <a:cubicBezTo>
                  <a:pt x="386" y="72"/>
                  <a:pt x="386" y="72"/>
                  <a:pt x="386" y="72"/>
                </a:cubicBezTo>
                <a:cubicBezTo>
                  <a:pt x="389" y="73"/>
                  <a:pt x="389" y="73"/>
                  <a:pt x="389" y="73"/>
                </a:cubicBezTo>
                <a:cubicBezTo>
                  <a:pt x="391" y="76"/>
                  <a:pt x="391" y="76"/>
                  <a:pt x="391" y="76"/>
                </a:cubicBezTo>
                <a:cubicBezTo>
                  <a:pt x="395" y="79"/>
                  <a:pt x="395" y="79"/>
                  <a:pt x="395" y="79"/>
                </a:cubicBezTo>
                <a:cubicBezTo>
                  <a:pt x="401" y="81"/>
                  <a:pt x="401" y="81"/>
                  <a:pt x="401" y="81"/>
                </a:cubicBezTo>
                <a:cubicBezTo>
                  <a:pt x="404" y="85"/>
                  <a:pt x="404" y="85"/>
                  <a:pt x="404" y="85"/>
                </a:cubicBezTo>
                <a:cubicBezTo>
                  <a:pt x="403" y="89"/>
                  <a:pt x="403" y="89"/>
                  <a:pt x="403" y="89"/>
                </a:cubicBezTo>
                <a:cubicBezTo>
                  <a:pt x="403" y="89"/>
                  <a:pt x="398" y="88"/>
                  <a:pt x="395" y="89"/>
                </a:cubicBezTo>
                <a:cubicBezTo>
                  <a:pt x="393" y="89"/>
                  <a:pt x="389" y="94"/>
                  <a:pt x="389" y="94"/>
                </a:cubicBezTo>
                <a:cubicBezTo>
                  <a:pt x="384" y="93"/>
                  <a:pt x="384" y="93"/>
                  <a:pt x="384" y="93"/>
                </a:cubicBezTo>
                <a:cubicBezTo>
                  <a:pt x="377" y="98"/>
                  <a:pt x="377" y="98"/>
                  <a:pt x="377" y="98"/>
                </a:cubicBezTo>
                <a:cubicBezTo>
                  <a:pt x="375" y="96"/>
                  <a:pt x="375" y="96"/>
                  <a:pt x="375" y="96"/>
                </a:cubicBezTo>
                <a:cubicBezTo>
                  <a:pt x="372" y="96"/>
                  <a:pt x="372" y="96"/>
                  <a:pt x="372" y="96"/>
                </a:cubicBezTo>
                <a:cubicBezTo>
                  <a:pt x="370" y="101"/>
                  <a:pt x="370" y="101"/>
                  <a:pt x="370" y="101"/>
                </a:cubicBezTo>
                <a:cubicBezTo>
                  <a:pt x="367" y="103"/>
                  <a:pt x="367" y="103"/>
                  <a:pt x="367" y="103"/>
                </a:cubicBezTo>
                <a:cubicBezTo>
                  <a:pt x="356" y="106"/>
                  <a:pt x="356" y="106"/>
                  <a:pt x="356" y="106"/>
                </a:cubicBezTo>
                <a:cubicBezTo>
                  <a:pt x="354" y="112"/>
                  <a:pt x="354" y="112"/>
                  <a:pt x="354" y="112"/>
                </a:cubicBezTo>
                <a:cubicBezTo>
                  <a:pt x="347" y="116"/>
                  <a:pt x="347" y="116"/>
                  <a:pt x="347" y="116"/>
                </a:cubicBezTo>
                <a:cubicBezTo>
                  <a:pt x="342" y="114"/>
                  <a:pt x="342" y="114"/>
                  <a:pt x="342" y="114"/>
                </a:cubicBezTo>
                <a:cubicBezTo>
                  <a:pt x="338" y="110"/>
                  <a:pt x="338" y="110"/>
                  <a:pt x="338" y="110"/>
                </a:cubicBezTo>
                <a:cubicBezTo>
                  <a:pt x="334" y="109"/>
                  <a:pt x="334" y="109"/>
                  <a:pt x="334" y="109"/>
                </a:cubicBezTo>
                <a:cubicBezTo>
                  <a:pt x="330" y="111"/>
                  <a:pt x="330" y="111"/>
                  <a:pt x="330" y="111"/>
                </a:cubicBezTo>
                <a:cubicBezTo>
                  <a:pt x="328" y="116"/>
                  <a:pt x="328" y="116"/>
                  <a:pt x="328" y="116"/>
                </a:cubicBezTo>
                <a:cubicBezTo>
                  <a:pt x="328" y="121"/>
                  <a:pt x="328" y="121"/>
                  <a:pt x="328" y="121"/>
                </a:cubicBezTo>
                <a:cubicBezTo>
                  <a:pt x="329" y="126"/>
                  <a:pt x="329" y="126"/>
                  <a:pt x="329" y="126"/>
                </a:cubicBezTo>
                <a:cubicBezTo>
                  <a:pt x="331" y="130"/>
                  <a:pt x="331" y="130"/>
                  <a:pt x="331" y="130"/>
                </a:cubicBezTo>
                <a:cubicBezTo>
                  <a:pt x="328" y="135"/>
                  <a:pt x="328" y="135"/>
                  <a:pt x="328" y="135"/>
                </a:cubicBezTo>
                <a:cubicBezTo>
                  <a:pt x="324" y="137"/>
                  <a:pt x="324" y="137"/>
                  <a:pt x="324" y="137"/>
                </a:cubicBezTo>
                <a:cubicBezTo>
                  <a:pt x="317" y="139"/>
                  <a:pt x="317" y="139"/>
                  <a:pt x="317" y="139"/>
                </a:cubicBezTo>
                <a:cubicBezTo>
                  <a:pt x="308" y="141"/>
                  <a:pt x="308" y="141"/>
                  <a:pt x="308" y="141"/>
                </a:cubicBezTo>
                <a:cubicBezTo>
                  <a:pt x="300" y="140"/>
                  <a:pt x="300" y="140"/>
                  <a:pt x="300" y="140"/>
                </a:cubicBezTo>
                <a:cubicBezTo>
                  <a:pt x="296" y="142"/>
                  <a:pt x="296" y="142"/>
                  <a:pt x="296" y="142"/>
                </a:cubicBezTo>
                <a:cubicBezTo>
                  <a:pt x="292" y="142"/>
                  <a:pt x="292" y="142"/>
                  <a:pt x="292" y="142"/>
                </a:cubicBezTo>
                <a:cubicBezTo>
                  <a:pt x="288" y="147"/>
                  <a:pt x="288" y="147"/>
                  <a:pt x="288" y="147"/>
                </a:cubicBezTo>
                <a:cubicBezTo>
                  <a:pt x="282" y="149"/>
                  <a:pt x="282" y="149"/>
                  <a:pt x="282" y="149"/>
                </a:cubicBezTo>
                <a:cubicBezTo>
                  <a:pt x="276" y="149"/>
                  <a:pt x="276" y="149"/>
                  <a:pt x="276" y="149"/>
                </a:cubicBezTo>
                <a:cubicBezTo>
                  <a:pt x="270" y="152"/>
                  <a:pt x="270" y="152"/>
                  <a:pt x="270" y="152"/>
                </a:cubicBezTo>
                <a:cubicBezTo>
                  <a:pt x="261" y="152"/>
                  <a:pt x="261" y="152"/>
                  <a:pt x="261" y="152"/>
                </a:cubicBezTo>
                <a:cubicBezTo>
                  <a:pt x="257" y="148"/>
                  <a:pt x="257" y="148"/>
                  <a:pt x="257" y="148"/>
                </a:cubicBezTo>
                <a:cubicBezTo>
                  <a:pt x="252" y="144"/>
                  <a:pt x="252" y="144"/>
                  <a:pt x="252" y="144"/>
                </a:cubicBezTo>
                <a:cubicBezTo>
                  <a:pt x="250" y="143"/>
                  <a:pt x="250" y="143"/>
                  <a:pt x="250" y="143"/>
                </a:cubicBezTo>
                <a:cubicBezTo>
                  <a:pt x="237" y="142"/>
                  <a:pt x="237" y="142"/>
                  <a:pt x="237" y="142"/>
                </a:cubicBezTo>
                <a:cubicBezTo>
                  <a:pt x="229" y="141"/>
                  <a:pt x="229" y="141"/>
                  <a:pt x="229" y="141"/>
                </a:cubicBezTo>
                <a:cubicBezTo>
                  <a:pt x="222" y="140"/>
                  <a:pt x="222" y="140"/>
                  <a:pt x="222" y="140"/>
                </a:cubicBezTo>
                <a:cubicBezTo>
                  <a:pt x="216" y="141"/>
                  <a:pt x="216" y="141"/>
                  <a:pt x="216" y="141"/>
                </a:cubicBezTo>
                <a:cubicBezTo>
                  <a:pt x="210" y="140"/>
                  <a:pt x="210" y="140"/>
                  <a:pt x="210" y="140"/>
                </a:cubicBezTo>
                <a:cubicBezTo>
                  <a:pt x="206" y="138"/>
                  <a:pt x="206" y="138"/>
                  <a:pt x="206" y="138"/>
                </a:cubicBezTo>
                <a:cubicBezTo>
                  <a:pt x="201" y="133"/>
                  <a:pt x="201" y="133"/>
                  <a:pt x="201" y="133"/>
                </a:cubicBezTo>
                <a:cubicBezTo>
                  <a:pt x="196" y="129"/>
                  <a:pt x="196" y="129"/>
                  <a:pt x="196" y="129"/>
                </a:cubicBezTo>
                <a:cubicBezTo>
                  <a:pt x="193" y="126"/>
                  <a:pt x="193" y="126"/>
                  <a:pt x="193" y="126"/>
                </a:cubicBezTo>
                <a:cubicBezTo>
                  <a:pt x="191" y="122"/>
                  <a:pt x="191" y="122"/>
                  <a:pt x="191" y="122"/>
                </a:cubicBezTo>
                <a:cubicBezTo>
                  <a:pt x="188" y="118"/>
                  <a:pt x="188" y="118"/>
                  <a:pt x="188" y="11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5" y="111"/>
                  <a:pt x="175" y="111"/>
                  <a:pt x="175" y="111"/>
                </a:cubicBezTo>
                <a:cubicBezTo>
                  <a:pt x="170" y="111"/>
                  <a:pt x="170" y="111"/>
                  <a:pt x="170" y="111"/>
                </a:cubicBezTo>
                <a:cubicBezTo>
                  <a:pt x="165" y="109"/>
                  <a:pt x="165" y="109"/>
                  <a:pt x="165" y="109"/>
                </a:cubicBezTo>
                <a:cubicBezTo>
                  <a:pt x="164" y="105"/>
                  <a:pt x="164" y="105"/>
                  <a:pt x="164" y="105"/>
                </a:cubicBezTo>
                <a:cubicBezTo>
                  <a:pt x="165" y="100"/>
                  <a:pt x="165" y="100"/>
                  <a:pt x="165" y="100"/>
                </a:cubicBezTo>
                <a:cubicBezTo>
                  <a:pt x="166" y="96"/>
                  <a:pt x="166" y="96"/>
                  <a:pt x="166" y="96"/>
                </a:cubicBezTo>
                <a:cubicBezTo>
                  <a:pt x="163" y="91"/>
                  <a:pt x="163" y="91"/>
                  <a:pt x="163" y="91"/>
                </a:cubicBezTo>
                <a:cubicBezTo>
                  <a:pt x="158" y="89"/>
                  <a:pt x="158" y="89"/>
                  <a:pt x="158" y="89"/>
                </a:cubicBezTo>
                <a:cubicBezTo>
                  <a:pt x="158" y="86"/>
                  <a:pt x="158" y="86"/>
                  <a:pt x="158" y="86"/>
                </a:cubicBezTo>
                <a:cubicBezTo>
                  <a:pt x="153" y="80"/>
                  <a:pt x="153" y="80"/>
                  <a:pt x="153" y="80"/>
                </a:cubicBezTo>
                <a:cubicBezTo>
                  <a:pt x="148" y="77"/>
                  <a:pt x="148" y="77"/>
                  <a:pt x="148" y="77"/>
                </a:cubicBezTo>
                <a:cubicBezTo>
                  <a:pt x="142" y="78"/>
                  <a:pt x="142" y="78"/>
                  <a:pt x="142" y="78"/>
                </a:cubicBezTo>
                <a:cubicBezTo>
                  <a:pt x="138" y="77"/>
                  <a:pt x="138" y="77"/>
                  <a:pt x="138" y="77"/>
                </a:cubicBezTo>
                <a:cubicBezTo>
                  <a:pt x="135" y="74"/>
                  <a:pt x="135" y="74"/>
                  <a:pt x="135" y="74"/>
                </a:cubicBezTo>
                <a:cubicBezTo>
                  <a:pt x="134" y="71"/>
                  <a:pt x="134" y="71"/>
                  <a:pt x="134" y="71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59"/>
                  <a:pt x="129" y="59"/>
                  <a:pt x="129" y="59"/>
                </a:cubicBezTo>
                <a:cubicBezTo>
                  <a:pt x="117" y="61"/>
                  <a:pt x="117" y="61"/>
                  <a:pt x="117" y="61"/>
                </a:cubicBezTo>
                <a:cubicBezTo>
                  <a:pt x="113" y="64"/>
                  <a:pt x="113" y="64"/>
                  <a:pt x="113" y="64"/>
                </a:cubicBezTo>
                <a:cubicBezTo>
                  <a:pt x="111" y="68"/>
                  <a:pt x="111" y="68"/>
                  <a:pt x="111" y="68"/>
                </a:cubicBezTo>
                <a:cubicBezTo>
                  <a:pt x="105" y="70"/>
                  <a:pt x="105" y="70"/>
                  <a:pt x="105" y="70"/>
                </a:cubicBezTo>
                <a:cubicBezTo>
                  <a:pt x="104" y="73"/>
                  <a:pt x="104" y="73"/>
                  <a:pt x="104" y="73"/>
                </a:cubicBezTo>
                <a:cubicBezTo>
                  <a:pt x="103" y="77"/>
                  <a:pt x="103" y="77"/>
                  <a:pt x="103" y="77"/>
                </a:cubicBezTo>
                <a:cubicBezTo>
                  <a:pt x="96" y="80"/>
                  <a:pt x="96" y="80"/>
                  <a:pt x="96" y="80"/>
                </a:cubicBezTo>
                <a:cubicBezTo>
                  <a:pt x="91" y="80"/>
                  <a:pt x="91" y="80"/>
                  <a:pt x="91" y="80"/>
                </a:cubicBezTo>
                <a:cubicBezTo>
                  <a:pt x="88" y="83"/>
                  <a:pt x="88" y="83"/>
                  <a:pt x="88" y="83"/>
                </a:cubicBezTo>
                <a:cubicBezTo>
                  <a:pt x="85" y="88"/>
                  <a:pt x="85" y="88"/>
                  <a:pt x="85" y="88"/>
                </a:cubicBezTo>
                <a:cubicBezTo>
                  <a:pt x="82" y="91"/>
                  <a:pt x="82" y="91"/>
                  <a:pt x="82" y="91"/>
                </a:cubicBezTo>
                <a:cubicBezTo>
                  <a:pt x="80" y="97"/>
                  <a:pt x="80" y="97"/>
                  <a:pt x="80" y="97"/>
                </a:cubicBezTo>
                <a:cubicBezTo>
                  <a:pt x="81" y="103"/>
                  <a:pt x="81" y="103"/>
                  <a:pt x="81" y="103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82" y="109"/>
                  <a:pt x="82" y="109"/>
                  <a:pt x="82" y="109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67" y="112"/>
                  <a:pt x="67" y="112"/>
                  <a:pt x="67" y="112"/>
                </a:cubicBezTo>
                <a:cubicBezTo>
                  <a:pt x="60" y="113"/>
                  <a:pt x="60" y="113"/>
                  <a:pt x="60" y="113"/>
                </a:cubicBezTo>
                <a:cubicBezTo>
                  <a:pt x="58" y="115"/>
                  <a:pt x="58" y="115"/>
                  <a:pt x="58" y="115"/>
                </a:cubicBezTo>
                <a:cubicBezTo>
                  <a:pt x="59" y="119"/>
                  <a:pt x="59" y="119"/>
                  <a:pt x="59" y="119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6" y="126"/>
                  <a:pt x="66" y="126"/>
                  <a:pt x="66" y="126"/>
                </a:cubicBezTo>
                <a:cubicBezTo>
                  <a:pt x="64" y="130"/>
                  <a:pt x="64" y="130"/>
                  <a:pt x="64" y="130"/>
                </a:cubicBezTo>
                <a:cubicBezTo>
                  <a:pt x="62" y="134"/>
                  <a:pt x="62" y="134"/>
                  <a:pt x="62" y="134"/>
                </a:cubicBezTo>
                <a:cubicBezTo>
                  <a:pt x="62" y="141"/>
                  <a:pt x="62" y="141"/>
                  <a:pt x="62" y="141"/>
                </a:cubicBezTo>
                <a:cubicBezTo>
                  <a:pt x="59" y="142"/>
                  <a:pt x="57" y="143"/>
                  <a:pt x="55" y="144"/>
                </a:cubicBezTo>
                <a:cubicBezTo>
                  <a:pt x="53" y="146"/>
                  <a:pt x="53" y="147"/>
                  <a:pt x="51" y="148"/>
                </a:cubicBezTo>
                <a:cubicBezTo>
                  <a:pt x="49" y="149"/>
                  <a:pt x="48" y="149"/>
                  <a:pt x="46" y="150"/>
                </a:cubicBezTo>
                <a:cubicBezTo>
                  <a:pt x="45" y="151"/>
                  <a:pt x="45" y="153"/>
                  <a:pt x="45" y="154"/>
                </a:cubicBezTo>
                <a:cubicBezTo>
                  <a:pt x="45" y="157"/>
                  <a:pt x="34" y="154"/>
                  <a:pt x="31" y="159"/>
                </a:cubicBezTo>
                <a:cubicBezTo>
                  <a:pt x="29" y="162"/>
                  <a:pt x="31" y="164"/>
                  <a:pt x="29" y="167"/>
                </a:cubicBezTo>
                <a:cubicBezTo>
                  <a:pt x="27" y="169"/>
                  <a:pt x="24" y="168"/>
                  <a:pt x="22" y="169"/>
                </a:cubicBezTo>
                <a:cubicBezTo>
                  <a:pt x="20" y="169"/>
                  <a:pt x="19" y="171"/>
                  <a:pt x="17" y="171"/>
                </a:cubicBezTo>
                <a:cubicBezTo>
                  <a:pt x="15" y="171"/>
                  <a:pt x="16" y="167"/>
                  <a:pt x="14" y="167"/>
                </a:cubicBezTo>
                <a:cubicBezTo>
                  <a:pt x="12" y="166"/>
                  <a:pt x="11" y="168"/>
                  <a:pt x="9" y="169"/>
                </a:cubicBezTo>
                <a:cubicBezTo>
                  <a:pt x="8" y="171"/>
                  <a:pt x="7" y="172"/>
                  <a:pt x="6" y="173"/>
                </a:cubicBezTo>
                <a:cubicBezTo>
                  <a:pt x="5" y="174"/>
                  <a:pt x="4" y="174"/>
                  <a:pt x="3" y="175"/>
                </a:cubicBezTo>
                <a:cubicBezTo>
                  <a:pt x="2" y="175"/>
                  <a:pt x="1" y="176"/>
                  <a:pt x="0" y="177"/>
                </a:cubicBezTo>
                <a:cubicBezTo>
                  <a:pt x="0" y="178"/>
                  <a:pt x="0" y="178"/>
                  <a:pt x="0" y="178"/>
                </a:cubicBezTo>
                <a:cubicBezTo>
                  <a:pt x="1" y="180"/>
                  <a:pt x="1" y="182"/>
                  <a:pt x="1" y="182"/>
                </a:cubicBezTo>
                <a:cubicBezTo>
                  <a:pt x="1" y="185"/>
                  <a:pt x="1" y="185"/>
                  <a:pt x="1" y="185"/>
                </a:cubicBezTo>
                <a:cubicBezTo>
                  <a:pt x="3" y="187"/>
                  <a:pt x="3" y="187"/>
                  <a:pt x="3" y="187"/>
                </a:cubicBezTo>
                <a:cubicBezTo>
                  <a:pt x="9" y="185"/>
                  <a:pt x="9" y="185"/>
                  <a:pt x="9" y="185"/>
                </a:cubicBezTo>
                <a:cubicBezTo>
                  <a:pt x="10" y="186"/>
                  <a:pt x="10" y="186"/>
                  <a:pt x="10" y="186"/>
                </a:cubicBezTo>
                <a:cubicBezTo>
                  <a:pt x="10" y="189"/>
                  <a:pt x="10" y="189"/>
                  <a:pt x="10" y="189"/>
                </a:cubicBezTo>
                <a:cubicBezTo>
                  <a:pt x="8" y="193"/>
                  <a:pt x="8" y="193"/>
                  <a:pt x="8" y="193"/>
                </a:cubicBezTo>
                <a:cubicBezTo>
                  <a:pt x="11" y="197"/>
                  <a:pt x="11" y="197"/>
                  <a:pt x="11" y="197"/>
                </a:cubicBezTo>
                <a:cubicBezTo>
                  <a:pt x="11" y="202"/>
                  <a:pt x="11" y="202"/>
                  <a:pt x="11" y="202"/>
                </a:cubicBezTo>
                <a:cubicBezTo>
                  <a:pt x="13" y="204"/>
                  <a:pt x="13" y="204"/>
                  <a:pt x="13" y="204"/>
                </a:cubicBezTo>
                <a:cubicBezTo>
                  <a:pt x="13" y="206"/>
                  <a:pt x="13" y="206"/>
                  <a:pt x="13" y="206"/>
                </a:cubicBezTo>
                <a:cubicBezTo>
                  <a:pt x="10" y="207"/>
                  <a:pt x="10" y="207"/>
                  <a:pt x="10" y="207"/>
                </a:cubicBezTo>
                <a:cubicBezTo>
                  <a:pt x="10" y="211"/>
                  <a:pt x="10" y="211"/>
                  <a:pt x="10" y="211"/>
                </a:cubicBezTo>
                <a:cubicBezTo>
                  <a:pt x="16" y="211"/>
                  <a:pt x="16" y="211"/>
                  <a:pt x="16" y="211"/>
                </a:cubicBezTo>
                <a:cubicBezTo>
                  <a:pt x="26" y="217"/>
                  <a:pt x="26" y="217"/>
                  <a:pt x="26" y="217"/>
                </a:cubicBezTo>
                <a:cubicBezTo>
                  <a:pt x="28" y="220"/>
                  <a:pt x="28" y="220"/>
                  <a:pt x="28" y="220"/>
                </a:cubicBezTo>
                <a:cubicBezTo>
                  <a:pt x="32" y="223"/>
                  <a:pt x="32" y="223"/>
                  <a:pt x="32" y="223"/>
                </a:cubicBezTo>
                <a:cubicBezTo>
                  <a:pt x="35" y="220"/>
                  <a:pt x="35" y="220"/>
                  <a:pt x="35" y="220"/>
                </a:cubicBezTo>
                <a:cubicBezTo>
                  <a:pt x="37" y="218"/>
                  <a:pt x="37" y="218"/>
                  <a:pt x="37" y="218"/>
                </a:cubicBezTo>
                <a:cubicBezTo>
                  <a:pt x="41" y="218"/>
                  <a:pt x="41" y="218"/>
                  <a:pt x="41" y="218"/>
                </a:cubicBezTo>
                <a:cubicBezTo>
                  <a:pt x="45" y="219"/>
                  <a:pt x="45" y="219"/>
                  <a:pt x="45" y="219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51" y="223"/>
                  <a:pt x="51" y="223"/>
                  <a:pt x="51" y="223"/>
                </a:cubicBezTo>
                <a:cubicBezTo>
                  <a:pt x="53" y="226"/>
                  <a:pt x="53" y="226"/>
                  <a:pt x="53" y="226"/>
                </a:cubicBezTo>
                <a:cubicBezTo>
                  <a:pt x="55" y="230"/>
                  <a:pt x="55" y="230"/>
                  <a:pt x="55" y="230"/>
                </a:cubicBezTo>
                <a:cubicBezTo>
                  <a:pt x="52" y="232"/>
                  <a:pt x="52" y="232"/>
                  <a:pt x="52" y="232"/>
                </a:cubicBezTo>
                <a:cubicBezTo>
                  <a:pt x="52" y="235"/>
                  <a:pt x="52" y="235"/>
                  <a:pt x="52" y="235"/>
                </a:cubicBezTo>
                <a:cubicBezTo>
                  <a:pt x="50" y="238"/>
                  <a:pt x="50" y="238"/>
                  <a:pt x="50" y="238"/>
                </a:cubicBezTo>
                <a:cubicBezTo>
                  <a:pt x="48" y="240"/>
                  <a:pt x="48" y="240"/>
                  <a:pt x="48" y="240"/>
                </a:cubicBezTo>
                <a:cubicBezTo>
                  <a:pt x="46" y="244"/>
                  <a:pt x="46" y="244"/>
                  <a:pt x="46" y="244"/>
                </a:cubicBezTo>
                <a:cubicBezTo>
                  <a:pt x="44" y="246"/>
                  <a:pt x="44" y="246"/>
                  <a:pt x="44" y="246"/>
                </a:cubicBezTo>
                <a:cubicBezTo>
                  <a:pt x="42" y="250"/>
                  <a:pt x="42" y="250"/>
                  <a:pt x="42" y="250"/>
                </a:cubicBezTo>
                <a:cubicBezTo>
                  <a:pt x="46" y="253"/>
                  <a:pt x="46" y="253"/>
                  <a:pt x="46" y="253"/>
                </a:cubicBezTo>
                <a:cubicBezTo>
                  <a:pt x="48" y="256"/>
                  <a:pt x="48" y="256"/>
                  <a:pt x="48" y="256"/>
                </a:cubicBezTo>
                <a:cubicBezTo>
                  <a:pt x="47" y="262"/>
                  <a:pt x="47" y="262"/>
                  <a:pt x="47" y="262"/>
                </a:cubicBezTo>
                <a:cubicBezTo>
                  <a:pt x="50" y="263"/>
                  <a:pt x="50" y="263"/>
                  <a:pt x="50" y="263"/>
                </a:cubicBezTo>
                <a:cubicBezTo>
                  <a:pt x="52" y="263"/>
                  <a:pt x="52" y="263"/>
                  <a:pt x="52" y="263"/>
                </a:cubicBezTo>
                <a:cubicBezTo>
                  <a:pt x="52" y="266"/>
                  <a:pt x="52" y="266"/>
                  <a:pt x="52" y="266"/>
                </a:cubicBezTo>
                <a:cubicBezTo>
                  <a:pt x="51" y="271"/>
                  <a:pt x="51" y="271"/>
                  <a:pt x="51" y="271"/>
                </a:cubicBezTo>
                <a:cubicBezTo>
                  <a:pt x="52" y="273"/>
                  <a:pt x="52" y="273"/>
                  <a:pt x="52" y="273"/>
                </a:cubicBezTo>
                <a:cubicBezTo>
                  <a:pt x="50" y="275"/>
                  <a:pt x="50" y="275"/>
                  <a:pt x="50" y="275"/>
                </a:cubicBezTo>
                <a:cubicBezTo>
                  <a:pt x="51" y="279"/>
                  <a:pt x="51" y="279"/>
                  <a:pt x="51" y="279"/>
                </a:cubicBezTo>
                <a:cubicBezTo>
                  <a:pt x="56" y="281"/>
                  <a:pt x="56" y="281"/>
                  <a:pt x="56" y="281"/>
                </a:cubicBezTo>
                <a:cubicBezTo>
                  <a:pt x="59" y="283"/>
                  <a:pt x="59" y="283"/>
                  <a:pt x="59" y="283"/>
                </a:cubicBezTo>
                <a:cubicBezTo>
                  <a:pt x="64" y="284"/>
                  <a:pt x="64" y="284"/>
                  <a:pt x="64" y="284"/>
                </a:cubicBezTo>
                <a:cubicBezTo>
                  <a:pt x="67" y="287"/>
                  <a:pt x="67" y="287"/>
                  <a:pt x="67" y="287"/>
                </a:cubicBezTo>
                <a:cubicBezTo>
                  <a:pt x="70" y="290"/>
                  <a:pt x="70" y="290"/>
                  <a:pt x="70" y="290"/>
                </a:cubicBezTo>
                <a:cubicBezTo>
                  <a:pt x="72" y="289"/>
                  <a:pt x="72" y="289"/>
                  <a:pt x="72" y="289"/>
                </a:cubicBezTo>
                <a:cubicBezTo>
                  <a:pt x="76" y="290"/>
                  <a:pt x="76" y="290"/>
                  <a:pt x="76" y="290"/>
                </a:cubicBezTo>
                <a:cubicBezTo>
                  <a:pt x="80" y="290"/>
                  <a:pt x="80" y="290"/>
                  <a:pt x="80" y="290"/>
                </a:cubicBezTo>
                <a:cubicBezTo>
                  <a:pt x="83" y="290"/>
                  <a:pt x="83" y="290"/>
                  <a:pt x="83" y="290"/>
                </a:cubicBezTo>
                <a:cubicBezTo>
                  <a:pt x="87" y="297"/>
                  <a:pt x="87" y="297"/>
                  <a:pt x="87" y="297"/>
                </a:cubicBezTo>
                <a:cubicBezTo>
                  <a:pt x="91" y="297"/>
                  <a:pt x="91" y="297"/>
                  <a:pt x="91" y="297"/>
                </a:cubicBezTo>
                <a:cubicBezTo>
                  <a:pt x="96" y="296"/>
                  <a:pt x="96" y="296"/>
                  <a:pt x="96" y="296"/>
                </a:cubicBezTo>
                <a:cubicBezTo>
                  <a:pt x="99" y="298"/>
                  <a:pt x="99" y="298"/>
                  <a:pt x="99" y="298"/>
                </a:cubicBezTo>
                <a:cubicBezTo>
                  <a:pt x="99" y="302"/>
                  <a:pt x="99" y="302"/>
                  <a:pt x="99" y="302"/>
                </a:cubicBezTo>
                <a:cubicBezTo>
                  <a:pt x="103" y="304"/>
                  <a:pt x="103" y="304"/>
                  <a:pt x="103" y="304"/>
                </a:cubicBezTo>
                <a:cubicBezTo>
                  <a:pt x="107" y="308"/>
                  <a:pt x="107" y="308"/>
                  <a:pt x="107" y="308"/>
                </a:cubicBezTo>
                <a:cubicBezTo>
                  <a:pt x="109" y="311"/>
                  <a:pt x="109" y="311"/>
                  <a:pt x="109" y="311"/>
                </a:cubicBezTo>
                <a:cubicBezTo>
                  <a:pt x="113" y="312"/>
                  <a:pt x="113" y="312"/>
                  <a:pt x="113" y="312"/>
                </a:cubicBezTo>
                <a:cubicBezTo>
                  <a:pt x="118" y="314"/>
                  <a:pt x="118" y="314"/>
                  <a:pt x="118" y="314"/>
                </a:cubicBezTo>
                <a:cubicBezTo>
                  <a:pt x="125" y="315"/>
                  <a:pt x="125" y="315"/>
                  <a:pt x="125" y="315"/>
                </a:cubicBezTo>
                <a:cubicBezTo>
                  <a:pt x="130" y="316"/>
                  <a:pt x="130" y="316"/>
                  <a:pt x="130" y="316"/>
                </a:cubicBezTo>
                <a:cubicBezTo>
                  <a:pt x="134" y="314"/>
                  <a:pt x="134" y="314"/>
                  <a:pt x="134" y="314"/>
                </a:cubicBezTo>
                <a:cubicBezTo>
                  <a:pt x="138" y="315"/>
                  <a:pt x="138" y="315"/>
                  <a:pt x="138" y="315"/>
                </a:cubicBezTo>
                <a:cubicBezTo>
                  <a:pt x="140" y="319"/>
                  <a:pt x="140" y="319"/>
                  <a:pt x="140" y="319"/>
                </a:cubicBezTo>
                <a:cubicBezTo>
                  <a:pt x="144" y="312"/>
                  <a:pt x="144" y="312"/>
                  <a:pt x="144" y="312"/>
                </a:cubicBezTo>
                <a:cubicBezTo>
                  <a:pt x="147" y="311"/>
                  <a:pt x="147" y="311"/>
                  <a:pt x="147" y="311"/>
                </a:cubicBezTo>
                <a:cubicBezTo>
                  <a:pt x="152" y="310"/>
                  <a:pt x="152" y="310"/>
                  <a:pt x="152" y="310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60" y="312"/>
                  <a:pt x="160" y="312"/>
                  <a:pt x="160" y="312"/>
                </a:cubicBezTo>
                <a:cubicBezTo>
                  <a:pt x="166" y="313"/>
                  <a:pt x="166" y="313"/>
                  <a:pt x="166" y="313"/>
                </a:cubicBezTo>
                <a:cubicBezTo>
                  <a:pt x="170" y="312"/>
                  <a:pt x="170" y="312"/>
                  <a:pt x="170" y="312"/>
                </a:cubicBezTo>
                <a:cubicBezTo>
                  <a:pt x="175" y="309"/>
                  <a:pt x="175" y="309"/>
                  <a:pt x="175" y="309"/>
                </a:cubicBezTo>
                <a:cubicBezTo>
                  <a:pt x="178" y="307"/>
                  <a:pt x="178" y="307"/>
                  <a:pt x="178" y="307"/>
                </a:cubicBezTo>
                <a:cubicBezTo>
                  <a:pt x="182" y="307"/>
                  <a:pt x="182" y="307"/>
                  <a:pt x="182" y="307"/>
                </a:cubicBezTo>
                <a:cubicBezTo>
                  <a:pt x="185" y="308"/>
                  <a:pt x="185" y="308"/>
                  <a:pt x="185" y="308"/>
                </a:cubicBezTo>
                <a:cubicBezTo>
                  <a:pt x="189" y="305"/>
                  <a:pt x="189" y="305"/>
                  <a:pt x="189" y="305"/>
                </a:cubicBezTo>
                <a:cubicBezTo>
                  <a:pt x="192" y="305"/>
                  <a:pt x="192" y="305"/>
                  <a:pt x="192" y="305"/>
                </a:cubicBezTo>
                <a:cubicBezTo>
                  <a:pt x="197" y="307"/>
                  <a:pt x="197" y="307"/>
                  <a:pt x="197" y="307"/>
                </a:cubicBezTo>
                <a:cubicBezTo>
                  <a:pt x="197" y="312"/>
                  <a:pt x="197" y="312"/>
                  <a:pt x="197" y="312"/>
                </a:cubicBezTo>
                <a:cubicBezTo>
                  <a:pt x="199" y="314"/>
                  <a:pt x="199" y="314"/>
                  <a:pt x="199" y="314"/>
                </a:cubicBezTo>
                <a:cubicBezTo>
                  <a:pt x="202" y="313"/>
                  <a:pt x="202" y="313"/>
                  <a:pt x="202" y="313"/>
                </a:cubicBezTo>
                <a:cubicBezTo>
                  <a:pt x="204" y="314"/>
                  <a:pt x="204" y="314"/>
                  <a:pt x="204" y="314"/>
                </a:cubicBezTo>
                <a:cubicBezTo>
                  <a:pt x="207" y="315"/>
                  <a:pt x="207" y="315"/>
                  <a:pt x="207" y="315"/>
                </a:cubicBezTo>
                <a:cubicBezTo>
                  <a:pt x="210" y="316"/>
                  <a:pt x="210" y="316"/>
                  <a:pt x="210" y="316"/>
                </a:cubicBezTo>
                <a:cubicBezTo>
                  <a:pt x="211" y="319"/>
                  <a:pt x="211" y="319"/>
                  <a:pt x="211" y="319"/>
                </a:cubicBezTo>
                <a:cubicBezTo>
                  <a:pt x="212" y="322"/>
                  <a:pt x="212" y="322"/>
                  <a:pt x="212" y="322"/>
                </a:cubicBezTo>
                <a:cubicBezTo>
                  <a:pt x="215" y="321"/>
                  <a:pt x="215" y="321"/>
                  <a:pt x="215" y="321"/>
                </a:cubicBezTo>
                <a:cubicBezTo>
                  <a:pt x="218" y="321"/>
                  <a:pt x="218" y="321"/>
                  <a:pt x="218" y="321"/>
                </a:cubicBezTo>
                <a:cubicBezTo>
                  <a:pt x="219" y="325"/>
                  <a:pt x="219" y="325"/>
                  <a:pt x="219" y="325"/>
                </a:cubicBezTo>
                <a:cubicBezTo>
                  <a:pt x="220" y="328"/>
                  <a:pt x="220" y="328"/>
                  <a:pt x="220" y="328"/>
                </a:cubicBezTo>
                <a:cubicBezTo>
                  <a:pt x="219" y="333"/>
                  <a:pt x="219" y="333"/>
                  <a:pt x="219" y="333"/>
                </a:cubicBezTo>
                <a:cubicBezTo>
                  <a:pt x="220" y="336"/>
                  <a:pt x="220" y="336"/>
                  <a:pt x="220" y="336"/>
                </a:cubicBezTo>
                <a:cubicBezTo>
                  <a:pt x="220" y="339"/>
                  <a:pt x="220" y="339"/>
                  <a:pt x="220" y="339"/>
                </a:cubicBezTo>
                <a:cubicBezTo>
                  <a:pt x="219" y="344"/>
                  <a:pt x="219" y="344"/>
                  <a:pt x="219" y="344"/>
                </a:cubicBezTo>
                <a:cubicBezTo>
                  <a:pt x="217" y="349"/>
                  <a:pt x="217" y="349"/>
                  <a:pt x="217" y="349"/>
                </a:cubicBezTo>
                <a:cubicBezTo>
                  <a:pt x="214" y="353"/>
                  <a:pt x="214" y="353"/>
                  <a:pt x="214" y="353"/>
                </a:cubicBezTo>
                <a:cubicBezTo>
                  <a:pt x="214" y="355"/>
                  <a:pt x="214" y="355"/>
                  <a:pt x="214" y="355"/>
                </a:cubicBezTo>
                <a:cubicBezTo>
                  <a:pt x="216" y="358"/>
                  <a:pt x="216" y="358"/>
                  <a:pt x="216" y="358"/>
                </a:cubicBezTo>
                <a:cubicBezTo>
                  <a:pt x="216" y="361"/>
                  <a:pt x="216" y="361"/>
                  <a:pt x="216" y="361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18" y="362"/>
                  <a:pt x="218" y="362"/>
                  <a:pt x="218" y="362"/>
                </a:cubicBezTo>
                <a:cubicBezTo>
                  <a:pt x="219" y="361"/>
                  <a:pt x="219" y="361"/>
                  <a:pt x="219" y="361"/>
                </a:cubicBezTo>
                <a:cubicBezTo>
                  <a:pt x="223" y="359"/>
                  <a:pt x="223" y="359"/>
                  <a:pt x="223" y="359"/>
                </a:cubicBezTo>
                <a:cubicBezTo>
                  <a:pt x="225" y="359"/>
                  <a:pt x="225" y="359"/>
                  <a:pt x="225" y="359"/>
                </a:cubicBezTo>
                <a:cubicBezTo>
                  <a:pt x="227" y="362"/>
                  <a:pt x="227" y="362"/>
                  <a:pt x="227" y="362"/>
                </a:cubicBezTo>
                <a:cubicBezTo>
                  <a:pt x="226" y="365"/>
                  <a:pt x="226" y="365"/>
                  <a:pt x="226" y="365"/>
                </a:cubicBezTo>
                <a:cubicBezTo>
                  <a:pt x="228" y="368"/>
                  <a:pt x="228" y="368"/>
                  <a:pt x="228" y="368"/>
                </a:cubicBezTo>
                <a:cubicBezTo>
                  <a:pt x="231" y="368"/>
                  <a:pt x="231" y="368"/>
                  <a:pt x="231" y="368"/>
                </a:cubicBezTo>
                <a:cubicBezTo>
                  <a:pt x="231" y="370"/>
                  <a:pt x="231" y="370"/>
                  <a:pt x="231" y="370"/>
                </a:cubicBezTo>
                <a:cubicBezTo>
                  <a:pt x="228" y="375"/>
                  <a:pt x="228" y="375"/>
                  <a:pt x="228" y="375"/>
                </a:cubicBezTo>
                <a:cubicBezTo>
                  <a:pt x="228" y="377"/>
                  <a:pt x="228" y="377"/>
                  <a:pt x="228" y="377"/>
                </a:cubicBezTo>
                <a:cubicBezTo>
                  <a:pt x="232" y="378"/>
                  <a:pt x="232" y="378"/>
                  <a:pt x="232" y="378"/>
                </a:cubicBezTo>
                <a:cubicBezTo>
                  <a:pt x="234" y="378"/>
                  <a:pt x="234" y="378"/>
                  <a:pt x="234" y="378"/>
                </a:cubicBezTo>
                <a:cubicBezTo>
                  <a:pt x="236" y="383"/>
                  <a:pt x="236" y="383"/>
                  <a:pt x="236" y="383"/>
                </a:cubicBezTo>
                <a:cubicBezTo>
                  <a:pt x="237" y="387"/>
                  <a:pt x="237" y="387"/>
                  <a:pt x="237" y="387"/>
                </a:cubicBezTo>
                <a:cubicBezTo>
                  <a:pt x="243" y="389"/>
                  <a:pt x="243" y="389"/>
                  <a:pt x="243" y="389"/>
                </a:cubicBezTo>
                <a:cubicBezTo>
                  <a:pt x="242" y="392"/>
                  <a:pt x="242" y="392"/>
                  <a:pt x="242" y="392"/>
                </a:cubicBezTo>
                <a:cubicBezTo>
                  <a:pt x="248" y="392"/>
                  <a:pt x="248" y="392"/>
                  <a:pt x="248" y="392"/>
                </a:cubicBezTo>
                <a:cubicBezTo>
                  <a:pt x="249" y="388"/>
                  <a:pt x="249" y="388"/>
                  <a:pt x="249" y="388"/>
                </a:cubicBezTo>
                <a:cubicBezTo>
                  <a:pt x="250" y="382"/>
                  <a:pt x="250" y="382"/>
                  <a:pt x="250" y="382"/>
                </a:cubicBezTo>
                <a:cubicBezTo>
                  <a:pt x="247" y="377"/>
                  <a:pt x="247" y="377"/>
                  <a:pt x="247" y="377"/>
                </a:cubicBezTo>
                <a:cubicBezTo>
                  <a:pt x="249" y="373"/>
                  <a:pt x="249" y="373"/>
                  <a:pt x="249" y="373"/>
                </a:cubicBezTo>
                <a:cubicBezTo>
                  <a:pt x="253" y="374"/>
                  <a:pt x="253" y="374"/>
                  <a:pt x="253" y="374"/>
                </a:cubicBezTo>
                <a:cubicBezTo>
                  <a:pt x="258" y="371"/>
                  <a:pt x="258" y="371"/>
                  <a:pt x="258" y="371"/>
                </a:cubicBezTo>
                <a:cubicBezTo>
                  <a:pt x="263" y="374"/>
                  <a:pt x="263" y="374"/>
                  <a:pt x="263" y="374"/>
                </a:cubicBezTo>
                <a:cubicBezTo>
                  <a:pt x="269" y="372"/>
                  <a:pt x="269" y="372"/>
                  <a:pt x="269" y="372"/>
                </a:cubicBezTo>
                <a:cubicBezTo>
                  <a:pt x="274" y="372"/>
                  <a:pt x="274" y="372"/>
                  <a:pt x="274" y="372"/>
                </a:cubicBezTo>
                <a:cubicBezTo>
                  <a:pt x="279" y="368"/>
                  <a:pt x="279" y="368"/>
                  <a:pt x="279" y="368"/>
                </a:cubicBezTo>
                <a:cubicBezTo>
                  <a:pt x="282" y="369"/>
                  <a:pt x="282" y="369"/>
                  <a:pt x="282" y="369"/>
                </a:cubicBezTo>
                <a:cubicBezTo>
                  <a:pt x="285" y="371"/>
                  <a:pt x="285" y="371"/>
                  <a:pt x="285" y="371"/>
                </a:cubicBezTo>
                <a:cubicBezTo>
                  <a:pt x="288" y="372"/>
                  <a:pt x="288" y="372"/>
                  <a:pt x="288" y="372"/>
                </a:cubicBezTo>
                <a:cubicBezTo>
                  <a:pt x="288" y="377"/>
                  <a:pt x="288" y="377"/>
                  <a:pt x="288" y="377"/>
                </a:cubicBezTo>
                <a:cubicBezTo>
                  <a:pt x="290" y="381"/>
                  <a:pt x="290" y="381"/>
                  <a:pt x="290" y="381"/>
                </a:cubicBezTo>
                <a:cubicBezTo>
                  <a:pt x="292" y="383"/>
                  <a:pt x="292" y="383"/>
                  <a:pt x="292" y="383"/>
                </a:cubicBezTo>
                <a:cubicBezTo>
                  <a:pt x="296" y="385"/>
                  <a:pt x="296" y="385"/>
                  <a:pt x="296" y="385"/>
                </a:cubicBezTo>
                <a:cubicBezTo>
                  <a:pt x="299" y="384"/>
                  <a:pt x="299" y="384"/>
                  <a:pt x="299" y="384"/>
                </a:cubicBezTo>
                <a:cubicBezTo>
                  <a:pt x="303" y="386"/>
                  <a:pt x="303" y="386"/>
                  <a:pt x="303" y="386"/>
                </a:cubicBezTo>
                <a:cubicBezTo>
                  <a:pt x="304" y="386"/>
                  <a:pt x="304" y="385"/>
                  <a:pt x="304" y="384"/>
                </a:cubicBezTo>
                <a:cubicBezTo>
                  <a:pt x="307" y="384"/>
                  <a:pt x="307" y="384"/>
                  <a:pt x="311" y="383"/>
                </a:cubicBezTo>
                <a:cubicBezTo>
                  <a:pt x="311" y="385"/>
                  <a:pt x="311" y="385"/>
                  <a:pt x="311" y="385"/>
                </a:cubicBezTo>
                <a:cubicBezTo>
                  <a:pt x="313" y="386"/>
                  <a:pt x="313" y="384"/>
                  <a:pt x="315" y="385"/>
                </a:cubicBezTo>
                <a:cubicBezTo>
                  <a:pt x="315" y="385"/>
                  <a:pt x="316" y="386"/>
                  <a:pt x="315" y="387"/>
                </a:cubicBezTo>
                <a:cubicBezTo>
                  <a:pt x="315" y="388"/>
                  <a:pt x="313" y="391"/>
                  <a:pt x="314" y="394"/>
                </a:cubicBezTo>
                <a:cubicBezTo>
                  <a:pt x="315" y="394"/>
                  <a:pt x="315" y="394"/>
                  <a:pt x="315" y="394"/>
                </a:cubicBezTo>
                <a:cubicBezTo>
                  <a:pt x="316" y="396"/>
                  <a:pt x="317" y="398"/>
                  <a:pt x="317" y="400"/>
                </a:cubicBezTo>
                <a:cubicBezTo>
                  <a:pt x="319" y="399"/>
                  <a:pt x="320" y="399"/>
                  <a:pt x="322" y="399"/>
                </a:cubicBezTo>
                <a:cubicBezTo>
                  <a:pt x="322" y="395"/>
                  <a:pt x="323" y="396"/>
                  <a:pt x="319" y="393"/>
                </a:cubicBezTo>
                <a:cubicBezTo>
                  <a:pt x="320" y="393"/>
                  <a:pt x="321" y="393"/>
                  <a:pt x="321" y="393"/>
                </a:cubicBezTo>
                <a:cubicBezTo>
                  <a:pt x="322" y="393"/>
                  <a:pt x="321" y="391"/>
                  <a:pt x="322" y="390"/>
                </a:cubicBezTo>
                <a:cubicBezTo>
                  <a:pt x="323" y="389"/>
                  <a:pt x="326" y="389"/>
                  <a:pt x="327" y="388"/>
                </a:cubicBezTo>
                <a:cubicBezTo>
                  <a:pt x="327" y="388"/>
                  <a:pt x="330" y="385"/>
                  <a:pt x="330" y="385"/>
                </a:cubicBezTo>
                <a:cubicBezTo>
                  <a:pt x="331" y="384"/>
                  <a:pt x="331" y="385"/>
                  <a:pt x="332" y="385"/>
                </a:cubicBezTo>
                <a:cubicBezTo>
                  <a:pt x="332" y="383"/>
                  <a:pt x="332" y="383"/>
                  <a:pt x="332" y="383"/>
                </a:cubicBezTo>
                <a:cubicBezTo>
                  <a:pt x="334" y="383"/>
                  <a:pt x="333" y="384"/>
                  <a:pt x="334" y="384"/>
                </a:cubicBezTo>
                <a:cubicBezTo>
                  <a:pt x="335" y="383"/>
                  <a:pt x="335" y="381"/>
                  <a:pt x="335" y="381"/>
                </a:cubicBezTo>
                <a:cubicBezTo>
                  <a:pt x="337" y="381"/>
                  <a:pt x="336" y="382"/>
                  <a:pt x="337" y="382"/>
                </a:cubicBezTo>
                <a:cubicBezTo>
                  <a:pt x="339" y="381"/>
                  <a:pt x="339" y="381"/>
                  <a:pt x="339" y="381"/>
                </a:cubicBezTo>
                <a:cubicBezTo>
                  <a:pt x="341" y="380"/>
                  <a:pt x="345" y="381"/>
                  <a:pt x="347" y="381"/>
                </a:cubicBezTo>
                <a:cubicBezTo>
                  <a:pt x="347" y="380"/>
                  <a:pt x="351" y="374"/>
                  <a:pt x="351" y="374"/>
                </a:cubicBezTo>
                <a:cubicBezTo>
                  <a:pt x="352" y="374"/>
                  <a:pt x="352" y="374"/>
                  <a:pt x="352" y="374"/>
                </a:cubicBezTo>
                <a:cubicBezTo>
                  <a:pt x="352" y="374"/>
                  <a:pt x="354" y="369"/>
                  <a:pt x="352" y="371"/>
                </a:cubicBezTo>
                <a:cubicBezTo>
                  <a:pt x="352" y="369"/>
                  <a:pt x="352" y="369"/>
                  <a:pt x="352" y="369"/>
                </a:cubicBezTo>
                <a:cubicBezTo>
                  <a:pt x="352" y="369"/>
                  <a:pt x="354" y="370"/>
                  <a:pt x="354" y="370"/>
                </a:cubicBezTo>
                <a:cubicBezTo>
                  <a:pt x="355" y="371"/>
                  <a:pt x="355" y="372"/>
                  <a:pt x="356" y="373"/>
                </a:cubicBezTo>
                <a:cubicBezTo>
                  <a:pt x="357" y="373"/>
                  <a:pt x="359" y="372"/>
                  <a:pt x="360" y="374"/>
                </a:cubicBezTo>
                <a:cubicBezTo>
                  <a:pt x="360" y="374"/>
                  <a:pt x="360" y="374"/>
                  <a:pt x="360" y="374"/>
                </a:cubicBezTo>
                <a:cubicBezTo>
                  <a:pt x="361" y="374"/>
                  <a:pt x="361" y="374"/>
                  <a:pt x="362" y="37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4" y="372"/>
                  <a:pt x="366" y="371"/>
                  <a:pt x="367" y="371"/>
                </a:cubicBezTo>
                <a:cubicBezTo>
                  <a:pt x="369" y="371"/>
                  <a:pt x="370" y="372"/>
                  <a:pt x="372" y="372"/>
                </a:cubicBezTo>
                <a:cubicBezTo>
                  <a:pt x="372" y="371"/>
                  <a:pt x="372" y="371"/>
                  <a:pt x="372" y="371"/>
                </a:cubicBezTo>
                <a:cubicBezTo>
                  <a:pt x="372" y="370"/>
                  <a:pt x="374" y="370"/>
                  <a:pt x="375" y="369"/>
                </a:cubicBezTo>
                <a:cubicBezTo>
                  <a:pt x="375" y="368"/>
                  <a:pt x="375" y="366"/>
                  <a:pt x="375" y="366"/>
                </a:cubicBezTo>
                <a:cubicBezTo>
                  <a:pt x="375" y="364"/>
                  <a:pt x="375" y="364"/>
                  <a:pt x="375" y="364"/>
                </a:cubicBezTo>
                <a:cubicBezTo>
                  <a:pt x="375" y="363"/>
                  <a:pt x="378" y="363"/>
                  <a:pt x="379" y="362"/>
                </a:cubicBezTo>
                <a:cubicBezTo>
                  <a:pt x="379" y="362"/>
                  <a:pt x="379" y="360"/>
                  <a:pt x="379" y="360"/>
                </a:cubicBezTo>
                <a:cubicBezTo>
                  <a:pt x="380" y="360"/>
                  <a:pt x="380" y="361"/>
                  <a:pt x="381" y="361"/>
                </a:cubicBezTo>
                <a:cubicBezTo>
                  <a:pt x="382" y="360"/>
                  <a:pt x="382" y="359"/>
                  <a:pt x="383" y="359"/>
                </a:cubicBezTo>
                <a:cubicBezTo>
                  <a:pt x="383" y="358"/>
                  <a:pt x="383" y="357"/>
                  <a:pt x="383" y="357"/>
                </a:cubicBezTo>
                <a:cubicBezTo>
                  <a:pt x="384" y="356"/>
                  <a:pt x="386" y="357"/>
                  <a:pt x="387" y="356"/>
                </a:cubicBezTo>
                <a:cubicBezTo>
                  <a:pt x="387" y="356"/>
                  <a:pt x="388" y="354"/>
                  <a:pt x="388" y="354"/>
                </a:cubicBezTo>
                <a:cubicBezTo>
                  <a:pt x="388" y="356"/>
                  <a:pt x="388" y="351"/>
                  <a:pt x="388" y="351"/>
                </a:cubicBezTo>
                <a:cubicBezTo>
                  <a:pt x="389" y="350"/>
                  <a:pt x="397" y="349"/>
                  <a:pt x="397" y="349"/>
                </a:cubicBezTo>
                <a:cubicBezTo>
                  <a:pt x="398" y="348"/>
                  <a:pt x="396" y="347"/>
                  <a:pt x="396" y="347"/>
                </a:cubicBezTo>
                <a:cubicBezTo>
                  <a:pt x="396" y="344"/>
                  <a:pt x="397" y="346"/>
                  <a:pt x="398" y="345"/>
                </a:cubicBezTo>
                <a:cubicBezTo>
                  <a:pt x="398" y="343"/>
                  <a:pt x="398" y="343"/>
                  <a:pt x="398" y="343"/>
                </a:cubicBezTo>
                <a:cubicBezTo>
                  <a:pt x="397" y="344"/>
                  <a:pt x="398" y="341"/>
                  <a:pt x="398" y="341"/>
                </a:cubicBezTo>
                <a:cubicBezTo>
                  <a:pt x="399" y="341"/>
                  <a:pt x="401" y="341"/>
                  <a:pt x="402" y="341"/>
                </a:cubicBezTo>
                <a:cubicBezTo>
                  <a:pt x="403" y="340"/>
                  <a:pt x="402" y="340"/>
                  <a:pt x="403" y="339"/>
                </a:cubicBezTo>
                <a:cubicBezTo>
                  <a:pt x="403" y="338"/>
                  <a:pt x="403" y="335"/>
                  <a:pt x="402" y="333"/>
                </a:cubicBezTo>
                <a:cubicBezTo>
                  <a:pt x="402" y="333"/>
                  <a:pt x="400" y="333"/>
                  <a:pt x="399" y="333"/>
                </a:cubicBezTo>
                <a:cubicBezTo>
                  <a:pt x="400" y="331"/>
                  <a:pt x="400" y="331"/>
                  <a:pt x="400" y="331"/>
                </a:cubicBezTo>
                <a:cubicBezTo>
                  <a:pt x="400" y="331"/>
                  <a:pt x="401" y="331"/>
                  <a:pt x="402" y="331"/>
                </a:cubicBezTo>
                <a:cubicBezTo>
                  <a:pt x="402" y="330"/>
                  <a:pt x="401" y="327"/>
                  <a:pt x="402" y="326"/>
                </a:cubicBezTo>
                <a:cubicBezTo>
                  <a:pt x="403" y="324"/>
                  <a:pt x="406" y="325"/>
                  <a:pt x="408" y="323"/>
                </a:cubicBezTo>
                <a:cubicBezTo>
                  <a:pt x="408" y="323"/>
                  <a:pt x="408" y="322"/>
                  <a:pt x="408" y="321"/>
                </a:cubicBezTo>
                <a:cubicBezTo>
                  <a:pt x="408" y="321"/>
                  <a:pt x="411" y="320"/>
                  <a:pt x="411" y="319"/>
                </a:cubicBezTo>
                <a:cubicBezTo>
                  <a:pt x="412" y="318"/>
                  <a:pt x="411" y="316"/>
                  <a:pt x="411" y="315"/>
                </a:cubicBezTo>
                <a:cubicBezTo>
                  <a:pt x="411" y="314"/>
                  <a:pt x="413" y="314"/>
                  <a:pt x="413" y="313"/>
                </a:cubicBezTo>
                <a:cubicBezTo>
                  <a:pt x="413" y="313"/>
                  <a:pt x="413" y="313"/>
                  <a:pt x="412" y="313"/>
                </a:cubicBezTo>
                <a:cubicBezTo>
                  <a:pt x="410" y="311"/>
                  <a:pt x="414" y="313"/>
                  <a:pt x="415" y="312"/>
                </a:cubicBezTo>
                <a:cubicBezTo>
                  <a:pt x="416" y="312"/>
                  <a:pt x="416" y="309"/>
                  <a:pt x="416" y="309"/>
                </a:cubicBezTo>
                <a:cubicBezTo>
                  <a:pt x="416" y="309"/>
                  <a:pt x="419" y="309"/>
                  <a:pt x="420" y="309"/>
                </a:cubicBezTo>
                <a:cubicBezTo>
                  <a:pt x="420" y="309"/>
                  <a:pt x="420" y="307"/>
                  <a:pt x="420" y="307"/>
                </a:cubicBezTo>
                <a:cubicBezTo>
                  <a:pt x="419" y="306"/>
                  <a:pt x="418" y="305"/>
                  <a:pt x="417" y="305"/>
                </a:cubicBezTo>
                <a:cubicBezTo>
                  <a:pt x="417" y="303"/>
                  <a:pt x="418" y="304"/>
                  <a:pt x="418" y="303"/>
                </a:cubicBezTo>
                <a:cubicBezTo>
                  <a:pt x="418" y="298"/>
                  <a:pt x="418" y="298"/>
                  <a:pt x="418" y="298"/>
                </a:cubicBezTo>
                <a:cubicBezTo>
                  <a:pt x="420" y="298"/>
                  <a:pt x="422" y="298"/>
                  <a:pt x="423" y="298"/>
                </a:cubicBezTo>
                <a:cubicBezTo>
                  <a:pt x="420" y="296"/>
                  <a:pt x="424" y="292"/>
                  <a:pt x="422" y="291"/>
                </a:cubicBezTo>
                <a:cubicBezTo>
                  <a:pt x="423" y="291"/>
                  <a:pt x="423" y="291"/>
                  <a:pt x="424" y="291"/>
                </a:cubicBezTo>
                <a:cubicBezTo>
                  <a:pt x="425" y="290"/>
                  <a:pt x="425" y="290"/>
                  <a:pt x="425" y="290"/>
                </a:cubicBezTo>
                <a:cubicBezTo>
                  <a:pt x="425" y="290"/>
                  <a:pt x="425" y="288"/>
                  <a:pt x="424" y="288"/>
                </a:cubicBezTo>
                <a:cubicBezTo>
                  <a:pt x="423" y="287"/>
                  <a:pt x="422" y="288"/>
                  <a:pt x="421" y="287"/>
                </a:cubicBezTo>
                <a:cubicBezTo>
                  <a:pt x="420" y="286"/>
                  <a:pt x="420" y="286"/>
                  <a:pt x="420" y="286"/>
                </a:cubicBezTo>
                <a:cubicBezTo>
                  <a:pt x="418" y="286"/>
                  <a:pt x="416" y="288"/>
                  <a:pt x="413" y="287"/>
                </a:cubicBezTo>
                <a:cubicBezTo>
                  <a:pt x="412" y="286"/>
                  <a:pt x="412" y="285"/>
                  <a:pt x="413" y="285"/>
                </a:cubicBezTo>
                <a:cubicBezTo>
                  <a:pt x="416" y="283"/>
                  <a:pt x="418" y="281"/>
                  <a:pt x="420" y="279"/>
                </a:cubicBezTo>
                <a:cubicBezTo>
                  <a:pt x="418" y="273"/>
                  <a:pt x="416" y="268"/>
                  <a:pt x="408" y="271"/>
                </a:cubicBezTo>
                <a:cubicBezTo>
                  <a:pt x="408" y="270"/>
                  <a:pt x="407" y="269"/>
                  <a:pt x="406" y="268"/>
                </a:cubicBezTo>
                <a:cubicBezTo>
                  <a:pt x="410" y="268"/>
                  <a:pt x="413" y="268"/>
                  <a:pt x="416" y="269"/>
                </a:cubicBezTo>
                <a:cubicBezTo>
                  <a:pt x="416" y="268"/>
                  <a:pt x="416" y="266"/>
                  <a:pt x="416" y="266"/>
                </a:cubicBezTo>
                <a:cubicBezTo>
                  <a:pt x="412" y="260"/>
                  <a:pt x="408" y="256"/>
                  <a:pt x="406" y="248"/>
                </a:cubicBezTo>
                <a:cubicBezTo>
                  <a:pt x="404" y="249"/>
                  <a:pt x="404" y="249"/>
                  <a:pt x="402" y="249"/>
                </a:cubicBezTo>
                <a:cubicBezTo>
                  <a:pt x="402" y="248"/>
                  <a:pt x="403" y="248"/>
                  <a:pt x="404" y="247"/>
                </a:cubicBezTo>
                <a:cubicBezTo>
                  <a:pt x="402" y="243"/>
                  <a:pt x="397" y="236"/>
                  <a:pt x="400" y="229"/>
                </a:cubicBezTo>
                <a:cubicBezTo>
                  <a:pt x="401" y="226"/>
                  <a:pt x="404" y="226"/>
                  <a:pt x="405" y="224"/>
                </a:cubicBezTo>
                <a:cubicBezTo>
                  <a:pt x="405" y="224"/>
                  <a:pt x="405" y="222"/>
                  <a:pt x="404" y="221"/>
                </a:cubicBezTo>
                <a:cubicBezTo>
                  <a:pt x="407" y="220"/>
                  <a:pt x="409" y="219"/>
                  <a:pt x="410" y="216"/>
                </a:cubicBezTo>
                <a:cubicBezTo>
                  <a:pt x="411" y="216"/>
                  <a:pt x="410" y="215"/>
                  <a:pt x="411" y="214"/>
                </a:cubicBezTo>
                <a:cubicBezTo>
                  <a:pt x="412" y="214"/>
                  <a:pt x="414" y="214"/>
                  <a:pt x="415" y="213"/>
                </a:cubicBezTo>
                <a:cubicBezTo>
                  <a:pt x="415" y="213"/>
                  <a:pt x="416" y="211"/>
                  <a:pt x="416" y="211"/>
                </a:cubicBezTo>
                <a:cubicBezTo>
                  <a:pt x="417" y="211"/>
                  <a:pt x="419" y="211"/>
                  <a:pt x="420" y="211"/>
                </a:cubicBezTo>
                <a:cubicBezTo>
                  <a:pt x="420" y="211"/>
                  <a:pt x="420" y="210"/>
                  <a:pt x="420" y="209"/>
                </a:cubicBezTo>
                <a:cubicBezTo>
                  <a:pt x="421" y="209"/>
                  <a:pt x="421" y="208"/>
                  <a:pt x="422" y="208"/>
                </a:cubicBezTo>
                <a:cubicBezTo>
                  <a:pt x="422" y="208"/>
                  <a:pt x="423" y="209"/>
                  <a:pt x="424" y="209"/>
                </a:cubicBezTo>
                <a:cubicBezTo>
                  <a:pt x="425" y="209"/>
                  <a:pt x="425" y="208"/>
                  <a:pt x="426" y="208"/>
                </a:cubicBezTo>
                <a:cubicBezTo>
                  <a:pt x="427" y="207"/>
                  <a:pt x="428" y="205"/>
                  <a:pt x="429" y="203"/>
                </a:cubicBezTo>
                <a:cubicBezTo>
                  <a:pt x="429" y="202"/>
                  <a:pt x="429" y="202"/>
                  <a:pt x="429" y="202"/>
                </a:cubicBezTo>
                <a:cubicBezTo>
                  <a:pt x="428" y="201"/>
                  <a:pt x="425" y="200"/>
                  <a:pt x="425" y="200"/>
                </a:cubicBezTo>
                <a:cubicBezTo>
                  <a:pt x="422" y="200"/>
                  <a:pt x="421" y="203"/>
                  <a:pt x="417" y="202"/>
                </a:cubicBezTo>
                <a:cubicBezTo>
                  <a:pt x="416" y="201"/>
                  <a:pt x="416" y="199"/>
                  <a:pt x="415" y="199"/>
                </a:cubicBezTo>
                <a:cubicBezTo>
                  <a:pt x="413" y="198"/>
                  <a:pt x="408" y="198"/>
                  <a:pt x="406" y="199"/>
                </a:cubicBezTo>
                <a:cubicBezTo>
                  <a:pt x="406" y="199"/>
                  <a:pt x="406" y="201"/>
                  <a:pt x="406" y="201"/>
                </a:cubicBezTo>
                <a:cubicBezTo>
                  <a:pt x="405" y="202"/>
                  <a:pt x="403" y="202"/>
                  <a:pt x="402" y="202"/>
                </a:cubicBezTo>
                <a:cubicBezTo>
                  <a:pt x="401" y="203"/>
                  <a:pt x="401" y="205"/>
                  <a:pt x="400" y="206"/>
                </a:cubicBezTo>
                <a:cubicBezTo>
                  <a:pt x="400" y="206"/>
                  <a:pt x="398" y="206"/>
                  <a:pt x="397" y="206"/>
                </a:cubicBezTo>
                <a:cubicBezTo>
                  <a:pt x="398" y="206"/>
                  <a:pt x="396" y="207"/>
                  <a:pt x="396" y="207"/>
                </a:cubicBezTo>
                <a:cubicBezTo>
                  <a:pt x="395" y="207"/>
                  <a:pt x="394" y="207"/>
                  <a:pt x="394" y="206"/>
                </a:cubicBezTo>
                <a:cubicBezTo>
                  <a:pt x="392" y="205"/>
                  <a:pt x="393" y="203"/>
                  <a:pt x="392" y="201"/>
                </a:cubicBezTo>
                <a:cubicBezTo>
                  <a:pt x="391" y="200"/>
                  <a:pt x="390" y="197"/>
                  <a:pt x="389" y="197"/>
                </a:cubicBezTo>
                <a:cubicBezTo>
                  <a:pt x="388" y="197"/>
                  <a:pt x="388" y="197"/>
                  <a:pt x="388" y="197"/>
                </a:cubicBezTo>
                <a:cubicBezTo>
                  <a:pt x="386" y="195"/>
                  <a:pt x="385" y="191"/>
                  <a:pt x="385" y="188"/>
                </a:cubicBezTo>
                <a:cubicBezTo>
                  <a:pt x="384" y="189"/>
                  <a:pt x="385" y="184"/>
                  <a:pt x="385" y="184"/>
                </a:cubicBezTo>
                <a:cubicBezTo>
                  <a:pt x="385" y="184"/>
                  <a:pt x="386" y="183"/>
                  <a:pt x="386" y="183"/>
                </a:cubicBezTo>
                <a:cubicBezTo>
                  <a:pt x="388" y="182"/>
                  <a:pt x="392" y="184"/>
                  <a:pt x="394" y="183"/>
                </a:cubicBezTo>
                <a:cubicBezTo>
                  <a:pt x="395" y="183"/>
                  <a:pt x="397" y="178"/>
                  <a:pt x="398" y="177"/>
                </a:cubicBezTo>
                <a:cubicBezTo>
                  <a:pt x="399" y="176"/>
                  <a:pt x="402" y="173"/>
                  <a:pt x="403" y="173"/>
                </a:cubicBezTo>
                <a:cubicBezTo>
                  <a:pt x="404" y="173"/>
                  <a:pt x="405" y="173"/>
                  <a:pt x="405" y="173"/>
                </a:cubicBezTo>
                <a:cubicBezTo>
                  <a:pt x="406" y="173"/>
                  <a:pt x="407" y="170"/>
                  <a:pt x="408" y="170"/>
                </a:cubicBezTo>
                <a:cubicBezTo>
                  <a:pt x="409" y="170"/>
                  <a:pt x="409" y="170"/>
                  <a:pt x="409" y="170"/>
                </a:cubicBezTo>
                <a:cubicBezTo>
                  <a:pt x="410" y="168"/>
                  <a:pt x="409" y="167"/>
                  <a:pt x="410" y="165"/>
                </a:cubicBezTo>
                <a:cubicBezTo>
                  <a:pt x="411" y="163"/>
                  <a:pt x="414" y="161"/>
                  <a:pt x="416" y="159"/>
                </a:cubicBezTo>
                <a:cubicBezTo>
                  <a:pt x="419" y="160"/>
                  <a:pt x="423" y="161"/>
                  <a:pt x="426" y="162"/>
                </a:cubicBezTo>
                <a:cubicBezTo>
                  <a:pt x="424" y="166"/>
                  <a:pt x="422" y="170"/>
                  <a:pt x="420" y="174"/>
                </a:cubicBezTo>
                <a:cubicBezTo>
                  <a:pt x="420" y="174"/>
                  <a:pt x="418" y="175"/>
                  <a:pt x="418" y="175"/>
                </a:cubicBezTo>
                <a:cubicBezTo>
                  <a:pt x="418" y="176"/>
                  <a:pt x="418" y="179"/>
                  <a:pt x="418" y="180"/>
                </a:cubicBezTo>
                <a:cubicBezTo>
                  <a:pt x="418" y="180"/>
                  <a:pt x="421" y="180"/>
                  <a:pt x="421" y="180"/>
                </a:cubicBezTo>
                <a:cubicBezTo>
                  <a:pt x="420" y="180"/>
                  <a:pt x="416" y="185"/>
                  <a:pt x="418" y="186"/>
                </a:cubicBezTo>
                <a:cubicBezTo>
                  <a:pt x="418" y="186"/>
                  <a:pt x="420" y="187"/>
                  <a:pt x="419" y="186"/>
                </a:cubicBezTo>
                <a:cubicBezTo>
                  <a:pt x="419" y="186"/>
                  <a:pt x="421" y="186"/>
                  <a:pt x="421" y="186"/>
                </a:cubicBezTo>
                <a:cubicBezTo>
                  <a:pt x="421" y="185"/>
                  <a:pt x="422" y="184"/>
                  <a:pt x="421" y="183"/>
                </a:cubicBezTo>
                <a:cubicBezTo>
                  <a:pt x="425" y="181"/>
                  <a:pt x="434" y="171"/>
                  <a:pt x="441" y="173"/>
                </a:cubicBezTo>
                <a:cubicBezTo>
                  <a:pt x="441" y="173"/>
                  <a:pt x="443" y="175"/>
                  <a:pt x="443" y="175"/>
                </a:cubicBezTo>
                <a:cubicBezTo>
                  <a:pt x="445" y="175"/>
                  <a:pt x="444" y="173"/>
                  <a:pt x="446" y="174"/>
                </a:cubicBezTo>
                <a:cubicBezTo>
                  <a:pt x="446" y="174"/>
                  <a:pt x="447" y="174"/>
                  <a:pt x="447" y="174"/>
                </a:cubicBezTo>
                <a:cubicBezTo>
                  <a:pt x="450" y="168"/>
                  <a:pt x="450" y="168"/>
                  <a:pt x="450" y="168"/>
                </a:cubicBezTo>
                <a:cubicBezTo>
                  <a:pt x="453" y="165"/>
                  <a:pt x="453" y="165"/>
                  <a:pt x="453" y="165"/>
                </a:cubicBezTo>
                <a:cubicBezTo>
                  <a:pt x="457" y="159"/>
                  <a:pt x="457" y="159"/>
                  <a:pt x="457" y="159"/>
                </a:cubicBezTo>
                <a:cubicBezTo>
                  <a:pt x="459" y="155"/>
                  <a:pt x="459" y="155"/>
                  <a:pt x="459" y="155"/>
                </a:cubicBezTo>
                <a:cubicBezTo>
                  <a:pt x="465" y="150"/>
                  <a:pt x="465" y="150"/>
                  <a:pt x="465" y="150"/>
                </a:cubicBezTo>
                <a:cubicBezTo>
                  <a:pt x="464" y="145"/>
                  <a:pt x="464" y="145"/>
                  <a:pt x="464" y="145"/>
                </a:cubicBezTo>
                <a:cubicBezTo>
                  <a:pt x="468" y="144"/>
                  <a:pt x="468" y="144"/>
                  <a:pt x="468" y="144"/>
                </a:cubicBezTo>
                <a:cubicBezTo>
                  <a:pt x="470" y="147"/>
                  <a:pt x="470" y="147"/>
                  <a:pt x="470" y="147"/>
                </a:cubicBezTo>
                <a:cubicBezTo>
                  <a:pt x="474" y="148"/>
                  <a:pt x="474" y="148"/>
                  <a:pt x="474" y="148"/>
                </a:cubicBezTo>
                <a:cubicBezTo>
                  <a:pt x="478" y="149"/>
                  <a:pt x="478" y="149"/>
                  <a:pt x="478" y="149"/>
                </a:cubicBezTo>
                <a:cubicBezTo>
                  <a:pt x="478" y="146"/>
                  <a:pt x="478" y="146"/>
                  <a:pt x="478" y="146"/>
                </a:cubicBezTo>
                <a:cubicBezTo>
                  <a:pt x="478" y="143"/>
                  <a:pt x="478" y="143"/>
                  <a:pt x="478" y="143"/>
                </a:cubicBezTo>
                <a:cubicBezTo>
                  <a:pt x="481" y="141"/>
                  <a:pt x="481" y="141"/>
                  <a:pt x="481" y="141"/>
                </a:cubicBezTo>
                <a:cubicBezTo>
                  <a:pt x="485" y="141"/>
                  <a:pt x="485" y="141"/>
                  <a:pt x="485" y="141"/>
                </a:cubicBezTo>
                <a:cubicBezTo>
                  <a:pt x="487" y="139"/>
                  <a:pt x="487" y="139"/>
                  <a:pt x="487" y="139"/>
                </a:cubicBezTo>
                <a:cubicBezTo>
                  <a:pt x="487" y="137"/>
                  <a:pt x="487" y="137"/>
                  <a:pt x="487" y="137"/>
                </a:cubicBezTo>
                <a:cubicBezTo>
                  <a:pt x="491" y="135"/>
                  <a:pt x="491" y="135"/>
                  <a:pt x="491" y="135"/>
                </a:cubicBezTo>
                <a:cubicBezTo>
                  <a:pt x="492" y="129"/>
                  <a:pt x="492" y="129"/>
                  <a:pt x="492" y="129"/>
                </a:cubicBezTo>
                <a:cubicBezTo>
                  <a:pt x="497" y="137"/>
                  <a:pt x="497" y="137"/>
                  <a:pt x="497" y="137"/>
                </a:cubicBezTo>
                <a:cubicBezTo>
                  <a:pt x="499" y="134"/>
                  <a:pt x="499" y="134"/>
                  <a:pt x="499" y="134"/>
                </a:cubicBezTo>
                <a:cubicBezTo>
                  <a:pt x="498" y="131"/>
                  <a:pt x="498" y="131"/>
                  <a:pt x="498" y="131"/>
                </a:cubicBezTo>
                <a:cubicBezTo>
                  <a:pt x="501" y="129"/>
                  <a:pt x="501" y="129"/>
                  <a:pt x="501" y="129"/>
                </a:cubicBezTo>
                <a:cubicBezTo>
                  <a:pt x="501" y="125"/>
                  <a:pt x="501" y="125"/>
                  <a:pt x="501" y="125"/>
                </a:cubicBezTo>
                <a:cubicBezTo>
                  <a:pt x="501" y="119"/>
                  <a:pt x="501" y="119"/>
                  <a:pt x="501" y="119"/>
                </a:cubicBezTo>
                <a:cubicBezTo>
                  <a:pt x="502" y="115"/>
                  <a:pt x="502" y="115"/>
                  <a:pt x="502" y="115"/>
                </a:cubicBezTo>
                <a:cubicBezTo>
                  <a:pt x="502" y="111"/>
                  <a:pt x="502" y="111"/>
                  <a:pt x="502" y="111"/>
                </a:cubicBezTo>
                <a:cubicBezTo>
                  <a:pt x="505" y="109"/>
                  <a:pt x="505" y="109"/>
                  <a:pt x="505" y="109"/>
                </a:cubicBezTo>
                <a:cubicBezTo>
                  <a:pt x="507" y="107"/>
                  <a:pt x="507" y="107"/>
                  <a:pt x="507" y="107"/>
                </a:cubicBezTo>
                <a:cubicBezTo>
                  <a:pt x="507" y="107"/>
                  <a:pt x="507" y="107"/>
                  <a:pt x="507" y="107"/>
                </a:cubicBezTo>
                <a:cubicBezTo>
                  <a:pt x="507" y="106"/>
                  <a:pt x="506" y="105"/>
                  <a:pt x="507" y="105"/>
                </a:cubicBezTo>
                <a:cubicBezTo>
                  <a:pt x="510" y="105"/>
                  <a:pt x="512" y="107"/>
                  <a:pt x="512" y="108"/>
                </a:cubicBezTo>
                <a:lnTo>
                  <a:pt x="512" y="109"/>
                </a:lnTo>
                <a:close/>
                <a:moveTo>
                  <a:pt x="236" y="208"/>
                </a:moveTo>
                <a:cubicBezTo>
                  <a:pt x="239" y="208"/>
                  <a:pt x="241" y="212"/>
                  <a:pt x="239" y="212"/>
                </a:cubicBezTo>
                <a:cubicBezTo>
                  <a:pt x="238" y="211"/>
                  <a:pt x="237" y="211"/>
                  <a:pt x="236" y="210"/>
                </a:cubicBezTo>
                <a:cubicBezTo>
                  <a:pt x="236" y="210"/>
                  <a:pt x="236" y="208"/>
                  <a:pt x="236" y="208"/>
                </a:cubicBezTo>
                <a:cubicBezTo>
                  <a:pt x="237" y="208"/>
                  <a:pt x="236" y="208"/>
                  <a:pt x="236" y="208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6" name="Google Shape;576;p102"/>
          <p:cNvSpPr/>
          <p:nvPr/>
        </p:nvSpPr>
        <p:spPr>
          <a:xfrm>
            <a:off x="4358884" y="5236824"/>
            <a:ext cx="221647" cy="1279052"/>
          </a:xfrm>
          <a:custGeom>
            <a:avLst/>
            <a:gdLst/>
            <a:ahLst/>
            <a:cxnLst/>
            <a:rect l="l" t="t" r="r" b="b"/>
            <a:pathLst>
              <a:path w="77" h="461" extrusionOk="0">
                <a:moveTo>
                  <a:pt x="71" y="51"/>
                </a:moveTo>
                <a:cubicBezTo>
                  <a:pt x="67" y="48"/>
                  <a:pt x="67" y="48"/>
                  <a:pt x="67" y="48"/>
                </a:cubicBezTo>
                <a:cubicBezTo>
                  <a:pt x="66" y="41"/>
                  <a:pt x="66" y="41"/>
                  <a:pt x="66" y="41"/>
                </a:cubicBezTo>
                <a:cubicBezTo>
                  <a:pt x="66" y="41"/>
                  <a:pt x="66" y="34"/>
                  <a:pt x="65" y="32"/>
                </a:cubicBezTo>
                <a:cubicBezTo>
                  <a:pt x="63" y="30"/>
                  <a:pt x="63" y="26"/>
                  <a:pt x="62" y="23"/>
                </a:cubicBezTo>
                <a:cubicBezTo>
                  <a:pt x="61" y="21"/>
                  <a:pt x="60" y="15"/>
                  <a:pt x="60" y="15"/>
                </a:cubicBezTo>
                <a:cubicBezTo>
                  <a:pt x="60" y="15"/>
                  <a:pt x="58" y="12"/>
                  <a:pt x="56" y="10"/>
                </a:cubicBezTo>
                <a:cubicBezTo>
                  <a:pt x="54" y="9"/>
                  <a:pt x="52" y="0"/>
                  <a:pt x="52" y="0"/>
                </a:cubicBezTo>
                <a:cubicBezTo>
                  <a:pt x="52" y="0"/>
                  <a:pt x="51" y="0"/>
                  <a:pt x="50" y="3"/>
                </a:cubicBezTo>
                <a:cubicBezTo>
                  <a:pt x="49" y="5"/>
                  <a:pt x="47" y="6"/>
                  <a:pt x="47" y="6"/>
                </a:cubicBezTo>
                <a:cubicBezTo>
                  <a:pt x="47" y="6"/>
                  <a:pt x="48" y="7"/>
                  <a:pt x="48" y="8"/>
                </a:cubicBezTo>
                <a:cubicBezTo>
                  <a:pt x="48" y="9"/>
                  <a:pt x="48" y="10"/>
                  <a:pt x="48" y="12"/>
                </a:cubicBezTo>
                <a:cubicBezTo>
                  <a:pt x="49" y="17"/>
                  <a:pt x="51" y="22"/>
                  <a:pt x="50" y="29"/>
                </a:cubicBezTo>
                <a:cubicBezTo>
                  <a:pt x="50" y="31"/>
                  <a:pt x="48" y="35"/>
                  <a:pt x="49" y="38"/>
                </a:cubicBezTo>
                <a:cubicBezTo>
                  <a:pt x="49" y="39"/>
                  <a:pt x="51" y="40"/>
                  <a:pt x="50" y="42"/>
                </a:cubicBezTo>
                <a:cubicBezTo>
                  <a:pt x="49" y="42"/>
                  <a:pt x="49" y="42"/>
                  <a:pt x="49" y="42"/>
                </a:cubicBezTo>
                <a:cubicBezTo>
                  <a:pt x="48" y="43"/>
                  <a:pt x="49" y="44"/>
                  <a:pt x="48" y="46"/>
                </a:cubicBezTo>
                <a:cubicBezTo>
                  <a:pt x="47" y="46"/>
                  <a:pt x="47" y="46"/>
                  <a:pt x="47" y="46"/>
                </a:cubicBezTo>
                <a:cubicBezTo>
                  <a:pt x="46" y="51"/>
                  <a:pt x="47" y="56"/>
                  <a:pt x="47" y="61"/>
                </a:cubicBezTo>
                <a:cubicBezTo>
                  <a:pt x="45" y="61"/>
                  <a:pt x="45" y="61"/>
                  <a:pt x="45" y="61"/>
                </a:cubicBezTo>
                <a:cubicBezTo>
                  <a:pt x="44" y="65"/>
                  <a:pt x="46" y="65"/>
                  <a:pt x="47" y="67"/>
                </a:cubicBezTo>
                <a:cubicBezTo>
                  <a:pt x="47" y="67"/>
                  <a:pt x="47" y="69"/>
                  <a:pt x="47" y="69"/>
                </a:cubicBezTo>
                <a:cubicBezTo>
                  <a:pt x="45" y="69"/>
                  <a:pt x="46" y="70"/>
                  <a:pt x="46" y="71"/>
                </a:cubicBezTo>
                <a:cubicBezTo>
                  <a:pt x="45" y="74"/>
                  <a:pt x="43" y="79"/>
                  <a:pt x="44" y="85"/>
                </a:cubicBezTo>
                <a:cubicBezTo>
                  <a:pt x="44" y="86"/>
                  <a:pt x="46" y="88"/>
                  <a:pt x="45" y="89"/>
                </a:cubicBezTo>
                <a:cubicBezTo>
                  <a:pt x="45" y="91"/>
                  <a:pt x="44" y="94"/>
                  <a:pt x="43" y="97"/>
                </a:cubicBezTo>
                <a:cubicBezTo>
                  <a:pt x="45" y="97"/>
                  <a:pt x="43" y="98"/>
                  <a:pt x="43" y="98"/>
                </a:cubicBezTo>
                <a:cubicBezTo>
                  <a:pt x="43" y="99"/>
                  <a:pt x="43" y="102"/>
                  <a:pt x="43" y="102"/>
                </a:cubicBezTo>
                <a:cubicBezTo>
                  <a:pt x="43" y="103"/>
                  <a:pt x="43" y="104"/>
                  <a:pt x="43" y="105"/>
                </a:cubicBezTo>
                <a:cubicBezTo>
                  <a:pt x="43" y="105"/>
                  <a:pt x="43" y="107"/>
                  <a:pt x="43" y="108"/>
                </a:cubicBezTo>
                <a:cubicBezTo>
                  <a:pt x="41" y="109"/>
                  <a:pt x="41" y="109"/>
                  <a:pt x="41" y="109"/>
                </a:cubicBezTo>
                <a:cubicBezTo>
                  <a:pt x="40" y="112"/>
                  <a:pt x="42" y="113"/>
                  <a:pt x="41" y="115"/>
                </a:cubicBezTo>
                <a:cubicBezTo>
                  <a:pt x="41" y="115"/>
                  <a:pt x="40" y="116"/>
                  <a:pt x="40" y="116"/>
                </a:cubicBezTo>
                <a:cubicBezTo>
                  <a:pt x="40" y="117"/>
                  <a:pt x="40" y="120"/>
                  <a:pt x="40" y="121"/>
                </a:cubicBezTo>
                <a:cubicBezTo>
                  <a:pt x="40" y="122"/>
                  <a:pt x="38" y="126"/>
                  <a:pt x="37" y="127"/>
                </a:cubicBezTo>
                <a:cubicBezTo>
                  <a:pt x="37" y="132"/>
                  <a:pt x="40" y="133"/>
                  <a:pt x="40" y="136"/>
                </a:cubicBezTo>
                <a:cubicBezTo>
                  <a:pt x="40" y="138"/>
                  <a:pt x="40" y="142"/>
                  <a:pt x="39" y="145"/>
                </a:cubicBezTo>
                <a:cubicBezTo>
                  <a:pt x="39" y="145"/>
                  <a:pt x="38" y="145"/>
                  <a:pt x="38" y="145"/>
                </a:cubicBezTo>
                <a:cubicBezTo>
                  <a:pt x="37" y="147"/>
                  <a:pt x="37" y="149"/>
                  <a:pt x="37" y="151"/>
                </a:cubicBezTo>
                <a:cubicBezTo>
                  <a:pt x="37" y="153"/>
                  <a:pt x="39" y="156"/>
                  <a:pt x="39" y="158"/>
                </a:cubicBezTo>
                <a:cubicBezTo>
                  <a:pt x="39" y="159"/>
                  <a:pt x="39" y="171"/>
                  <a:pt x="39" y="172"/>
                </a:cubicBezTo>
                <a:cubicBezTo>
                  <a:pt x="35" y="175"/>
                  <a:pt x="35" y="175"/>
                  <a:pt x="35" y="175"/>
                </a:cubicBezTo>
                <a:cubicBezTo>
                  <a:pt x="35" y="175"/>
                  <a:pt x="35" y="180"/>
                  <a:pt x="35" y="179"/>
                </a:cubicBezTo>
                <a:cubicBezTo>
                  <a:pt x="35" y="180"/>
                  <a:pt x="36" y="179"/>
                  <a:pt x="36" y="181"/>
                </a:cubicBezTo>
                <a:cubicBezTo>
                  <a:pt x="36" y="182"/>
                  <a:pt x="33" y="184"/>
                  <a:pt x="33" y="185"/>
                </a:cubicBezTo>
                <a:cubicBezTo>
                  <a:pt x="32" y="187"/>
                  <a:pt x="33" y="189"/>
                  <a:pt x="33" y="191"/>
                </a:cubicBezTo>
                <a:cubicBezTo>
                  <a:pt x="32" y="194"/>
                  <a:pt x="28" y="197"/>
                  <a:pt x="28" y="200"/>
                </a:cubicBezTo>
                <a:cubicBezTo>
                  <a:pt x="28" y="202"/>
                  <a:pt x="29" y="202"/>
                  <a:pt x="29" y="203"/>
                </a:cubicBezTo>
                <a:cubicBezTo>
                  <a:pt x="30" y="205"/>
                  <a:pt x="29" y="209"/>
                  <a:pt x="29" y="211"/>
                </a:cubicBezTo>
                <a:cubicBezTo>
                  <a:pt x="29" y="212"/>
                  <a:pt x="26" y="213"/>
                  <a:pt x="26" y="214"/>
                </a:cubicBezTo>
                <a:cubicBezTo>
                  <a:pt x="26" y="215"/>
                  <a:pt x="26" y="216"/>
                  <a:pt x="26" y="217"/>
                </a:cubicBezTo>
                <a:cubicBezTo>
                  <a:pt x="25" y="221"/>
                  <a:pt x="21" y="217"/>
                  <a:pt x="24" y="226"/>
                </a:cubicBezTo>
                <a:cubicBezTo>
                  <a:pt x="23" y="226"/>
                  <a:pt x="22" y="225"/>
                  <a:pt x="21" y="226"/>
                </a:cubicBezTo>
                <a:cubicBezTo>
                  <a:pt x="20" y="226"/>
                  <a:pt x="20" y="227"/>
                  <a:pt x="19" y="227"/>
                </a:cubicBezTo>
                <a:cubicBezTo>
                  <a:pt x="20" y="228"/>
                  <a:pt x="21" y="229"/>
                  <a:pt x="21" y="230"/>
                </a:cubicBezTo>
                <a:cubicBezTo>
                  <a:pt x="21" y="230"/>
                  <a:pt x="20" y="232"/>
                  <a:pt x="20" y="233"/>
                </a:cubicBezTo>
                <a:cubicBezTo>
                  <a:pt x="20" y="233"/>
                  <a:pt x="22" y="234"/>
                  <a:pt x="22" y="234"/>
                </a:cubicBezTo>
                <a:cubicBezTo>
                  <a:pt x="22" y="236"/>
                  <a:pt x="21" y="238"/>
                  <a:pt x="21" y="238"/>
                </a:cubicBezTo>
                <a:cubicBezTo>
                  <a:pt x="21" y="238"/>
                  <a:pt x="21" y="240"/>
                  <a:pt x="21" y="240"/>
                </a:cubicBezTo>
                <a:cubicBezTo>
                  <a:pt x="21" y="240"/>
                  <a:pt x="22" y="242"/>
                  <a:pt x="22" y="242"/>
                </a:cubicBezTo>
                <a:cubicBezTo>
                  <a:pt x="22" y="242"/>
                  <a:pt x="21" y="243"/>
                  <a:pt x="21" y="243"/>
                </a:cubicBezTo>
                <a:cubicBezTo>
                  <a:pt x="23" y="243"/>
                  <a:pt x="24" y="254"/>
                  <a:pt x="23" y="256"/>
                </a:cubicBezTo>
                <a:cubicBezTo>
                  <a:pt x="23" y="256"/>
                  <a:pt x="21" y="256"/>
                  <a:pt x="21" y="256"/>
                </a:cubicBezTo>
                <a:cubicBezTo>
                  <a:pt x="21" y="259"/>
                  <a:pt x="19" y="262"/>
                  <a:pt x="19" y="264"/>
                </a:cubicBezTo>
                <a:cubicBezTo>
                  <a:pt x="19" y="265"/>
                  <a:pt x="17" y="271"/>
                  <a:pt x="17" y="271"/>
                </a:cubicBezTo>
                <a:cubicBezTo>
                  <a:pt x="18" y="271"/>
                  <a:pt x="19" y="278"/>
                  <a:pt x="19" y="279"/>
                </a:cubicBezTo>
                <a:cubicBezTo>
                  <a:pt x="20" y="278"/>
                  <a:pt x="21" y="279"/>
                  <a:pt x="22" y="279"/>
                </a:cubicBezTo>
                <a:cubicBezTo>
                  <a:pt x="22" y="279"/>
                  <a:pt x="22" y="277"/>
                  <a:pt x="23" y="276"/>
                </a:cubicBezTo>
                <a:cubicBezTo>
                  <a:pt x="23" y="275"/>
                  <a:pt x="25" y="275"/>
                  <a:pt x="25" y="275"/>
                </a:cubicBezTo>
                <a:cubicBezTo>
                  <a:pt x="26" y="276"/>
                  <a:pt x="26" y="277"/>
                  <a:pt x="27" y="278"/>
                </a:cubicBezTo>
                <a:cubicBezTo>
                  <a:pt x="28" y="278"/>
                  <a:pt x="28" y="278"/>
                  <a:pt x="28" y="278"/>
                </a:cubicBezTo>
                <a:cubicBezTo>
                  <a:pt x="28" y="278"/>
                  <a:pt x="28" y="279"/>
                  <a:pt x="28" y="279"/>
                </a:cubicBezTo>
                <a:cubicBezTo>
                  <a:pt x="28" y="280"/>
                  <a:pt x="26" y="281"/>
                  <a:pt x="25" y="281"/>
                </a:cubicBezTo>
                <a:cubicBezTo>
                  <a:pt x="26" y="285"/>
                  <a:pt x="26" y="290"/>
                  <a:pt x="26" y="294"/>
                </a:cubicBezTo>
                <a:cubicBezTo>
                  <a:pt x="24" y="295"/>
                  <a:pt x="25" y="293"/>
                  <a:pt x="25" y="293"/>
                </a:cubicBezTo>
                <a:cubicBezTo>
                  <a:pt x="25" y="293"/>
                  <a:pt x="25" y="294"/>
                  <a:pt x="24" y="295"/>
                </a:cubicBezTo>
                <a:cubicBezTo>
                  <a:pt x="24" y="296"/>
                  <a:pt x="22" y="297"/>
                  <a:pt x="23" y="298"/>
                </a:cubicBezTo>
                <a:cubicBezTo>
                  <a:pt x="24" y="298"/>
                  <a:pt x="24" y="298"/>
                  <a:pt x="24" y="298"/>
                </a:cubicBezTo>
                <a:cubicBezTo>
                  <a:pt x="24" y="299"/>
                  <a:pt x="24" y="300"/>
                  <a:pt x="24" y="301"/>
                </a:cubicBezTo>
                <a:cubicBezTo>
                  <a:pt x="24" y="302"/>
                  <a:pt x="26" y="303"/>
                  <a:pt x="26" y="304"/>
                </a:cubicBezTo>
                <a:cubicBezTo>
                  <a:pt x="25" y="305"/>
                  <a:pt x="23" y="306"/>
                  <a:pt x="21" y="307"/>
                </a:cubicBezTo>
                <a:cubicBezTo>
                  <a:pt x="21" y="307"/>
                  <a:pt x="22" y="309"/>
                  <a:pt x="21" y="309"/>
                </a:cubicBezTo>
                <a:cubicBezTo>
                  <a:pt x="23" y="310"/>
                  <a:pt x="23" y="309"/>
                  <a:pt x="23" y="311"/>
                </a:cubicBezTo>
                <a:cubicBezTo>
                  <a:pt x="22" y="311"/>
                  <a:pt x="22" y="311"/>
                  <a:pt x="19" y="311"/>
                </a:cubicBezTo>
                <a:cubicBezTo>
                  <a:pt x="19" y="311"/>
                  <a:pt x="21" y="313"/>
                  <a:pt x="21" y="313"/>
                </a:cubicBezTo>
                <a:cubicBezTo>
                  <a:pt x="19" y="314"/>
                  <a:pt x="19" y="314"/>
                  <a:pt x="19" y="314"/>
                </a:cubicBezTo>
                <a:cubicBezTo>
                  <a:pt x="20" y="319"/>
                  <a:pt x="20" y="321"/>
                  <a:pt x="19" y="325"/>
                </a:cubicBezTo>
                <a:cubicBezTo>
                  <a:pt x="20" y="325"/>
                  <a:pt x="21" y="324"/>
                  <a:pt x="21" y="326"/>
                </a:cubicBezTo>
                <a:cubicBezTo>
                  <a:pt x="19" y="327"/>
                  <a:pt x="19" y="327"/>
                  <a:pt x="19" y="327"/>
                </a:cubicBezTo>
                <a:cubicBezTo>
                  <a:pt x="19" y="330"/>
                  <a:pt x="19" y="333"/>
                  <a:pt x="19" y="336"/>
                </a:cubicBezTo>
                <a:cubicBezTo>
                  <a:pt x="18" y="336"/>
                  <a:pt x="18" y="338"/>
                  <a:pt x="17" y="337"/>
                </a:cubicBezTo>
                <a:cubicBezTo>
                  <a:pt x="17" y="337"/>
                  <a:pt x="17" y="337"/>
                  <a:pt x="17" y="337"/>
                </a:cubicBezTo>
                <a:cubicBezTo>
                  <a:pt x="16" y="336"/>
                  <a:pt x="18" y="334"/>
                  <a:pt x="14" y="335"/>
                </a:cubicBezTo>
                <a:cubicBezTo>
                  <a:pt x="14" y="335"/>
                  <a:pt x="14" y="337"/>
                  <a:pt x="14" y="337"/>
                </a:cubicBezTo>
                <a:cubicBezTo>
                  <a:pt x="13" y="337"/>
                  <a:pt x="10" y="337"/>
                  <a:pt x="12" y="336"/>
                </a:cubicBezTo>
                <a:cubicBezTo>
                  <a:pt x="13" y="336"/>
                  <a:pt x="12" y="334"/>
                  <a:pt x="13" y="333"/>
                </a:cubicBezTo>
                <a:cubicBezTo>
                  <a:pt x="12" y="334"/>
                  <a:pt x="11" y="335"/>
                  <a:pt x="9" y="336"/>
                </a:cubicBezTo>
                <a:cubicBezTo>
                  <a:pt x="9" y="336"/>
                  <a:pt x="10" y="333"/>
                  <a:pt x="10" y="333"/>
                </a:cubicBezTo>
                <a:cubicBezTo>
                  <a:pt x="9" y="332"/>
                  <a:pt x="8" y="333"/>
                  <a:pt x="7" y="332"/>
                </a:cubicBezTo>
                <a:cubicBezTo>
                  <a:pt x="6" y="333"/>
                  <a:pt x="6" y="333"/>
                  <a:pt x="6" y="333"/>
                </a:cubicBezTo>
                <a:cubicBezTo>
                  <a:pt x="3" y="335"/>
                  <a:pt x="4" y="334"/>
                  <a:pt x="6" y="337"/>
                </a:cubicBezTo>
                <a:cubicBezTo>
                  <a:pt x="5" y="338"/>
                  <a:pt x="3" y="339"/>
                  <a:pt x="2" y="341"/>
                </a:cubicBezTo>
                <a:cubicBezTo>
                  <a:pt x="3" y="341"/>
                  <a:pt x="2" y="343"/>
                  <a:pt x="2" y="344"/>
                </a:cubicBezTo>
                <a:cubicBezTo>
                  <a:pt x="4" y="344"/>
                  <a:pt x="4" y="344"/>
                  <a:pt x="4" y="344"/>
                </a:cubicBezTo>
                <a:cubicBezTo>
                  <a:pt x="4" y="344"/>
                  <a:pt x="2" y="340"/>
                  <a:pt x="6" y="341"/>
                </a:cubicBezTo>
                <a:cubicBezTo>
                  <a:pt x="6" y="342"/>
                  <a:pt x="6" y="342"/>
                  <a:pt x="6" y="342"/>
                </a:cubicBezTo>
                <a:cubicBezTo>
                  <a:pt x="6" y="342"/>
                  <a:pt x="6" y="342"/>
                  <a:pt x="6" y="342"/>
                </a:cubicBezTo>
                <a:cubicBezTo>
                  <a:pt x="6" y="342"/>
                  <a:pt x="6" y="344"/>
                  <a:pt x="6" y="344"/>
                </a:cubicBezTo>
                <a:cubicBezTo>
                  <a:pt x="6" y="344"/>
                  <a:pt x="9" y="344"/>
                  <a:pt x="10" y="345"/>
                </a:cubicBezTo>
                <a:cubicBezTo>
                  <a:pt x="10" y="345"/>
                  <a:pt x="10" y="343"/>
                  <a:pt x="10" y="343"/>
                </a:cubicBezTo>
                <a:cubicBezTo>
                  <a:pt x="11" y="342"/>
                  <a:pt x="13" y="343"/>
                  <a:pt x="13" y="343"/>
                </a:cubicBezTo>
                <a:cubicBezTo>
                  <a:pt x="15" y="347"/>
                  <a:pt x="16" y="348"/>
                  <a:pt x="14" y="353"/>
                </a:cubicBezTo>
                <a:cubicBezTo>
                  <a:pt x="15" y="353"/>
                  <a:pt x="15" y="353"/>
                  <a:pt x="16" y="353"/>
                </a:cubicBezTo>
                <a:cubicBezTo>
                  <a:pt x="16" y="354"/>
                  <a:pt x="15" y="354"/>
                  <a:pt x="15" y="355"/>
                </a:cubicBezTo>
                <a:cubicBezTo>
                  <a:pt x="13" y="355"/>
                  <a:pt x="14" y="355"/>
                  <a:pt x="12" y="355"/>
                </a:cubicBezTo>
                <a:cubicBezTo>
                  <a:pt x="13" y="357"/>
                  <a:pt x="12" y="361"/>
                  <a:pt x="13" y="365"/>
                </a:cubicBezTo>
                <a:cubicBezTo>
                  <a:pt x="13" y="365"/>
                  <a:pt x="14" y="366"/>
                  <a:pt x="14" y="367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12" y="369"/>
                  <a:pt x="12" y="372"/>
                  <a:pt x="12" y="375"/>
                </a:cubicBezTo>
                <a:cubicBezTo>
                  <a:pt x="13" y="375"/>
                  <a:pt x="14" y="376"/>
                  <a:pt x="14" y="375"/>
                </a:cubicBezTo>
                <a:cubicBezTo>
                  <a:pt x="14" y="375"/>
                  <a:pt x="14" y="373"/>
                  <a:pt x="14" y="373"/>
                </a:cubicBezTo>
                <a:cubicBezTo>
                  <a:pt x="14" y="373"/>
                  <a:pt x="16" y="373"/>
                  <a:pt x="16" y="373"/>
                </a:cubicBezTo>
                <a:cubicBezTo>
                  <a:pt x="16" y="373"/>
                  <a:pt x="16" y="375"/>
                  <a:pt x="15" y="376"/>
                </a:cubicBezTo>
                <a:cubicBezTo>
                  <a:pt x="15" y="377"/>
                  <a:pt x="15" y="377"/>
                  <a:pt x="15" y="377"/>
                </a:cubicBezTo>
                <a:cubicBezTo>
                  <a:pt x="15" y="378"/>
                  <a:pt x="13" y="377"/>
                  <a:pt x="12" y="379"/>
                </a:cubicBezTo>
                <a:cubicBezTo>
                  <a:pt x="12" y="379"/>
                  <a:pt x="12" y="381"/>
                  <a:pt x="12" y="382"/>
                </a:cubicBezTo>
                <a:cubicBezTo>
                  <a:pt x="12" y="382"/>
                  <a:pt x="10" y="383"/>
                  <a:pt x="10" y="384"/>
                </a:cubicBezTo>
                <a:cubicBezTo>
                  <a:pt x="10" y="385"/>
                  <a:pt x="10" y="386"/>
                  <a:pt x="10" y="387"/>
                </a:cubicBezTo>
                <a:cubicBezTo>
                  <a:pt x="12" y="388"/>
                  <a:pt x="14" y="387"/>
                  <a:pt x="15" y="389"/>
                </a:cubicBezTo>
                <a:cubicBezTo>
                  <a:pt x="17" y="389"/>
                  <a:pt x="14" y="389"/>
                  <a:pt x="14" y="389"/>
                </a:cubicBezTo>
                <a:cubicBezTo>
                  <a:pt x="14" y="390"/>
                  <a:pt x="14" y="391"/>
                  <a:pt x="14" y="391"/>
                </a:cubicBezTo>
                <a:cubicBezTo>
                  <a:pt x="15" y="392"/>
                  <a:pt x="16" y="393"/>
                  <a:pt x="16" y="393"/>
                </a:cubicBezTo>
                <a:cubicBezTo>
                  <a:pt x="17" y="393"/>
                  <a:pt x="17" y="393"/>
                  <a:pt x="18" y="393"/>
                </a:cubicBezTo>
                <a:cubicBezTo>
                  <a:pt x="17" y="394"/>
                  <a:pt x="15" y="395"/>
                  <a:pt x="14" y="396"/>
                </a:cubicBezTo>
                <a:cubicBezTo>
                  <a:pt x="14" y="395"/>
                  <a:pt x="13" y="398"/>
                  <a:pt x="13" y="398"/>
                </a:cubicBezTo>
                <a:cubicBezTo>
                  <a:pt x="14" y="399"/>
                  <a:pt x="16" y="400"/>
                  <a:pt x="17" y="400"/>
                </a:cubicBezTo>
                <a:cubicBezTo>
                  <a:pt x="17" y="402"/>
                  <a:pt x="17" y="403"/>
                  <a:pt x="17" y="404"/>
                </a:cubicBezTo>
                <a:cubicBezTo>
                  <a:pt x="17" y="404"/>
                  <a:pt x="15" y="403"/>
                  <a:pt x="15" y="404"/>
                </a:cubicBezTo>
                <a:cubicBezTo>
                  <a:pt x="15" y="404"/>
                  <a:pt x="15" y="406"/>
                  <a:pt x="15" y="406"/>
                </a:cubicBezTo>
                <a:cubicBezTo>
                  <a:pt x="13" y="406"/>
                  <a:pt x="13" y="405"/>
                  <a:pt x="11" y="406"/>
                </a:cubicBezTo>
                <a:cubicBezTo>
                  <a:pt x="10" y="406"/>
                  <a:pt x="13" y="407"/>
                  <a:pt x="10" y="407"/>
                </a:cubicBezTo>
                <a:cubicBezTo>
                  <a:pt x="10" y="407"/>
                  <a:pt x="7" y="405"/>
                  <a:pt x="7" y="405"/>
                </a:cubicBezTo>
                <a:cubicBezTo>
                  <a:pt x="4" y="405"/>
                  <a:pt x="3" y="409"/>
                  <a:pt x="4" y="408"/>
                </a:cubicBezTo>
                <a:cubicBezTo>
                  <a:pt x="4" y="410"/>
                  <a:pt x="4" y="410"/>
                  <a:pt x="4" y="412"/>
                </a:cubicBezTo>
                <a:cubicBezTo>
                  <a:pt x="5" y="413"/>
                  <a:pt x="7" y="415"/>
                  <a:pt x="8" y="416"/>
                </a:cubicBezTo>
                <a:cubicBezTo>
                  <a:pt x="8" y="416"/>
                  <a:pt x="8" y="418"/>
                  <a:pt x="7" y="419"/>
                </a:cubicBezTo>
                <a:cubicBezTo>
                  <a:pt x="9" y="420"/>
                  <a:pt x="11" y="423"/>
                  <a:pt x="12" y="424"/>
                </a:cubicBezTo>
                <a:cubicBezTo>
                  <a:pt x="14" y="425"/>
                  <a:pt x="14" y="424"/>
                  <a:pt x="16" y="424"/>
                </a:cubicBezTo>
                <a:cubicBezTo>
                  <a:pt x="17" y="424"/>
                  <a:pt x="17" y="424"/>
                  <a:pt x="17" y="424"/>
                </a:cubicBezTo>
                <a:cubicBezTo>
                  <a:pt x="18" y="423"/>
                  <a:pt x="18" y="423"/>
                  <a:pt x="18" y="423"/>
                </a:cubicBezTo>
                <a:cubicBezTo>
                  <a:pt x="17" y="422"/>
                  <a:pt x="13" y="419"/>
                  <a:pt x="13" y="419"/>
                </a:cubicBezTo>
                <a:cubicBezTo>
                  <a:pt x="12" y="419"/>
                  <a:pt x="11" y="419"/>
                  <a:pt x="11" y="419"/>
                </a:cubicBezTo>
                <a:cubicBezTo>
                  <a:pt x="10" y="419"/>
                  <a:pt x="10" y="417"/>
                  <a:pt x="9" y="417"/>
                </a:cubicBezTo>
                <a:cubicBezTo>
                  <a:pt x="12" y="418"/>
                  <a:pt x="13" y="418"/>
                  <a:pt x="15" y="418"/>
                </a:cubicBezTo>
                <a:cubicBezTo>
                  <a:pt x="15" y="413"/>
                  <a:pt x="16" y="412"/>
                  <a:pt x="12" y="408"/>
                </a:cubicBezTo>
                <a:cubicBezTo>
                  <a:pt x="14" y="408"/>
                  <a:pt x="13" y="409"/>
                  <a:pt x="14" y="408"/>
                </a:cubicBezTo>
                <a:cubicBezTo>
                  <a:pt x="14" y="408"/>
                  <a:pt x="17" y="407"/>
                  <a:pt x="18" y="406"/>
                </a:cubicBezTo>
                <a:cubicBezTo>
                  <a:pt x="18" y="407"/>
                  <a:pt x="18" y="409"/>
                  <a:pt x="18" y="409"/>
                </a:cubicBezTo>
                <a:cubicBezTo>
                  <a:pt x="18" y="409"/>
                  <a:pt x="19" y="410"/>
                  <a:pt x="19" y="410"/>
                </a:cubicBezTo>
                <a:cubicBezTo>
                  <a:pt x="22" y="408"/>
                  <a:pt x="22" y="407"/>
                  <a:pt x="23" y="404"/>
                </a:cubicBezTo>
                <a:cubicBezTo>
                  <a:pt x="24" y="404"/>
                  <a:pt x="25" y="406"/>
                  <a:pt x="25" y="406"/>
                </a:cubicBezTo>
                <a:cubicBezTo>
                  <a:pt x="27" y="406"/>
                  <a:pt x="27" y="405"/>
                  <a:pt x="28" y="405"/>
                </a:cubicBezTo>
                <a:cubicBezTo>
                  <a:pt x="28" y="406"/>
                  <a:pt x="28" y="406"/>
                  <a:pt x="28" y="406"/>
                </a:cubicBezTo>
                <a:cubicBezTo>
                  <a:pt x="27" y="407"/>
                  <a:pt x="25" y="408"/>
                  <a:pt x="25" y="408"/>
                </a:cubicBezTo>
                <a:cubicBezTo>
                  <a:pt x="23" y="408"/>
                  <a:pt x="23" y="408"/>
                  <a:pt x="23" y="408"/>
                </a:cubicBezTo>
                <a:cubicBezTo>
                  <a:pt x="23" y="409"/>
                  <a:pt x="23" y="411"/>
                  <a:pt x="23" y="412"/>
                </a:cubicBezTo>
                <a:cubicBezTo>
                  <a:pt x="21" y="412"/>
                  <a:pt x="21" y="412"/>
                  <a:pt x="21" y="412"/>
                </a:cubicBezTo>
                <a:cubicBezTo>
                  <a:pt x="21" y="412"/>
                  <a:pt x="21" y="410"/>
                  <a:pt x="21" y="410"/>
                </a:cubicBezTo>
                <a:cubicBezTo>
                  <a:pt x="20" y="410"/>
                  <a:pt x="18" y="411"/>
                  <a:pt x="17" y="411"/>
                </a:cubicBezTo>
                <a:cubicBezTo>
                  <a:pt x="18" y="415"/>
                  <a:pt x="19" y="418"/>
                  <a:pt x="19" y="422"/>
                </a:cubicBezTo>
                <a:cubicBezTo>
                  <a:pt x="22" y="422"/>
                  <a:pt x="19" y="421"/>
                  <a:pt x="23" y="422"/>
                </a:cubicBezTo>
                <a:cubicBezTo>
                  <a:pt x="22" y="424"/>
                  <a:pt x="22" y="424"/>
                  <a:pt x="22" y="424"/>
                </a:cubicBezTo>
                <a:cubicBezTo>
                  <a:pt x="21" y="425"/>
                  <a:pt x="21" y="424"/>
                  <a:pt x="21" y="423"/>
                </a:cubicBezTo>
                <a:cubicBezTo>
                  <a:pt x="19" y="423"/>
                  <a:pt x="19" y="423"/>
                  <a:pt x="19" y="423"/>
                </a:cubicBezTo>
                <a:cubicBezTo>
                  <a:pt x="19" y="425"/>
                  <a:pt x="18" y="427"/>
                  <a:pt x="17" y="428"/>
                </a:cubicBezTo>
                <a:cubicBezTo>
                  <a:pt x="18" y="429"/>
                  <a:pt x="17" y="430"/>
                  <a:pt x="17" y="430"/>
                </a:cubicBezTo>
                <a:cubicBezTo>
                  <a:pt x="18" y="431"/>
                  <a:pt x="19" y="430"/>
                  <a:pt x="19" y="430"/>
                </a:cubicBezTo>
                <a:cubicBezTo>
                  <a:pt x="20" y="432"/>
                  <a:pt x="19" y="431"/>
                  <a:pt x="20" y="432"/>
                </a:cubicBezTo>
                <a:cubicBezTo>
                  <a:pt x="20" y="432"/>
                  <a:pt x="20" y="432"/>
                  <a:pt x="20" y="432"/>
                </a:cubicBezTo>
                <a:cubicBezTo>
                  <a:pt x="21" y="433"/>
                  <a:pt x="22" y="431"/>
                  <a:pt x="23" y="432"/>
                </a:cubicBezTo>
                <a:cubicBezTo>
                  <a:pt x="24" y="433"/>
                  <a:pt x="21" y="434"/>
                  <a:pt x="23" y="436"/>
                </a:cubicBezTo>
                <a:cubicBezTo>
                  <a:pt x="24" y="436"/>
                  <a:pt x="25" y="435"/>
                  <a:pt x="26" y="435"/>
                </a:cubicBezTo>
                <a:cubicBezTo>
                  <a:pt x="26" y="435"/>
                  <a:pt x="27" y="436"/>
                  <a:pt x="27" y="436"/>
                </a:cubicBezTo>
                <a:cubicBezTo>
                  <a:pt x="27" y="436"/>
                  <a:pt x="28" y="436"/>
                  <a:pt x="29" y="436"/>
                </a:cubicBezTo>
                <a:cubicBezTo>
                  <a:pt x="29" y="436"/>
                  <a:pt x="29" y="436"/>
                  <a:pt x="29" y="436"/>
                </a:cubicBezTo>
                <a:cubicBezTo>
                  <a:pt x="27" y="431"/>
                  <a:pt x="28" y="434"/>
                  <a:pt x="29" y="430"/>
                </a:cubicBezTo>
                <a:cubicBezTo>
                  <a:pt x="28" y="429"/>
                  <a:pt x="27" y="429"/>
                  <a:pt x="25" y="428"/>
                </a:cubicBezTo>
                <a:cubicBezTo>
                  <a:pt x="20" y="424"/>
                  <a:pt x="25" y="425"/>
                  <a:pt x="28" y="428"/>
                </a:cubicBezTo>
                <a:cubicBezTo>
                  <a:pt x="28" y="427"/>
                  <a:pt x="28" y="426"/>
                  <a:pt x="27" y="425"/>
                </a:cubicBezTo>
                <a:cubicBezTo>
                  <a:pt x="29" y="425"/>
                  <a:pt x="29" y="425"/>
                  <a:pt x="30" y="424"/>
                </a:cubicBezTo>
                <a:cubicBezTo>
                  <a:pt x="31" y="428"/>
                  <a:pt x="29" y="428"/>
                  <a:pt x="33" y="430"/>
                </a:cubicBezTo>
                <a:cubicBezTo>
                  <a:pt x="35" y="431"/>
                  <a:pt x="36" y="431"/>
                  <a:pt x="37" y="432"/>
                </a:cubicBezTo>
                <a:cubicBezTo>
                  <a:pt x="38" y="431"/>
                  <a:pt x="39" y="431"/>
                  <a:pt x="39" y="430"/>
                </a:cubicBezTo>
                <a:cubicBezTo>
                  <a:pt x="39" y="428"/>
                  <a:pt x="38" y="425"/>
                  <a:pt x="39" y="423"/>
                </a:cubicBezTo>
                <a:cubicBezTo>
                  <a:pt x="39" y="423"/>
                  <a:pt x="40" y="419"/>
                  <a:pt x="41" y="418"/>
                </a:cubicBezTo>
                <a:cubicBezTo>
                  <a:pt x="41" y="418"/>
                  <a:pt x="40" y="417"/>
                  <a:pt x="40" y="416"/>
                </a:cubicBezTo>
                <a:cubicBezTo>
                  <a:pt x="43" y="416"/>
                  <a:pt x="48" y="416"/>
                  <a:pt x="51" y="416"/>
                </a:cubicBezTo>
                <a:cubicBezTo>
                  <a:pt x="54" y="409"/>
                  <a:pt x="54" y="411"/>
                  <a:pt x="61" y="411"/>
                </a:cubicBezTo>
                <a:cubicBezTo>
                  <a:pt x="61" y="410"/>
                  <a:pt x="61" y="410"/>
                  <a:pt x="61" y="410"/>
                </a:cubicBezTo>
                <a:cubicBezTo>
                  <a:pt x="61" y="410"/>
                  <a:pt x="49" y="409"/>
                  <a:pt x="46" y="409"/>
                </a:cubicBezTo>
                <a:cubicBezTo>
                  <a:pt x="43" y="409"/>
                  <a:pt x="34" y="409"/>
                  <a:pt x="34" y="409"/>
                </a:cubicBezTo>
                <a:cubicBezTo>
                  <a:pt x="34" y="409"/>
                  <a:pt x="28" y="404"/>
                  <a:pt x="27" y="401"/>
                </a:cubicBezTo>
                <a:cubicBezTo>
                  <a:pt x="26" y="398"/>
                  <a:pt x="24" y="396"/>
                  <a:pt x="26" y="394"/>
                </a:cubicBezTo>
                <a:cubicBezTo>
                  <a:pt x="28" y="392"/>
                  <a:pt x="28" y="390"/>
                  <a:pt x="26" y="388"/>
                </a:cubicBezTo>
                <a:cubicBezTo>
                  <a:pt x="24" y="386"/>
                  <a:pt x="24" y="389"/>
                  <a:pt x="22" y="389"/>
                </a:cubicBezTo>
                <a:cubicBezTo>
                  <a:pt x="20" y="389"/>
                  <a:pt x="20" y="386"/>
                  <a:pt x="20" y="383"/>
                </a:cubicBezTo>
                <a:cubicBezTo>
                  <a:pt x="20" y="380"/>
                  <a:pt x="21" y="380"/>
                  <a:pt x="22" y="377"/>
                </a:cubicBezTo>
                <a:cubicBezTo>
                  <a:pt x="23" y="374"/>
                  <a:pt x="22" y="373"/>
                  <a:pt x="21" y="369"/>
                </a:cubicBezTo>
                <a:cubicBezTo>
                  <a:pt x="19" y="365"/>
                  <a:pt x="25" y="365"/>
                  <a:pt x="27" y="363"/>
                </a:cubicBezTo>
                <a:cubicBezTo>
                  <a:pt x="29" y="362"/>
                  <a:pt x="29" y="360"/>
                  <a:pt x="28" y="357"/>
                </a:cubicBezTo>
                <a:cubicBezTo>
                  <a:pt x="28" y="354"/>
                  <a:pt x="27" y="353"/>
                  <a:pt x="29" y="351"/>
                </a:cubicBezTo>
                <a:cubicBezTo>
                  <a:pt x="31" y="349"/>
                  <a:pt x="32" y="347"/>
                  <a:pt x="32" y="347"/>
                </a:cubicBezTo>
                <a:cubicBezTo>
                  <a:pt x="32" y="347"/>
                  <a:pt x="32" y="346"/>
                  <a:pt x="32" y="344"/>
                </a:cubicBezTo>
                <a:cubicBezTo>
                  <a:pt x="32" y="342"/>
                  <a:pt x="32" y="339"/>
                  <a:pt x="33" y="336"/>
                </a:cubicBezTo>
                <a:cubicBezTo>
                  <a:pt x="34" y="332"/>
                  <a:pt x="34" y="332"/>
                  <a:pt x="33" y="329"/>
                </a:cubicBezTo>
                <a:cubicBezTo>
                  <a:pt x="32" y="327"/>
                  <a:pt x="31" y="325"/>
                  <a:pt x="32" y="324"/>
                </a:cubicBezTo>
                <a:cubicBezTo>
                  <a:pt x="33" y="323"/>
                  <a:pt x="33" y="321"/>
                  <a:pt x="35" y="320"/>
                </a:cubicBezTo>
                <a:cubicBezTo>
                  <a:pt x="37" y="320"/>
                  <a:pt x="34" y="318"/>
                  <a:pt x="34" y="317"/>
                </a:cubicBezTo>
                <a:cubicBezTo>
                  <a:pt x="34" y="315"/>
                  <a:pt x="34" y="313"/>
                  <a:pt x="36" y="311"/>
                </a:cubicBezTo>
                <a:cubicBezTo>
                  <a:pt x="37" y="310"/>
                  <a:pt x="35" y="308"/>
                  <a:pt x="35" y="305"/>
                </a:cubicBezTo>
                <a:cubicBezTo>
                  <a:pt x="35" y="302"/>
                  <a:pt x="34" y="301"/>
                  <a:pt x="34" y="299"/>
                </a:cubicBezTo>
                <a:cubicBezTo>
                  <a:pt x="35" y="297"/>
                  <a:pt x="32" y="295"/>
                  <a:pt x="31" y="293"/>
                </a:cubicBezTo>
                <a:cubicBezTo>
                  <a:pt x="30" y="290"/>
                  <a:pt x="34" y="287"/>
                  <a:pt x="34" y="283"/>
                </a:cubicBezTo>
                <a:cubicBezTo>
                  <a:pt x="35" y="280"/>
                  <a:pt x="34" y="279"/>
                  <a:pt x="34" y="276"/>
                </a:cubicBezTo>
                <a:cubicBezTo>
                  <a:pt x="34" y="273"/>
                  <a:pt x="34" y="274"/>
                  <a:pt x="32" y="273"/>
                </a:cubicBezTo>
                <a:cubicBezTo>
                  <a:pt x="30" y="271"/>
                  <a:pt x="32" y="268"/>
                  <a:pt x="32" y="265"/>
                </a:cubicBezTo>
                <a:cubicBezTo>
                  <a:pt x="32" y="261"/>
                  <a:pt x="28" y="259"/>
                  <a:pt x="31" y="256"/>
                </a:cubicBezTo>
                <a:cubicBezTo>
                  <a:pt x="33" y="254"/>
                  <a:pt x="33" y="253"/>
                  <a:pt x="33" y="250"/>
                </a:cubicBezTo>
                <a:cubicBezTo>
                  <a:pt x="34" y="247"/>
                  <a:pt x="34" y="240"/>
                  <a:pt x="36" y="237"/>
                </a:cubicBezTo>
                <a:cubicBezTo>
                  <a:pt x="39" y="234"/>
                  <a:pt x="39" y="237"/>
                  <a:pt x="39" y="234"/>
                </a:cubicBezTo>
                <a:cubicBezTo>
                  <a:pt x="39" y="231"/>
                  <a:pt x="36" y="230"/>
                  <a:pt x="37" y="227"/>
                </a:cubicBezTo>
                <a:cubicBezTo>
                  <a:pt x="37" y="224"/>
                  <a:pt x="38" y="222"/>
                  <a:pt x="37" y="219"/>
                </a:cubicBezTo>
                <a:cubicBezTo>
                  <a:pt x="37" y="216"/>
                  <a:pt x="41" y="213"/>
                  <a:pt x="41" y="213"/>
                </a:cubicBezTo>
                <a:cubicBezTo>
                  <a:pt x="41" y="213"/>
                  <a:pt x="44" y="213"/>
                  <a:pt x="45" y="211"/>
                </a:cubicBezTo>
                <a:cubicBezTo>
                  <a:pt x="46" y="209"/>
                  <a:pt x="45" y="208"/>
                  <a:pt x="44" y="205"/>
                </a:cubicBezTo>
                <a:cubicBezTo>
                  <a:pt x="44" y="202"/>
                  <a:pt x="43" y="201"/>
                  <a:pt x="45" y="198"/>
                </a:cubicBezTo>
                <a:cubicBezTo>
                  <a:pt x="46" y="195"/>
                  <a:pt x="49" y="189"/>
                  <a:pt x="49" y="185"/>
                </a:cubicBezTo>
                <a:cubicBezTo>
                  <a:pt x="49" y="181"/>
                  <a:pt x="49" y="180"/>
                  <a:pt x="48" y="177"/>
                </a:cubicBezTo>
                <a:cubicBezTo>
                  <a:pt x="47" y="174"/>
                  <a:pt x="48" y="173"/>
                  <a:pt x="49" y="170"/>
                </a:cubicBezTo>
                <a:cubicBezTo>
                  <a:pt x="51" y="167"/>
                  <a:pt x="50" y="166"/>
                  <a:pt x="50" y="162"/>
                </a:cubicBezTo>
                <a:cubicBezTo>
                  <a:pt x="49" y="158"/>
                  <a:pt x="50" y="158"/>
                  <a:pt x="50" y="152"/>
                </a:cubicBezTo>
                <a:cubicBezTo>
                  <a:pt x="50" y="147"/>
                  <a:pt x="51" y="148"/>
                  <a:pt x="52" y="145"/>
                </a:cubicBezTo>
                <a:cubicBezTo>
                  <a:pt x="54" y="142"/>
                  <a:pt x="52" y="140"/>
                  <a:pt x="52" y="136"/>
                </a:cubicBezTo>
                <a:cubicBezTo>
                  <a:pt x="52" y="132"/>
                  <a:pt x="53" y="130"/>
                  <a:pt x="54" y="124"/>
                </a:cubicBezTo>
                <a:cubicBezTo>
                  <a:pt x="54" y="118"/>
                  <a:pt x="57" y="120"/>
                  <a:pt x="59" y="115"/>
                </a:cubicBezTo>
                <a:cubicBezTo>
                  <a:pt x="60" y="111"/>
                  <a:pt x="61" y="111"/>
                  <a:pt x="62" y="108"/>
                </a:cubicBezTo>
                <a:cubicBezTo>
                  <a:pt x="63" y="105"/>
                  <a:pt x="64" y="104"/>
                  <a:pt x="63" y="100"/>
                </a:cubicBezTo>
                <a:cubicBezTo>
                  <a:pt x="63" y="97"/>
                  <a:pt x="62" y="96"/>
                  <a:pt x="64" y="95"/>
                </a:cubicBezTo>
                <a:cubicBezTo>
                  <a:pt x="67" y="93"/>
                  <a:pt x="63" y="91"/>
                  <a:pt x="63" y="88"/>
                </a:cubicBezTo>
                <a:cubicBezTo>
                  <a:pt x="63" y="85"/>
                  <a:pt x="63" y="80"/>
                  <a:pt x="63" y="77"/>
                </a:cubicBezTo>
                <a:cubicBezTo>
                  <a:pt x="63" y="75"/>
                  <a:pt x="68" y="75"/>
                  <a:pt x="69" y="72"/>
                </a:cubicBezTo>
                <a:cubicBezTo>
                  <a:pt x="70" y="69"/>
                  <a:pt x="74" y="70"/>
                  <a:pt x="75" y="67"/>
                </a:cubicBezTo>
                <a:cubicBezTo>
                  <a:pt x="76" y="64"/>
                  <a:pt x="77" y="59"/>
                  <a:pt x="74" y="58"/>
                </a:cubicBezTo>
                <a:cubicBezTo>
                  <a:pt x="70" y="57"/>
                  <a:pt x="71" y="51"/>
                  <a:pt x="71" y="51"/>
                </a:cubicBezTo>
                <a:close/>
                <a:moveTo>
                  <a:pt x="71" y="446"/>
                </a:moveTo>
                <a:cubicBezTo>
                  <a:pt x="67" y="446"/>
                  <a:pt x="61" y="445"/>
                  <a:pt x="66" y="444"/>
                </a:cubicBezTo>
                <a:cubicBezTo>
                  <a:pt x="63" y="444"/>
                  <a:pt x="60" y="445"/>
                  <a:pt x="60" y="445"/>
                </a:cubicBezTo>
                <a:cubicBezTo>
                  <a:pt x="58" y="416"/>
                  <a:pt x="58" y="416"/>
                  <a:pt x="58" y="416"/>
                </a:cubicBezTo>
                <a:cubicBezTo>
                  <a:pt x="58" y="416"/>
                  <a:pt x="55" y="417"/>
                  <a:pt x="55" y="418"/>
                </a:cubicBezTo>
                <a:cubicBezTo>
                  <a:pt x="54" y="416"/>
                  <a:pt x="54" y="416"/>
                  <a:pt x="53" y="415"/>
                </a:cubicBezTo>
                <a:cubicBezTo>
                  <a:pt x="52" y="416"/>
                  <a:pt x="49" y="418"/>
                  <a:pt x="49" y="418"/>
                </a:cubicBezTo>
                <a:cubicBezTo>
                  <a:pt x="47" y="419"/>
                  <a:pt x="46" y="417"/>
                  <a:pt x="45" y="417"/>
                </a:cubicBezTo>
                <a:cubicBezTo>
                  <a:pt x="44" y="417"/>
                  <a:pt x="44" y="418"/>
                  <a:pt x="42" y="418"/>
                </a:cubicBezTo>
                <a:cubicBezTo>
                  <a:pt x="43" y="425"/>
                  <a:pt x="38" y="427"/>
                  <a:pt x="49" y="427"/>
                </a:cubicBezTo>
                <a:cubicBezTo>
                  <a:pt x="47" y="429"/>
                  <a:pt x="46" y="430"/>
                  <a:pt x="43" y="430"/>
                </a:cubicBezTo>
                <a:cubicBezTo>
                  <a:pt x="44" y="432"/>
                  <a:pt x="43" y="435"/>
                  <a:pt x="45" y="436"/>
                </a:cubicBezTo>
                <a:cubicBezTo>
                  <a:pt x="45" y="436"/>
                  <a:pt x="47" y="435"/>
                  <a:pt x="48" y="436"/>
                </a:cubicBezTo>
                <a:cubicBezTo>
                  <a:pt x="49" y="436"/>
                  <a:pt x="51" y="439"/>
                  <a:pt x="53" y="440"/>
                </a:cubicBezTo>
                <a:cubicBezTo>
                  <a:pt x="52" y="439"/>
                  <a:pt x="51" y="440"/>
                  <a:pt x="50" y="440"/>
                </a:cubicBezTo>
                <a:cubicBezTo>
                  <a:pt x="50" y="440"/>
                  <a:pt x="49" y="438"/>
                  <a:pt x="49" y="438"/>
                </a:cubicBezTo>
                <a:cubicBezTo>
                  <a:pt x="44" y="439"/>
                  <a:pt x="45" y="438"/>
                  <a:pt x="44" y="441"/>
                </a:cubicBezTo>
                <a:cubicBezTo>
                  <a:pt x="42" y="440"/>
                  <a:pt x="42" y="440"/>
                  <a:pt x="42" y="440"/>
                </a:cubicBezTo>
                <a:cubicBezTo>
                  <a:pt x="42" y="439"/>
                  <a:pt x="43" y="440"/>
                  <a:pt x="43" y="438"/>
                </a:cubicBezTo>
                <a:cubicBezTo>
                  <a:pt x="41" y="436"/>
                  <a:pt x="41" y="436"/>
                  <a:pt x="41" y="436"/>
                </a:cubicBezTo>
                <a:cubicBezTo>
                  <a:pt x="41" y="434"/>
                  <a:pt x="42" y="434"/>
                  <a:pt x="41" y="432"/>
                </a:cubicBezTo>
                <a:cubicBezTo>
                  <a:pt x="41" y="432"/>
                  <a:pt x="39" y="431"/>
                  <a:pt x="39" y="431"/>
                </a:cubicBezTo>
                <a:cubicBezTo>
                  <a:pt x="39" y="432"/>
                  <a:pt x="38" y="435"/>
                  <a:pt x="37" y="436"/>
                </a:cubicBezTo>
                <a:cubicBezTo>
                  <a:pt x="37" y="434"/>
                  <a:pt x="37" y="434"/>
                  <a:pt x="37" y="434"/>
                </a:cubicBezTo>
                <a:cubicBezTo>
                  <a:pt x="36" y="435"/>
                  <a:pt x="34" y="435"/>
                  <a:pt x="34" y="435"/>
                </a:cubicBezTo>
                <a:cubicBezTo>
                  <a:pt x="34" y="435"/>
                  <a:pt x="34" y="432"/>
                  <a:pt x="34" y="432"/>
                </a:cubicBezTo>
                <a:cubicBezTo>
                  <a:pt x="33" y="432"/>
                  <a:pt x="32" y="433"/>
                  <a:pt x="31" y="432"/>
                </a:cubicBezTo>
                <a:cubicBezTo>
                  <a:pt x="31" y="436"/>
                  <a:pt x="30" y="439"/>
                  <a:pt x="36" y="438"/>
                </a:cubicBezTo>
                <a:cubicBezTo>
                  <a:pt x="38" y="436"/>
                  <a:pt x="38" y="436"/>
                  <a:pt x="38" y="436"/>
                </a:cubicBezTo>
                <a:cubicBezTo>
                  <a:pt x="39" y="436"/>
                  <a:pt x="39" y="439"/>
                  <a:pt x="39" y="440"/>
                </a:cubicBezTo>
                <a:cubicBezTo>
                  <a:pt x="35" y="440"/>
                  <a:pt x="33" y="440"/>
                  <a:pt x="30" y="441"/>
                </a:cubicBezTo>
                <a:cubicBezTo>
                  <a:pt x="31" y="442"/>
                  <a:pt x="29" y="442"/>
                  <a:pt x="29" y="442"/>
                </a:cubicBezTo>
                <a:cubicBezTo>
                  <a:pt x="30" y="442"/>
                  <a:pt x="29" y="444"/>
                  <a:pt x="29" y="444"/>
                </a:cubicBezTo>
                <a:cubicBezTo>
                  <a:pt x="30" y="444"/>
                  <a:pt x="31" y="444"/>
                  <a:pt x="31" y="444"/>
                </a:cubicBezTo>
                <a:cubicBezTo>
                  <a:pt x="32" y="444"/>
                  <a:pt x="29" y="442"/>
                  <a:pt x="34" y="442"/>
                </a:cubicBezTo>
                <a:cubicBezTo>
                  <a:pt x="34" y="444"/>
                  <a:pt x="34" y="444"/>
                  <a:pt x="34" y="444"/>
                </a:cubicBezTo>
                <a:cubicBezTo>
                  <a:pt x="36" y="444"/>
                  <a:pt x="38" y="443"/>
                  <a:pt x="39" y="444"/>
                </a:cubicBezTo>
                <a:cubicBezTo>
                  <a:pt x="39" y="444"/>
                  <a:pt x="39" y="446"/>
                  <a:pt x="39" y="446"/>
                </a:cubicBezTo>
                <a:cubicBezTo>
                  <a:pt x="41" y="446"/>
                  <a:pt x="44" y="445"/>
                  <a:pt x="45" y="445"/>
                </a:cubicBezTo>
                <a:cubicBezTo>
                  <a:pt x="47" y="445"/>
                  <a:pt x="48" y="447"/>
                  <a:pt x="45" y="447"/>
                </a:cubicBezTo>
                <a:cubicBezTo>
                  <a:pt x="45" y="447"/>
                  <a:pt x="46" y="448"/>
                  <a:pt x="46" y="448"/>
                </a:cubicBezTo>
                <a:cubicBezTo>
                  <a:pt x="49" y="448"/>
                  <a:pt x="50" y="449"/>
                  <a:pt x="53" y="448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56" y="446"/>
                  <a:pt x="59" y="446"/>
                  <a:pt x="62" y="445"/>
                </a:cubicBezTo>
                <a:cubicBezTo>
                  <a:pt x="63" y="447"/>
                  <a:pt x="62" y="448"/>
                  <a:pt x="63" y="449"/>
                </a:cubicBezTo>
                <a:cubicBezTo>
                  <a:pt x="63" y="449"/>
                  <a:pt x="66" y="450"/>
                  <a:pt x="66" y="450"/>
                </a:cubicBezTo>
                <a:cubicBezTo>
                  <a:pt x="66" y="451"/>
                  <a:pt x="66" y="453"/>
                  <a:pt x="66" y="453"/>
                </a:cubicBezTo>
                <a:cubicBezTo>
                  <a:pt x="70" y="450"/>
                  <a:pt x="70" y="450"/>
                  <a:pt x="72" y="446"/>
                </a:cubicBezTo>
                <a:cubicBezTo>
                  <a:pt x="71" y="445"/>
                  <a:pt x="71" y="445"/>
                  <a:pt x="71" y="445"/>
                </a:cubicBezTo>
                <a:lnTo>
                  <a:pt x="71" y="446"/>
                </a:lnTo>
                <a:close/>
                <a:moveTo>
                  <a:pt x="7" y="340"/>
                </a:moveTo>
                <a:cubicBezTo>
                  <a:pt x="8" y="340"/>
                  <a:pt x="6" y="341"/>
                  <a:pt x="6" y="341"/>
                </a:cubicBezTo>
                <a:cubicBezTo>
                  <a:pt x="6" y="341"/>
                  <a:pt x="6" y="339"/>
                  <a:pt x="7" y="340"/>
                </a:cubicBezTo>
                <a:close/>
                <a:moveTo>
                  <a:pt x="65" y="460"/>
                </a:moveTo>
                <a:cubicBezTo>
                  <a:pt x="65" y="460"/>
                  <a:pt x="65" y="461"/>
                  <a:pt x="65" y="461"/>
                </a:cubicBezTo>
                <a:cubicBezTo>
                  <a:pt x="67" y="461"/>
                  <a:pt x="67" y="460"/>
                  <a:pt x="65" y="460"/>
                </a:cubicBezTo>
                <a:close/>
                <a:moveTo>
                  <a:pt x="67" y="456"/>
                </a:moveTo>
                <a:cubicBezTo>
                  <a:pt x="67" y="458"/>
                  <a:pt x="67" y="458"/>
                  <a:pt x="67" y="458"/>
                </a:cubicBezTo>
                <a:cubicBezTo>
                  <a:pt x="72" y="458"/>
                  <a:pt x="68" y="457"/>
                  <a:pt x="67" y="456"/>
                </a:cubicBezTo>
                <a:close/>
                <a:moveTo>
                  <a:pt x="59" y="454"/>
                </a:moveTo>
                <a:cubicBezTo>
                  <a:pt x="60" y="455"/>
                  <a:pt x="59" y="456"/>
                  <a:pt x="60" y="458"/>
                </a:cubicBezTo>
                <a:cubicBezTo>
                  <a:pt x="61" y="457"/>
                  <a:pt x="62" y="458"/>
                  <a:pt x="63" y="458"/>
                </a:cubicBezTo>
                <a:cubicBezTo>
                  <a:pt x="63" y="458"/>
                  <a:pt x="62" y="454"/>
                  <a:pt x="62" y="454"/>
                </a:cubicBezTo>
                <a:cubicBezTo>
                  <a:pt x="60" y="454"/>
                  <a:pt x="60" y="454"/>
                  <a:pt x="59" y="454"/>
                </a:cubicBezTo>
                <a:close/>
                <a:moveTo>
                  <a:pt x="58" y="447"/>
                </a:moveTo>
                <a:cubicBezTo>
                  <a:pt x="56" y="447"/>
                  <a:pt x="53" y="449"/>
                  <a:pt x="52" y="450"/>
                </a:cubicBezTo>
                <a:cubicBezTo>
                  <a:pt x="51" y="450"/>
                  <a:pt x="49" y="450"/>
                  <a:pt x="47" y="450"/>
                </a:cubicBezTo>
                <a:cubicBezTo>
                  <a:pt x="47" y="450"/>
                  <a:pt x="45" y="451"/>
                  <a:pt x="45" y="451"/>
                </a:cubicBezTo>
                <a:cubicBezTo>
                  <a:pt x="46" y="452"/>
                  <a:pt x="46" y="452"/>
                  <a:pt x="46" y="453"/>
                </a:cubicBezTo>
                <a:cubicBezTo>
                  <a:pt x="48" y="454"/>
                  <a:pt x="50" y="454"/>
                  <a:pt x="52" y="454"/>
                </a:cubicBezTo>
                <a:cubicBezTo>
                  <a:pt x="52" y="454"/>
                  <a:pt x="53" y="456"/>
                  <a:pt x="53" y="456"/>
                </a:cubicBezTo>
                <a:cubicBezTo>
                  <a:pt x="53" y="455"/>
                  <a:pt x="54" y="455"/>
                  <a:pt x="55" y="455"/>
                </a:cubicBezTo>
                <a:cubicBezTo>
                  <a:pt x="55" y="454"/>
                  <a:pt x="54" y="454"/>
                  <a:pt x="54" y="454"/>
                </a:cubicBezTo>
                <a:cubicBezTo>
                  <a:pt x="54" y="452"/>
                  <a:pt x="54" y="452"/>
                  <a:pt x="54" y="452"/>
                </a:cubicBezTo>
                <a:cubicBezTo>
                  <a:pt x="57" y="452"/>
                  <a:pt x="59" y="452"/>
                  <a:pt x="61" y="452"/>
                </a:cubicBezTo>
                <a:cubicBezTo>
                  <a:pt x="61" y="451"/>
                  <a:pt x="62" y="451"/>
                  <a:pt x="61" y="450"/>
                </a:cubicBezTo>
                <a:cubicBezTo>
                  <a:pt x="59" y="449"/>
                  <a:pt x="64" y="447"/>
                  <a:pt x="58" y="447"/>
                </a:cubicBezTo>
                <a:close/>
                <a:moveTo>
                  <a:pt x="39" y="447"/>
                </a:moveTo>
                <a:cubicBezTo>
                  <a:pt x="38" y="448"/>
                  <a:pt x="37" y="448"/>
                  <a:pt x="37" y="448"/>
                </a:cubicBezTo>
                <a:cubicBezTo>
                  <a:pt x="37" y="448"/>
                  <a:pt x="38" y="449"/>
                  <a:pt x="37" y="450"/>
                </a:cubicBezTo>
                <a:cubicBezTo>
                  <a:pt x="39" y="450"/>
                  <a:pt x="41" y="450"/>
                  <a:pt x="41" y="450"/>
                </a:cubicBezTo>
                <a:cubicBezTo>
                  <a:pt x="42" y="450"/>
                  <a:pt x="41" y="449"/>
                  <a:pt x="41" y="448"/>
                </a:cubicBezTo>
                <a:cubicBezTo>
                  <a:pt x="43" y="449"/>
                  <a:pt x="43" y="447"/>
                  <a:pt x="43" y="447"/>
                </a:cubicBezTo>
                <a:cubicBezTo>
                  <a:pt x="42" y="447"/>
                  <a:pt x="40" y="447"/>
                  <a:pt x="39" y="447"/>
                </a:cubicBezTo>
                <a:close/>
                <a:moveTo>
                  <a:pt x="35" y="445"/>
                </a:moveTo>
                <a:cubicBezTo>
                  <a:pt x="34" y="446"/>
                  <a:pt x="34" y="446"/>
                  <a:pt x="34" y="446"/>
                </a:cubicBezTo>
                <a:cubicBezTo>
                  <a:pt x="32" y="448"/>
                  <a:pt x="37" y="446"/>
                  <a:pt x="36" y="446"/>
                </a:cubicBezTo>
                <a:cubicBezTo>
                  <a:pt x="36" y="445"/>
                  <a:pt x="36" y="445"/>
                  <a:pt x="35" y="445"/>
                </a:cubicBezTo>
                <a:close/>
                <a:moveTo>
                  <a:pt x="27" y="418"/>
                </a:moveTo>
                <a:cubicBezTo>
                  <a:pt x="29" y="418"/>
                  <a:pt x="29" y="422"/>
                  <a:pt x="27" y="422"/>
                </a:cubicBezTo>
                <a:cubicBezTo>
                  <a:pt x="23" y="424"/>
                  <a:pt x="26" y="419"/>
                  <a:pt x="27" y="418"/>
                </a:cubicBezTo>
                <a:close/>
                <a:moveTo>
                  <a:pt x="35" y="418"/>
                </a:moveTo>
                <a:cubicBezTo>
                  <a:pt x="36" y="419"/>
                  <a:pt x="37" y="419"/>
                  <a:pt x="37" y="419"/>
                </a:cubicBezTo>
                <a:cubicBezTo>
                  <a:pt x="37" y="420"/>
                  <a:pt x="38" y="420"/>
                  <a:pt x="37" y="421"/>
                </a:cubicBezTo>
                <a:cubicBezTo>
                  <a:pt x="37" y="421"/>
                  <a:pt x="34" y="424"/>
                  <a:pt x="34" y="424"/>
                </a:cubicBezTo>
                <a:cubicBezTo>
                  <a:pt x="29" y="426"/>
                  <a:pt x="35" y="418"/>
                  <a:pt x="35" y="418"/>
                </a:cubicBezTo>
                <a:close/>
                <a:moveTo>
                  <a:pt x="31" y="416"/>
                </a:moveTo>
                <a:cubicBezTo>
                  <a:pt x="33" y="416"/>
                  <a:pt x="36" y="418"/>
                  <a:pt x="32" y="417"/>
                </a:cubicBezTo>
                <a:cubicBezTo>
                  <a:pt x="32" y="417"/>
                  <a:pt x="29" y="415"/>
                  <a:pt x="31" y="416"/>
                </a:cubicBezTo>
                <a:close/>
                <a:moveTo>
                  <a:pt x="6" y="392"/>
                </a:moveTo>
                <a:cubicBezTo>
                  <a:pt x="6" y="393"/>
                  <a:pt x="7" y="393"/>
                  <a:pt x="6" y="395"/>
                </a:cubicBezTo>
                <a:cubicBezTo>
                  <a:pt x="6" y="395"/>
                  <a:pt x="4" y="397"/>
                  <a:pt x="4" y="398"/>
                </a:cubicBezTo>
                <a:cubicBezTo>
                  <a:pt x="4" y="398"/>
                  <a:pt x="5" y="401"/>
                  <a:pt x="5" y="400"/>
                </a:cubicBezTo>
                <a:cubicBezTo>
                  <a:pt x="5" y="400"/>
                  <a:pt x="5" y="403"/>
                  <a:pt x="5" y="404"/>
                </a:cubicBezTo>
                <a:cubicBezTo>
                  <a:pt x="5" y="404"/>
                  <a:pt x="7" y="404"/>
                  <a:pt x="7" y="404"/>
                </a:cubicBezTo>
                <a:cubicBezTo>
                  <a:pt x="7" y="402"/>
                  <a:pt x="7" y="402"/>
                  <a:pt x="7" y="402"/>
                </a:cubicBezTo>
                <a:cubicBezTo>
                  <a:pt x="8" y="402"/>
                  <a:pt x="9" y="403"/>
                  <a:pt x="10" y="402"/>
                </a:cubicBezTo>
                <a:cubicBezTo>
                  <a:pt x="10" y="402"/>
                  <a:pt x="11" y="400"/>
                  <a:pt x="9" y="400"/>
                </a:cubicBezTo>
                <a:cubicBezTo>
                  <a:pt x="9" y="400"/>
                  <a:pt x="9" y="398"/>
                  <a:pt x="9" y="398"/>
                </a:cubicBezTo>
                <a:cubicBezTo>
                  <a:pt x="9" y="398"/>
                  <a:pt x="12" y="398"/>
                  <a:pt x="11" y="398"/>
                </a:cubicBezTo>
                <a:cubicBezTo>
                  <a:pt x="12" y="398"/>
                  <a:pt x="11" y="400"/>
                  <a:pt x="11" y="400"/>
                </a:cubicBezTo>
                <a:cubicBezTo>
                  <a:pt x="13" y="399"/>
                  <a:pt x="12" y="396"/>
                  <a:pt x="12" y="396"/>
                </a:cubicBezTo>
                <a:cubicBezTo>
                  <a:pt x="11" y="396"/>
                  <a:pt x="11" y="396"/>
                  <a:pt x="11" y="396"/>
                </a:cubicBezTo>
                <a:cubicBezTo>
                  <a:pt x="11" y="396"/>
                  <a:pt x="9" y="392"/>
                  <a:pt x="8" y="392"/>
                </a:cubicBezTo>
                <a:cubicBezTo>
                  <a:pt x="7" y="392"/>
                  <a:pt x="7" y="392"/>
                  <a:pt x="6" y="392"/>
                </a:cubicBezTo>
                <a:close/>
                <a:moveTo>
                  <a:pt x="2" y="391"/>
                </a:moveTo>
                <a:cubicBezTo>
                  <a:pt x="2" y="391"/>
                  <a:pt x="1" y="393"/>
                  <a:pt x="1" y="393"/>
                </a:cubicBezTo>
                <a:cubicBezTo>
                  <a:pt x="1" y="393"/>
                  <a:pt x="2" y="393"/>
                  <a:pt x="4" y="393"/>
                </a:cubicBezTo>
                <a:cubicBezTo>
                  <a:pt x="3" y="393"/>
                  <a:pt x="3" y="391"/>
                  <a:pt x="2" y="391"/>
                </a:cubicBezTo>
                <a:close/>
                <a:moveTo>
                  <a:pt x="9" y="389"/>
                </a:moveTo>
                <a:cubicBezTo>
                  <a:pt x="10" y="390"/>
                  <a:pt x="9" y="390"/>
                  <a:pt x="9" y="391"/>
                </a:cubicBezTo>
                <a:cubicBezTo>
                  <a:pt x="10" y="393"/>
                  <a:pt x="16" y="395"/>
                  <a:pt x="13" y="393"/>
                </a:cubicBezTo>
                <a:cubicBezTo>
                  <a:pt x="12" y="391"/>
                  <a:pt x="11" y="390"/>
                  <a:pt x="9" y="389"/>
                </a:cubicBezTo>
                <a:close/>
                <a:moveTo>
                  <a:pt x="4" y="385"/>
                </a:moveTo>
                <a:cubicBezTo>
                  <a:pt x="4" y="385"/>
                  <a:pt x="2" y="386"/>
                  <a:pt x="2" y="387"/>
                </a:cubicBezTo>
                <a:cubicBezTo>
                  <a:pt x="1" y="388"/>
                  <a:pt x="2" y="388"/>
                  <a:pt x="2" y="389"/>
                </a:cubicBezTo>
                <a:cubicBezTo>
                  <a:pt x="3" y="389"/>
                  <a:pt x="3" y="389"/>
                  <a:pt x="3" y="389"/>
                </a:cubicBezTo>
                <a:cubicBezTo>
                  <a:pt x="3" y="389"/>
                  <a:pt x="3" y="389"/>
                  <a:pt x="3" y="389"/>
                </a:cubicBezTo>
                <a:cubicBezTo>
                  <a:pt x="3" y="389"/>
                  <a:pt x="4" y="389"/>
                  <a:pt x="5" y="390"/>
                </a:cubicBezTo>
                <a:cubicBezTo>
                  <a:pt x="6" y="389"/>
                  <a:pt x="6" y="388"/>
                  <a:pt x="7" y="387"/>
                </a:cubicBezTo>
                <a:cubicBezTo>
                  <a:pt x="7" y="386"/>
                  <a:pt x="5" y="385"/>
                  <a:pt x="4" y="385"/>
                </a:cubicBezTo>
                <a:close/>
                <a:moveTo>
                  <a:pt x="4" y="358"/>
                </a:moveTo>
                <a:cubicBezTo>
                  <a:pt x="4" y="359"/>
                  <a:pt x="4" y="361"/>
                  <a:pt x="4" y="363"/>
                </a:cubicBezTo>
                <a:cubicBezTo>
                  <a:pt x="2" y="363"/>
                  <a:pt x="3" y="362"/>
                  <a:pt x="3" y="361"/>
                </a:cubicBezTo>
                <a:cubicBezTo>
                  <a:pt x="3" y="361"/>
                  <a:pt x="0" y="362"/>
                  <a:pt x="2" y="363"/>
                </a:cubicBezTo>
                <a:cubicBezTo>
                  <a:pt x="0" y="366"/>
                  <a:pt x="0" y="366"/>
                  <a:pt x="0" y="366"/>
                </a:cubicBezTo>
                <a:cubicBezTo>
                  <a:pt x="0" y="368"/>
                  <a:pt x="1" y="369"/>
                  <a:pt x="2" y="370"/>
                </a:cubicBezTo>
                <a:cubicBezTo>
                  <a:pt x="2" y="370"/>
                  <a:pt x="1" y="368"/>
                  <a:pt x="2" y="369"/>
                </a:cubicBezTo>
                <a:cubicBezTo>
                  <a:pt x="2" y="369"/>
                  <a:pt x="2" y="373"/>
                  <a:pt x="2" y="372"/>
                </a:cubicBezTo>
                <a:cubicBezTo>
                  <a:pt x="2" y="373"/>
                  <a:pt x="2" y="373"/>
                  <a:pt x="2" y="373"/>
                </a:cubicBezTo>
                <a:cubicBezTo>
                  <a:pt x="3" y="374"/>
                  <a:pt x="3" y="373"/>
                  <a:pt x="4" y="375"/>
                </a:cubicBezTo>
                <a:cubicBezTo>
                  <a:pt x="3" y="375"/>
                  <a:pt x="2" y="377"/>
                  <a:pt x="2" y="377"/>
                </a:cubicBezTo>
                <a:cubicBezTo>
                  <a:pt x="1" y="377"/>
                  <a:pt x="1" y="377"/>
                  <a:pt x="1" y="377"/>
                </a:cubicBezTo>
                <a:cubicBezTo>
                  <a:pt x="0" y="381"/>
                  <a:pt x="2" y="382"/>
                  <a:pt x="4" y="384"/>
                </a:cubicBezTo>
                <a:cubicBezTo>
                  <a:pt x="3" y="384"/>
                  <a:pt x="5" y="383"/>
                  <a:pt x="5" y="383"/>
                </a:cubicBezTo>
                <a:cubicBezTo>
                  <a:pt x="6" y="383"/>
                  <a:pt x="6" y="383"/>
                  <a:pt x="6" y="383"/>
                </a:cubicBezTo>
                <a:cubicBezTo>
                  <a:pt x="6" y="383"/>
                  <a:pt x="7" y="384"/>
                  <a:pt x="7" y="385"/>
                </a:cubicBezTo>
                <a:cubicBezTo>
                  <a:pt x="9" y="385"/>
                  <a:pt x="8" y="383"/>
                  <a:pt x="9" y="384"/>
                </a:cubicBezTo>
                <a:cubicBezTo>
                  <a:pt x="10" y="381"/>
                  <a:pt x="11" y="377"/>
                  <a:pt x="11" y="375"/>
                </a:cubicBezTo>
                <a:cubicBezTo>
                  <a:pt x="12" y="370"/>
                  <a:pt x="10" y="363"/>
                  <a:pt x="9" y="358"/>
                </a:cubicBezTo>
                <a:cubicBezTo>
                  <a:pt x="7" y="358"/>
                  <a:pt x="6" y="358"/>
                  <a:pt x="4" y="358"/>
                </a:cubicBezTo>
                <a:close/>
                <a:moveTo>
                  <a:pt x="15" y="319"/>
                </a:moveTo>
                <a:cubicBezTo>
                  <a:pt x="15" y="319"/>
                  <a:pt x="14" y="321"/>
                  <a:pt x="14" y="321"/>
                </a:cubicBezTo>
                <a:cubicBezTo>
                  <a:pt x="13" y="321"/>
                  <a:pt x="13" y="320"/>
                  <a:pt x="12" y="320"/>
                </a:cubicBezTo>
                <a:cubicBezTo>
                  <a:pt x="12" y="321"/>
                  <a:pt x="11" y="321"/>
                  <a:pt x="10" y="322"/>
                </a:cubicBezTo>
                <a:cubicBezTo>
                  <a:pt x="11" y="323"/>
                  <a:pt x="10" y="324"/>
                  <a:pt x="11" y="325"/>
                </a:cubicBezTo>
                <a:cubicBezTo>
                  <a:pt x="11" y="326"/>
                  <a:pt x="13" y="326"/>
                  <a:pt x="13" y="327"/>
                </a:cubicBezTo>
                <a:cubicBezTo>
                  <a:pt x="12" y="328"/>
                  <a:pt x="11" y="328"/>
                  <a:pt x="9" y="329"/>
                </a:cubicBezTo>
                <a:cubicBezTo>
                  <a:pt x="9" y="329"/>
                  <a:pt x="10" y="331"/>
                  <a:pt x="9" y="331"/>
                </a:cubicBezTo>
                <a:cubicBezTo>
                  <a:pt x="10" y="331"/>
                  <a:pt x="10" y="331"/>
                  <a:pt x="11" y="331"/>
                </a:cubicBezTo>
                <a:cubicBezTo>
                  <a:pt x="11" y="331"/>
                  <a:pt x="12" y="329"/>
                  <a:pt x="12" y="329"/>
                </a:cubicBezTo>
                <a:cubicBezTo>
                  <a:pt x="15" y="328"/>
                  <a:pt x="16" y="329"/>
                  <a:pt x="18" y="328"/>
                </a:cubicBezTo>
                <a:cubicBezTo>
                  <a:pt x="18" y="327"/>
                  <a:pt x="18" y="327"/>
                  <a:pt x="18" y="327"/>
                </a:cubicBezTo>
                <a:cubicBezTo>
                  <a:pt x="17" y="326"/>
                  <a:pt x="16" y="326"/>
                  <a:pt x="14" y="326"/>
                </a:cubicBezTo>
                <a:cubicBezTo>
                  <a:pt x="14" y="326"/>
                  <a:pt x="14" y="324"/>
                  <a:pt x="14" y="324"/>
                </a:cubicBezTo>
                <a:cubicBezTo>
                  <a:pt x="16" y="324"/>
                  <a:pt x="16" y="324"/>
                  <a:pt x="17" y="323"/>
                </a:cubicBezTo>
                <a:cubicBezTo>
                  <a:pt x="17" y="321"/>
                  <a:pt x="17" y="321"/>
                  <a:pt x="17" y="319"/>
                </a:cubicBezTo>
                <a:lnTo>
                  <a:pt x="15" y="319"/>
                </a:lnTo>
                <a:close/>
                <a:moveTo>
                  <a:pt x="15" y="315"/>
                </a:moveTo>
                <a:cubicBezTo>
                  <a:pt x="15" y="316"/>
                  <a:pt x="15" y="317"/>
                  <a:pt x="16" y="317"/>
                </a:cubicBezTo>
                <a:cubicBezTo>
                  <a:pt x="16" y="316"/>
                  <a:pt x="17" y="315"/>
                  <a:pt x="15" y="315"/>
                </a:cubicBezTo>
                <a:close/>
                <a:moveTo>
                  <a:pt x="13" y="312"/>
                </a:moveTo>
                <a:cubicBezTo>
                  <a:pt x="13" y="314"/>
                  <a:pt x="13" y="314"/>
                  <a:pt x="13" y="314"/>
                </a:cubicBezTo>
                <a:cubicBezTo>
                  <a:pt x="13" y="314"/>
                  <a:pt x="14" y="314"/>
                  <a:pt x="15" y="315"/>
                </a:cubicBezTo>
                <a:cubicBezTo>
                  <a:pt x="14" y="314"/>
                  <a:pt x="15" y="312"/>
                  <a:pt x="13" y="312"/>
                </a:cubicBezTo>
                <a:close/>
                <a:moveTo>
                  <a:pt x="13" y="308"/>
                </a:moveTo>
                <a:cubicBezTo>
                  <a:pt x="13" y="308"/>
                  <a:pt x="13" y="310"/>
                  <a:pt x="13" y="311"/>
                </a:cubicBezTo>
                <a:cubicBezTo>
                  <a:pt x="13" y="310"/>
                  <a:pt x="14" y="311"/>
                  <a:pt x="14" y="311"/>
                </a:cubicBezTo>
                <a:cubicBezTo>
                  <a:pt x="14" y="311"/>
                  <a:pt x="15" y="308"/>
                  <a:pt x="13" y="308"/>
                </a:cubicBezTo>
                <a:close/>
                <a:moveTo>
                  <a:pt x="19" y="279"/>
                </a:moveTo>
                <a:cubicBezTo>
                  <a:pt x="18" y="281"/>
                  <a:pt x="18" y="281"/>
                  <a:pt x="18" y="281"/>
                </a:cubicBezTo>
                <a:cubicBezTo>
                  <a:pt x="17" y="281"/>
                  <a:pt x="17" y="280"/>
                  <a:pt x="15" y="280"/>
                </a:cubicBezTo>
                <a:cubicBezTo>
                  <a:pt x="15" y="287"/>
                  <a:pt x="15" y="292"/>
                  <a:pt x="14" y="299"/>
                </a:cubicBezTo>
                <a:cubicBezTo>
                  <a:pt x="15" y="299"/>
                  <a:pt x="15" y="298"/>
                  <a:pt x="15" y="299"/>
                </a:cubicBezTo>
                <a:cubicBezTo>
                  <a:pt x="16" y="299"/>
                  <a:pt x="18" y="299"/>
                  <a:pt x="18" y="299"/>
                </a:cubicBezTo>
                <a:cubicBezTo>
                  <a:pt x="19" y="299"/>
                  <a:pt x="20" y="298"/>
                  <a:pt x="20" y="297"/>
                </a:cubicBezTo>
                <a:cubicBezTo>
                  <a:pt x="20" y="297"/>
                  <a:pt x="20" y="295"/>
                  <a:pt x="20" y="295"/>
                </a:cubicBezTo>
                <a:cubicBezTo>
                  <a:pt x="21" y="295"/>
                  <a:pt x="21" y="295"/>
                  <a:pt x="21" y="295"/>
                </a:cubicBezTo>
                <a:cubicBezTo>
                  <a:pt x="22" y="291"/>
                  <a:pt x="19" y="292"/>
                  <a:pt x="22" y="289"/>
                </a:cubicBezTo>
                <a:cubicBezTo>
                  <a:pt x="22" y="289"/>
                  <a:pt x="20" y="289"/>
                  <a:pt x="19" y="289"/>
                </a:cubicBezTo>
                <a:cubicBezTo>
                  <a:pt x="20" y="287"/>
                  <a:pt x="19" y="287"/>
                  <a:pt x="20" y="285"/>
                </a:cubicBezTo>
                <a:cubicBezTo>
                  <a:pt x="21" y="285"/>
                  <a:pt x="21" y="285"/>
                  <a:pt x="21" y="285"/>
                </a:cubicBezTo>
                <a:cubicBezTo>
                  <a:pt x="22" y="283"/>
                  <a:pt x="21" y="282"/>
                  <a:pt x="21" y="280"/>
                </a:cubicBezTo>
                <a:lnTo>
                  <a:pt x="19" y="279"/>
                </a:ln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7" name="Google Shape;577;p102"/>
          <p:cNvSpPr/>
          <p:nvPr/>
        </p:nvSpPr>
        <p:spPr>
          <a:xfrm>
            <a:off x="4358884" y="5236824"/>
            <a:ext cx="221647" cy="1279052"/>
          </a:xfrm>
          <a:custGeom>
            <a:avLst/>
            <a:gdLst/>
            <a:ahLst/>
            <a:cxnLst/>
            <a:rect l="l" t="t" r="r" b="b"/>
            <a:pathLst>
              <a:path w="77" h="461" extrusionOk="0">
                <a:moveTo>
                  <a:pt x="71" y="51"/>
                </a:moveTo>
                <a:cubicBezTo>
                  <a:pt x="67" y="48"/>
                  <a:pt x="67" y="48"/>
                  <a:pt x="67" y="48"/>
                </a:cubicBezTo>
                <a:cubicBezTo>
                  <a:pt x="66" y="41"/>
                  <a:pt x="66" y="41"/>
                  <a:pt x="66" y="41"/>
                </a:cubicBezTo>
                <a:cubicBezTo>
                  <a:pt x="66" y="41"/>
                  <a:pt x="66" y="34"/>
                  <a:pt x="65" y="32"/>
                </a:cubicBezTo>
                <a:cubicBezTo>
                  <a:pt x="63" y="30"/>
                  <a:pt x="63" y="26"/>
                  <a:pt x="62" y="23"/>
                </a:cubicBezTo>
                <a:cubicBezTo>
                  <a:pt x="61" y="21"/>
                  <a:pt x="60" y="15"/>
                  <a:pt x="60" y="15"/>
                </a:cubicBezTo>
                <a:cubicBezTo>
                  <a:pt x="60" y="15"/>
                  <a:pt x="58" y="12"/>
                  <a:pt x="56" y="10"/>
                </a:cubicBezTo>
                <a:cubicBezTo>
                  <a:pt x="54" y="9"/>
                  <a:pt x="52" y="0"/>
                  <a:pt x="52" y="0"/>
                </a:cubicBezTo>
                <a:cubicBezTo>
                  <a:pt x="52" y="0"/>
                  <a:pt x="51" y="0"/>
                  <a:pt x="50" y="3"/>
                </a:cubicBezTo>
                <a:cubicBezTo>
                  <a:pt x="49" y="5"/>
                  <a:pt x="47" y="6"/>
                  <a:pt x="47" y="6"/>
                </a:cubicBezTo>
                <a:cubicBezTo>
                  <a:pt x="47" y="6"/>
                  <a:pt x="48" y="7"/>
                  <a:pt x="48" y="8"/>
                </a:cubicBezTo>
                <a:cubicBezTo>
                  <a:pt x="48" y="9"/>
                  <a:pt x="48" y="10"/>
                  <a:pt x="48" y="12"/>
                </a:cubicBezTo>
                <a:cubicBezTo>
                  <a:pt x="49" y="17"/>
                  <a:pt x="51" y="22"/>
                  <a:pt x="50" y="29"/>
                </a:cubicBezTo>
                <a:cubicBezTo>
                  <a:pt x="50" y="31"/>
                  <a:pt x="48" y="35"/>
                  <a:pt x="49" y="38"/>
                </a:cubicBezTo>
                <a:cubicBezTo>
                  <a:pt x="49" y="39"/>
                  <a:pt x="51" y="40"/>
                  <a:pt x="50" y="42"/>
                </a:cubicBezTo>
                <a:cubicBezTo>
                  <a:pt x="49" y="42"/>
                  <a:pt x="49" y="42"/>
                  <a:pt x="49" y="42"/>
                </a:cubicBezTo>
                <a:cubicBezTo>
                  <a:pt x="48" y="43"/>
                  <a:pt x="49" y="44"/>
                  <a:pt x="48" y="46"/>
                </a:cubicBezTo>
                <a:cubicBezTo>
                  <a:pt x="47" y="46"/>
                  <a:pt x="47" y="46"/>
                  <a:pt x="47" y="46"/>
                </a:cubicBezTo>
                <a:cubicBezTo>
                  <a:pt x="46" y="51"/>
                  <a:pt x="47" y="56"/>
                  <a:pt x="47" y="61"/>
                </a:cubicBezTo>
                <a:cubicBezTo>
                  <a:pt x="45" y="61"/>
                  <a:pt x="45" y="61"/>
                  <a:pt x="45" y="61"/>
                </a:cubicBezTo>
                <a:cubicBezTo>
                  <a:pt x="44" y="65"/>
                  <a:pt x="46" y="65"/>
                  <a:pt x="47" y="67"/>
                </a:cubicBezTo>
                <a:cubicBezTo>
                  <a:pt x="47" y="67"/>
                  <a:pt x="47" y="69"/>
                  <a:pt x="47" y="69"/>
                </a:cubicBezTo>
                <a:cubicBezTo>
                  <a:pt x="45" y="69"/>
                  <a:pt x="46" y="70"/>
                  <a:pt x="46" y="71"/>
                </a:cubicBezTo>
                <a:cubicBezTo>
                  <a:pt x="45" y="74"/>
                  <a:pt x="43" y="79"/>
                  <a:pt x="44" y="85"/>
                </a:cubicBezTo>
                <a:cubicBezTo>
                  <a:pt x="44" y="86"/>
                  <a:pt x="46" y="88"/>
                  <a:pt x="45" y="89"/>
                </a:cubicBezTo>
                <a:cubicBezTo>
                  <a:pt x="45" y="91"/>
                  <a:pt x="44" y="94"/>
                  <a:pt x="43" y="97"/>
                </a:cubicBezTo>
                <a:cubicBezTo>
                  <a:pt x="45" y="97"/>
                  <a:pt x="43" y="98"/>
                  <a:pt x="43" y="98"/>
                </a:cubicBezTo>
                <a:cubicBezTo>
                  <a:pt x="43" y="99"/>
                  <a:pt x="43" y="102"/>
                  <a:pt x="43" y="102"/>
                </a:cubicBezTo>
                <a:cubicBezTo>
                  <a:pt x="43" y="103"/>
                  <a:pt x="43" y="104"/>
                  <a:pt x="43" y="105"/>
                </a:cubicBezTo>
                <a:cubicBezTo>
                  <a:pt x="43" y="105"/>
                  <a:pt x="43" y="107"/>
                  <a:pt x="43" y="108"/>
                </a:cubicBezTo>
                <a:cubicBezTo>
                  <a:pt x="41" y="109"/>
                  <a:pt x="41" y="109"/>
                  <a:pt x="41" y="109"/>
                </a:cubicBezTo>
                <a:cubicBezTo>
                  <a:pt x="40" y="112"/>
                  <a:pt x="42" y="113"/>
                  <a:pt x="41" y="115"/>
                </a:cubicBezTo>
                <a:cubicBezTo>
                  <a:pt x="41" y="115"/>
                  <a:pt x="40" y="116"/>
                  <a:pt x="40" y="116"/>
                </a:cubicBezTo>
                <a:cubicBezTo>
                  <a:pt x="40" y="117"/>
                  <a:pt x="40" y="120"/>
                  <a:pt x="40" y="121"/>
                </a:cubicBezTo>
                <a:cubicBezTo>
                  <a:pt x="40" y="122"/>
                  <a:pt x="38" y="126"/>
                  <a:pt x="37" y="127"/>
                </a:cubicBezTo>
                <a:cubicBezTo>
                  <a:pt x="37" y="132"/>
                  <a:pt x="40" y="133"/>
                  <a:pt x="40" y="136"/>
                </a:cubicBezTo>
                <a:cubicBezTo>
                  <a:pt x="40" y="138"/>
                  <a:pt x="40" y="142"/>
                  <a:pt x="39" y="145"/>
                </a:cubicBezTo>
                <a:cubicBezTo>
                  <a:pt x="39" y="145"/>
                  <a:pt x="38" y="145"/>
                  <a:pt x="38" y="145"/>
                </a:cubicBezTo>
                <a:cubicBezTo>
                  <a:pt x="37" y="147"/>
                  <a:pt x="37" y="149"/>
                  <a:pt x="37" y="151"/>
                </a:cubicBezTo>
                <a:cubicBezTo>
                  <a:pt x="37" y="153"/>
                  <a:pt x="39" y="156"/>
                  <a:pt x="39" y="158"/>
                </a:cubicBezTo>
                <a:cubicBezTo>
                  <a:pt x="39" y="159"/>
                  <a:pt x="39" y="171"/>
                  <a:pt x="39" y="172"/>
                </a:cubicBezTo>
                <a:cubicBezTo>
                  <a:pt x="35" y="175"/>
                  <a:pt x="35" y="175"/>
                  <a:pt x="35" y="175"/>
                </a:cubicBezTo>
                <a:cubicBezTo>
                  <a:pt x="35" y="175"/>
                  <a:pt x="35" y="180"/>
                  <a:pt x="35" y="179"/>
                </a:cubicBezTo>
                <a:cubicBezTo>
                  <a:pt x="35" y="180"/>
                  <a:pt x="36" y="179"/>
                  <a:pt x="36" y="181"/>
                </a:cubicBezTo>
                <a:cubicBezTo>
                  <a:pt x="36" y="182"/>
                  <a:pt x="33" y="184"/>
                  <a:pt x="33" y="185"/>
                </a:cubicBezTo>
                <a:cubicBezTo>
                  <a:pt x="32" y="187"/>
                  <a:pt x="33" y="189"/>
                  <a:pt x="33" y="191"/>
                </a:cubicBezTo>
                <a:cubicBezTo>
                  <a:pt x="32" y="194"/>
                  <a:pt x="28" y="197"/>
                  <a:pt x="28" y="200"/>
                </a:cubicBezTo>
                <a:cubicBezTo>
                  <a:pt x="28" y="202"/>
                  <a:pt x="29" y="202"/>
                  <a:pt x="29" y="203"/>
                </a:cubicBezTo>
                <a:cubicBezTo>
                  <a:pt x="30" y="205"/>
                  <a:pt x="29" y="209"/>
                  <a:pt x="29" y="211"/>
                </a:cubicBezTo>
                <a:cubicBezTo>
                  <a:pt x="29" y="212"/>
                  <a:pt x="26" y="213"/>
                  <a:pt x="26" y="214"/>
                </a:cubicBezTo>
                <a:cubicBezTo>
                  <a:pt x="26" y="215"/>
                  <a:pt x="26" y="216"/>
                  <a:pt x="26" y="217"/>
                </a:cubicBezTo>
                <a:cubicBezTo>
                  <a:pt x="25" y="221"/>
                  <a:pt x="21" y="217"/>
                  <a:pt x="24" y="226"/>
                </a:cubicBezTo>
                <a:cubicBezTo>
                  <a:pt x="23" y="226"/>
                  <a:pt x="22" y="225"/>
                  <a:pt x="21" y="226"/>
                </a:cubicBezTo>
                <a:cubicBezTo>
                  <a:pt x="20" y="226"/>
                  <a:pt x="20" y="227"/>
                  <a:pt x="19" y="227"/>
                </a:cubicBezTo>
                <a:cubicBezTo>
                  <a:pt x="20" y="228"/>
                  <a:pt x="21" y="229"/>
                  <a:pt x="21" y="230"/>
                </a:cubicBezTo>
                <a:cubicBezTo>
                  <a:pt x="21" y="230"/>
                  <a:pt x="20" y="232"/>
                  <a:pt x="20" y="233"/>
                </a:cubicBezTo>
                <a:cubicBezTo>
                  <a:pt x="20" y="233"/>
                  <a:pt x="22" y="234"/>
                  <a:pt x="22" y="234"/>
                </a:cubicBezTo>
                <a:cubicBezTo>
                  <a:pt x="22" y="236"/>
                  <a:pt x="21" y="238"/>
                  <a:pt x="21" y="238"/>
                </a:cubicBezTo>
                <a:cubicBezTo>
                  <a:pt x="21" y="238"/>
                  <a:pt x="21" y="240"/>
                  <a:pt x="21" y="240"/>
                </a:cubicBezTo>
                <a:cubicBezTo>
                  <a:pt x="21" y="240"/>
                  <a:pt x="22" y="242"/>
                  <a:pt x="22" y="242"/>
                </a:cubicBezTo>
                <a:cubicBezTo>
                  <a:pt x="22" y="242"/>
                  <a:pt x="21" y="243"/>
                  <a:pt x="21" y="243"/>
                </a:cubicBezTo>
                <a:cubicBezTo>
                  <a:pt x="23" y="243"/>
                  <a:pt x="24" y="254"/>
                  <a:pt x="23" y="256"/>
                </a:cubicBezTo>
                <a:cubicBezTo>
                  <a:pt x="23" y="256"/>
                  <a:pt x="21" y="256"/>
                  <a:pt x="21" y="256"/>
                </a:cubicBezTo>
                <a:cubicBezTo>
                  <a:pt x="21" y="259"/>
                  <a:pt x="19" y="262"/>
                  <a:pt x="19" y="264"/>
                </a:cubicBezTo>
                <a:cubicBezTo>
                  <a:pt x="19" y="265"/>
                  <a:pt x="17" y="271"/>
                  <a:pt x="17" y="271"/>
                </a:cubicBezTo>
                <a:cubicBezTo>
                  <a:pt x="18" y="271"/>
                  <a:pt x="19" y="278"/>
                  <a:pt x="19" y="279"/>
                </a:cubicBezTo>
                <a:cubicBezTo>
                  <a:pt x="20" y="278"/>
                  <a:pt x="21" y="279"/>
                  <a:pt x="22" y="279"/>
                </a:cubicBezTo>
                <a:cubicBezTo>
                  <a:pt x="22" y="279"/>
                  <a:pt x="22" y="277"/>
                  <a:pt x="23" y="276"/>
                </a:cubicBezTo>
                <a:cubicBezTo>
                  <a:pt x="23" y="275"/>
                  <a:pt x="25" y="275"/>
                  <a:pt x="25" y="275"/>
                </a:cubicBezTo>
                <a:cubicBezTo>
                  <a:pt x="26" y="276"/>
                  <a:pt x="26" y="277"/>
                  <a:pt x="27" y="278"/>
                </a:cubicBezTo>
                <a:cubicBezTo>
                  <a:pt x="28" y="278"/>
                  <a:pt x="28" y="278"/>
                  <a:pt x="28" y="278"/>
                </a:cubicBezTo>
                <a:cubicBezTo>
                  <a:pt x="28" y="278"/>
                  <a:pt x="28" y="279"/>
                  <a:pt x="28" y="279"/>
                </a:cubicBezTo>
                <a:cubicBezTo>
                  <a:pt x="28" y="280"/>
                  <a:pt x="26" y="281"/>
                  <a:pt x="25" y="281"/>
                </a:cubicBezTo>
                <a:cubicBezTo>
                  <a:pt x="26" y="285"/>
                  <a:pt x="26" y="290"/>
                  <a:pt x="26" y="294"/>
                </a:cubicBezTo>
                <a:cubicBezTo>
                  <a:pt x="24" y="295"/>
                  <a:pt x="25" y="293"/>
                  <a:pt x="25" y="293"/>
                </a:cubicBezTo>
                <a:cubicBezTo>
                  <a:pt x="25" y="293"/>
                  <a:pt x="25" y="294"/>
                  <a:pt x="24" y="295"/>
                </a:cubicBezTo>
                <a:cubicBezTo>
                  <a:pt x="24" y="296"/>
                  <a:pt x="22" y="297"/>
                  <a:pt x="23" y="298"/>
                </a:cubicBezTo>
                <a:cubicBezTo>
                  <a:pt x="24" y="298"/>
                  <a:pt x="24" y="298"/>
                  <a:pt x="24" y="298"/>
                </a:cubicBezTo>
                <a:cubicBezTo>
                  <a:pt x="24" y="299"/>
                  <a:pt x="24" y="300"/>
                  <a:pt x="24" y="301"/>
                </a:cubicBezTo>
                <a:cubicBezTo>
                  <a:pt x="24" y="302"/>
                  <a:pt x="26" y="303"/>
                  <a:pt x="26" y="304"/>
                </a:cubicBezTo>
                <a:cubicBezTo>
                  <a:pt x="25" y="305"/>
                  <a:pt x="23" y="306"/>
                  <a:pt x="21" y="307"/>
                </a:cubicBezTo>
                <a:cubicBezTo>
                  <a:pt x="21" y="307"/>
                  <a:pt x="22" y="309"/>
                  <a:pt x="21" y="309"/>
                </a:cubicBezTo>
                <a:cubicBezTo>
                  <a:pt x="23" y="310"/>
                  <a:pt x="23" y="309"/>
                  <a:pt x="23" y="311"/>
                </a:cubicBezTo>
                <a:cubicBezTo>
                  <a:pt x="22" y="311"/>
                  <a:pt x="22" y="311"/>
                  <a:pt x="19" y="311"/>
                </a:cubicBezTo>
                <a:cubicBezTo>
                  <a:pt x="19" y="311"/>
                  <a:pt x="21" y="313"/>
                  <a:pt x="21" y="313"/>
                </a:cubicBezTo>
                <a:cubicBezTo>
                  <a:pt x="19" y="314"/>
                  <a:pt x="19" y="314"/>
                  <a:pt x="19" y="314"/>
                </a:cubicBezTo>
                <a:cubicBezTo>
                  <a:pt x="20" y="319"/>
                  <a:pt x="20" y="321"/>
                  <a:pt x="19" y="325"/>
                </a:cubicBezTo>
                <a:cubicBezTo>
                  <a:pt x="20" y="325"/>
                  <a:pt x="21" y="324"/>
                  <a:pt x="21" y="326"/>
                </a:cubicBezTo>
                <a:cubicBezTo>
                  <a:pt x="19" y="327"/>
                  <a:pt x="19" y="327"/>
                  <a:pt x="19" y="327"/>
                </a:cubicBezTo>
                <a:cubicBezTo>
                  <a:pt x="19" y="330"/>
                  <a:pt x="19" y="333"/>
                  <a:pt x="19" y="336"/>
                </a:cubicBezTo>
                <a:cubicBezTo>
                  <a:pt x="18" y="336"/>
                  <a:pt x="18" y="338"/>
                  <a:pt x="17" y="337"/>
                </a:cubicBezTo>
                <a:cubicBezTo>
                  <a:pt x="17" y="337"/>
                  <a:pt x="17" y="337"/>
                  <a:pt x="17" y="337"/>
                </a:cubicBezTo>
                <a:cubicBezTo>
                  <a:pt x="16" y="336"/>
                  <a:pt x="18" y="334"/>
                  <a:pt x="14" y="335"/>
                </a:cubicBezTo>
                <a:cubicBezTo>
                  <a:pt x="14" y="335"/>
                  <a:pt x="14" y="337"/>
                  <a:pt x="14" y="337"/>
                </a:cubicBezTo>
                <a:cubicBezTo>
                  <a:pt x="13" y="337"/>
                  <a:pt x="10" y="337"/>
                  <a:pt x="12" y="336"/>
                </a:cubicBezTo>
                <a:cubicBezTo>
                  <a:pt x="13" y="336"/>
                  <a:pt x="12" y="334"/>
                  <a:pt x="13" y="333"/>
                </a:cubicBezTo>
                <a:cubicBezTo>
                  <a:pt x="12" y="334"/>
                  <a:pt x="11" y="335"/>
                  <a:pt x="9" y="336"/>
                </a:cubicBezTo>
                <a:cubicBezTo>
                  <a:pt x="9" y="336"/>
                  <a:pt x="10" y="333"/>
                  <a:pt x="10" y="333"/>
                </a:cubicBezTo>
                <a:cubicBezTo>
                  <a:pt x="9" y="332"/>
                  <a:pt x="8" y="333"/>
                  <a:pt x="7" y="332"/>
                </a:cubicBezTo>
                <a:cubicBezTo>
                  <a:pt x="6" y="333"/>
                  <a:pt x="6" y="333"/>
                  <a:pt x="6" y="333"/>
                </a:cubicBezTo>
                <a:cubicBezTo>
                  <a:pt x="3" y="335"/>
                  <a:pt x="4" y="334"/>
                  <a:pt x="6" y="337"/>
                </a:cubicBezTo>
                <a:cubicBezTo>
                  <a:pt x="5" y="338"/>
                  <a:pt x="3" y="339"/>
                  <a:pt x="2" y="341"/>
                </a:cubicBezTo>
                <a:cubicBezTo>
                  <a:pt x="3" y="341"/>
                  <a:pt x="2" y="343"/>
                  <a:pt x="2" y="344"/>
                </a:cubicBezTo>
                <a:cubicBezTo>
                  <a:pt x="4" y="344"/>
                  <a:pt x="4" y="344"/>
                  <a:pt x="4" y="344"/>
                </a:cubicBezTo>
                <a:cubicBezTo>
                  <a:pt x="4" y="344"/>
                  <a:pt x="2" y="340"/>
                  <a:pt x="6" y="341"/>
                </a:cubicBezTo>
                <a:cubicBezTo>
                  <a:pt x="6" y="342"/>
                  <a:pt x="6" y="342"/>
                  <a:pt x="6" y="342"/>
                </a:cubicBezTo>
                <a:cubicBezTo>
                  <a:pt x="6" y="342"/>
                  <a:pt x="6" y="342"/>
                  <a:pt x="6" y="342"/>
                </a:cubicBezTo>
                <a:cubicBezTo>
                  <a:pt x="6" y="342"/>
                  <a:pt x="6" y="344"/>
                  <a:pt x="6" y="344"/>
                </a:cubicBezTo>
                <a:cubicBezTo>
                  <a:pt x="6" y="344"/>
                  <a:pt x="9" y="344"/>
                  <a:pt x="10" y="345"/>
                </a:cubicBezTo>
                <a:cubicBezTo>
                  <a:pt x="10" y="345"/>
                  <a:pt x="10" y="343"/>
                  <a:pt x="10" y="343"/>
                </a:cubicBezTo>
                <a:cubicBezTo>
                  <a:pt x="11" y="342"/>
                  <a:pt x="13" y="343"/>
                  <a:pt x="13" y="343"/>
                </a:cubicBezTo>
                <a:cubicBezTo>
                  <a:pt x="15" y="347"/>
                  <a:pt x="16" y="348"/>
                  <a:pt x="14" y="353"/>
                </a:cubicBezTo>
                <a:cubicBezTo>
                  <a:pt x="15" y="353"/>
                  <a:pt x="15" y="353"/>
                  <a:pt x="16" y="353"/>
                </a:cubicBezTo>
                <a:cubicBezTo>
                  <a:pt x="16" y="354"/>
                  <a:pt x="15" y="354"/>
                  <a:pt x="15" y="355"/>
                </a:cubicBezTo>
                <a:cubicBezTo>
                  <a:pt x="13" y="355"/>
                  <a:pt x="14" y="355"/>
                  <a:pt x="12" y="355"/>
                </a:cubicBezTo>
                <a:cubicBezTo>
                  <a:pt x="13" y="357"/>
                  <a:pt x="12" y="361"/>
                  <a:pt x="13" y="365"/>
                </a:cubicBezTo>
                <a:cubicBezTo>
                  <a:pt x="13" y="365"/>
                  <a:pt x="14" y="366"/>
                  <a:pt x="14" y="367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12" y="369"/>
                  <a:pt x="12" y="372"/>
                  <a:pt x="12" y="375"/>
                </a:cubicBezTo>
                <a:cubicBezTo>
                  <a:pt x="13" y="375"/>
                  <a:pt x="14" y="376"/>
                  <a:pt x="14" y="375"/>
                </a:cubicBezTo>
                <a:cubicBezTo>
                  <a:pt x="14" y="375"/>
                  <a:pt x="14" y="373"/>
                  <a:pt x="14" y="373"/>
                </a:cubicBezTo>
                <a:cubicBezTo>
                  <a:pt x="14" y="373"/>
                  <a:pt x="16" y="373"/>
                  <a:pt x="16" y="373"/>
                </a:cubicBezTo>
                <a:cubicBezTo>
                  <a:pt x="16" y="373"/>
                  <a:pt x="16" y="375"/>
                  <a:pt x="15" y="376"/>
                </a:cubicBezTo>
                <a:cubicBezTo>
                  <a:pt x="15" y="377"/>
                  <a:pt x="15" y="377"/>
                  <a:pt x="15" y="377"/>
                </a:cubicBezTo>
                <a:cubicBezTo>
                  <a:pt x="15" y="378"/>
                  <a:pt x="13" y="377"/>
                  <a:pt x="12" y="379"/>
                </a:cubicBezTo>
                <a:cubicBezTo>
                  <a:pt x="12" y="379"/>
                  <a:pt x="12" y="381"/>
                  <a:pt x="12" y="382"/>
                </a:cubicBezTo>
                <a:cubicBezTo>
                  <a:pt x="12" y="382"/>
                  <a:pt x="10" y="383"/>
                  <a:pt x="10" y="384"/>
                </a:cubicBezTo>
                <a:cubicBezTo>
                  <a:pt x="10" y="385"/>
                  <a:pt x="10" y="386"/>
                  <a:pt x="10" y="387"/>
                </a:cubicBezTo>
                <a:cubicBezTo>
                  <a:pt x="12" y="388"/>
                  <a:pt x="14" y="387"/>
                  <a:pt x="15" y="389"/>
                </a:cubicBezTo>
                <a:cubicBezTo>
                  <a:pt x="17" y="389"/>
                  <a:pt x="14" y="389"/>
                  <a:pt x="14" y="389"/>
                </a:cubicBezTo>
                <a:cubicBezTo>
                  <a:pt x="14" y="390"/>
                  <a:pt x="14" y="391"/>
                  <a:pt x="14" y="391"/>
                </a:cubicBezTo>
                <a:cubicBezTo>
                  <a:pt x="15" y="392"/>
                  <a:pt x="16" y="393"/>
                  <a:pt x="16" y="393"/>
                </a:cubicBezTo>
                <a:cubicBezTo>
                  <a:pt x="17" y="393"/>
                  <a:pt x="17" y="393"/>
                  <a:pt x="18" y="393"/>
                </a:cubicBezTo>
                <a:cubicBezTo>
                  <a:pt x="17" y="394"/>
                  <a:pt x="15" y="395"/>
                  <a:pt x="14" y="396"/>
                </a:cubicBezTo>
                <a:cubicBezTo>
                  <a:pt x="14" y="395"/>
                  <a:pt x="13" y="398"/>
                  <a:pt x="13" y="398"/>
                </a:cubicBezTo>
                <a:cubicBezTo>
                  <a:pt x="14" y="399"/>
                  <a:pt x="16" y="400"/>
                  <a:pt x="17" y="400"/>
                </a:cubicBezTo>
                <a:cubicBezTo>
                  <a:pt x="17" y="402"/>
                  <a:pt x="17" y="403"/>
                  <a:pt x="17" y="404"/>
                </a:cubicBezTo>
                <a:cubicBezTo>
                  <a:pt x="17" y="404"/>
                  <a:pt x="15" y="403"/>
                  <a:pt x="15" y="404"/>
                </a:cubicBezTo>
                <a:cubicBezTo>
                  <a:pt x="15" y="404"/>
                  <a:pt x="15" y="406"/>
                  <a:pt x="15" y="406"/>
                </a:cubicBezTo>
                <a:cubicBezTo>
                  <a:pt x="13" y="406"/>
                  <a:pt x="13" y="405"/>
                  <a:pt x="11" y="406"/>
                </a:cubicBezTo>
                <a:cubicBezTo>
                  <a:pt x="10" y="406"/>
                  <a:pt x="13" y="407"/>
                  <a:pt x="10" y="407"/>
                </a:cubicBezTo>
                <a:cubicBezTo>
                  <a:pt x="10" y="407"/>
                  <a:pt x="7" y="405"/>
                  <a:pt x="7" y="405"/>
                </a:cubicBezTo>
                <a:cubicBezTo>
                  <a:pt x="4" y="405"/>
                  <a:pt x="3" y="409"/>
                  <a:pt x="4" y="408"/>
                </a:cubicBezTo>
                <a:cubicBezTo>
                  <a:pt x="4" y="410"/>
                  <a:pt x="4" y="410"/>
                  <a:pt x="4" y="412"/>
                </a:cubicBezTo>
                <a:cubicBezTo>
                  <a:pt x="5" y="413"/>
                  <a:pt x="7" y="415"/>
                  <a:pt x="8" y="416"/>
                </a:cubicBezTo>
                <a:cubicBezTo>
                  <a:pt x="8" y="416"/>
                  <a:pt x="8" y="418"/>
                  <a:pt x="7" y="419"/>
                </a:cubicBezTo>
                <a:cubicBezTo>
                  <a:pt x="9" y="420"/>
                  <a:pt x="11" y="423"/>
                  <a:pt x="12" y="424"/>
                </a:cubicBezTo>
                <a:cubicBezTo>
                  <a:pt x="14" y="425"/>
                  <a:pt x="14" y="424"/>
                  <a:pt x="16" y="424"/>
                </a:cubicBezTo>
                <a:cubicBezTo>
                  <a:pt x="17" y="424"/>
                  <a:pt x="17" y="424"/>
                  <a:pt x="17" y="424"/>
                </a:cubicBezTo>
                <a:cubicBezTo>
                  <a:pt x="18" y="423"/>
                  <a:pt x="18" y="423"/>
                  <a:pt x="18" y="423"/>
                </a:cubicBezTo>
                <a:cubicBezTo>
                  <a:pt x="17" y="422"/>
                  <a:pt x="13" y="419"/>
                  <a:pt x="13" y="419"/>
                </a:cubicBezTo>
                <a:cubicBezTo>
                  <a:pt x="12" y="419"/>
                  <a:pt x="11" y="419"/>
                  <a:pt x="11" y="419"/>
                </a:cubicBezTo>
                <a:cubicBezTo>
                  <a:pt x="10" y="419"/>
                  <a:pt x="10" y="417"/>
                  <a:pt x="9" y="417"/>
                </a:cubicBezTo>
                <a:cubicBezTo>
                  <a:pt x="12" y="418"/>
                  <a:pt x="13" y="418"/>
                  <a:pt x="15" y="418"/>
                </a:cubicBezTo>
                <a:cubicBezTo>
                  <a:pt x="15" y="413"/>
                  <a:pt x="16" y="412"/>
                  <a:pt x="12" y="408"/>
                </a:cubicBezTo>
                <a:cubicBezTo>
                  <a:pt x="14" y="408"/>
                  <a:pt x="13" y="409"/>
                  <a:pt x="14" y="408"/>
                </a:cubicBezTo>
                <a:cubicBezTo>
                  <a:pt x="14" y="408"/>
                  <a:pt x="17" y="407"/>
                  <a:pt x="18" y="406"/>
                </a:cubicBezTo>
                <a:cubicBezTo>
                  <a:pt x="18" y="407"/>
                  <a:pt x="18" y="409"/>
                  <a:pt x="18" y="409"/>
                </a:cubicBezTo>
                <a:cubicBezTo>
                  <a:pt x="18" y="409"/>
                  <a:pt x="19" y="410"/>
                  <a:pt x="19" y="410"/>
                </a:cubicBezTo>
                <a:cubicBezTo>
                  <a:pt x="22" y="408"/>
                  <a:pt x="22" y="407"/>
                  <a:pt x="23" y="404"/>
                </a:cubicBezTo>
                <a:cubicBezTo>
                  <a:pt x="24" y="404"/>
                  <a:pt x="25" y="406"/>
                  <a:pt x="25" y="406"/>
                </a:cubicBezTo>
                <a:cubicBezTo>
                  <a:pt x="27" y="406"/>
                  <a:pt x="27" y="405"/>
                  <a:pt x="28" y="405"/>
                </a:cubicBezTo>
                <a:cubicBezTo>
                  <a:pt x="28" y="406"/>
                  <a:pt x="28" y="406"/>
                  <a:pt x="28" y="406"/>
                </a:cubicBezTo>
                <a:cubicBezTo>
                  <a:pt x="27" y="407"/>
                  <a:pt x="25" y="408"/>
                  <a:pt x="25" y="408"/>
                </a:cubicBezTo>
                <a:cubicBezTo>
                  <a:pt x="23" y="408"/>
                  <a:pt x="23" y="408"/>
                  <a:pt x="23" y="408"/>
                </a:cubicBezTo>
                <a:cubicBezTo>
                  <a:pt x="23" y="409"/>
                  <a:pt x="23" y="411"/>
                  <a:pt x="23" y="412"/>
                </a:cubicBezTo>
                <a:cubicBezTo>
                  <a:pt x="21" y="412"/>
                  <a:pt x="21" y="412"/>
                  <a:pt x="21" y="412"/>
                </a:cubicBezTo>
                <a:cubicBezTo>
                  <a:pt x="21" y="412"/>
                  <a:pt x="21" y="410"/>
                  <a:pt x="21" y="410"/>
                </a:cubicBezTo>
                <a:cubicBezTo>
                  <a:pt x="20" y="410"/>
                  <a:pt x="18" y="411"/>
                  <a:pt x="17" y="411"/>
                </a:cubicBezTo>
                <a:cubicBezTo>
                  <a:pt x="18" y="415"/>
                  <a:pt x="19" y="418"/>
                  <a:pt x="19" y="422"/>
                </a:cubicBezTo>
                <a:cubicBezTo>
                  <a:pt x="22" y="422"/>
                  <a:pt x="19" y="421"/>
                  <a:pt x="23" y="422"/>
                </a:cubicBezTo>
                <a:cubicBezTo>
                  <a:pt x="22" y="424"/>
                  <a:pt x="22" y="424"/>
                  <a:pt x="22" y="424"/>
                </a:cubicBezTo>
                <a:cubicBezTo>
                  <a:pt x="21" y="425"/>
                  <a:pt x="21" y="424"/>
                  <a:pt x="21" y="423"/>
                </a:cubicBezTo>
                <a:cubicBezTo>
                  <a:pt x="19" y="423"/>
                  <a:pt x="19" y="423"/>
                  <a:pt x="19" y="423"/>
                </a:cubicBezTo>
                <a:cubicBezTo>
                  <a:pt x="19" y="425"/>
                  <a:pt x="18" y="427"/>
                  <a:pt x="17" y="428"/>
                </a:cubicBezTo>
                <a:cubicBezTo>
                  <a:pt x="18" y="429"/>
                  <a:pt x="17" y="430"/>
                  <a:pt x="17" y="430"/>
                </a:cubicBezTo>
                <a:cubicBezTo>
                  <a:pt x="18" y="431"/>
                  <a:pt x="19" y="430"/>
                  <a:pt x="19" y="430"/>
                </a:cubicBezTo>
                <a:cubicBezTo>
                  <a:pt x="20" y="432"/>
                  <a:pt x="19" y="431"/>
                  <a:pt x="20" y="432"/>
                </a:cubicBezTo>
                <a:cubicBezTo>
                  <a:pt x="20" y="432"/>
                  <a:pt x="20" y="432"/>
                  <a:pt x="20" y="432"/>
                </a:cubicBezTo>
                <a:cubicBezTo>
                  <a:pt x="21" y="433"/>
                  <a:pt x="22" y="431"/>
                  <a:pt x="23" y="432"/>
                </a:cubicBezTo>
                <a:cubicBezTo>
                  <a:pt x="24" y="433"/>
                  <a:pt x="21" y="434"/>
                  <a:pt x="23" y="436"/>
                </a:cubicBezTo>
                <a:cubicBezTo>
                  <a:pt x="24" y="436"/>
                  <a:pt x="25" y="435"/>
                  <a:pt x="26" y="435"/>
                </a:cubicBezTo>
                <a:cubicBezTo>
                  <a:pt x="26" y="435"/>
                  <a:pt x="27" y="436"/>
                  <a:pt x="27" y="436"/>
                </a:cubicBezTo>
                <a:cubicBezTo>
                  <a:pt x="27" y="436"/>
                  <a:pt x="28" y="436"/>
                  <a:pt x="29" y="436"/>
                </a:cubicBezTo>
                <a:cubicBezTo>
                  <a:pt x="29" y="436"/>
                  <a:pt x="29" y="436"/>
                  <a:pt x="29" y="436"/>
                </a:cubicBezTo>
                <a:cubicBezTo>
                  <a:pt x="27" y="431"/>
                  <a:pt x="28" y="434"/>
                  <a:pt x="29" y="430"/>
                </a:cubicBezTo>
                <a:cubicBezTo>
                  <a:pt x="28" y="429"/>
                  <a:pt x="27" y="429"/>
                  <a:pt x="25" y="428"/>
                </a:cubicBezTo>
                <a:cubicBezTo>
                  <a:pt x="20" y="424"/>
                  <a:pt x="25" y="425"/>
                  <a:pt x="28" y="428"/>
                </a:cubicBezTo>
                <a:cubicBezTo>
                  <a:pt x="28" y="427"/>
                  <a:pt x="28" y="426"/>
                  <a:pt x="27" y="425"/>
                </a:cubicBezTo>
                <a:cubicBezTo>
                  <a:pt x="29" y="425"/>
                  <a:pt x="29" y="425"/>
                  <a:pt x="30" y="424"/>
                </a:cubicBezTo>
                <a:cubicBezTo>
                  <a:pt x="31" y="428"/>
                  <a:pt x="29" y="428"/>
                  <a:pt x="33" y="430"/>
                </a:cubicBezTo>
                <a:cubicBezTo>
                  <a:pt x="35" y="431"/>
                  <a:pt x="36" y="431"/>
                  <a:pt x="37" y="432"/>
                </a:cubicBezTo>
                <a:cubicBezTo>
                  <a:pt x="38" y="431"/>
                  <a:pt x="39" y="431"/>
                  <a:pt x="39" y="430"/>
                </a:cubicBezTo>
                <a:cubicBezTo>
                  <a:pt x="39" y="428"/>
                  <a:pt x="38" y="425"/>
                  <a:pt x="39" y="423"/>
                </a:cubicBezTo>
                <a:cubicBezTo>
                  <a:pt x="39" y="423"/>
                  <a:pt x="40" y="419"/>
                  <a:pt x="41" y="418"/>
                </a:cubicBezTo>
                <a:cubicBezTo>
                  <a:pt x="41" y="418"/>
                  <a:pt x="40" y="417"/>
                  <a:pt x="40" y="416"/>
                </a:cubicBezTo>
                <a:cubicBezTo>
                  <a:pt x="43" y="416"/>
                  <a:pt x="48" y="416"/>
                  <a:pt x="51" y="416"/>
                </a:cubicBezTo>
                <a:cubicBezTo>
                  <a:pt x="54" y="409"/>
                  <a:pt x="54" y="411"/>
                  <a:pt x="61" y="411"/>
                </a:cubicBezTo>
                <a:cubicBezTo>
                  <a:pt x="61" y="410"/>
                  <a:pt x="61" y="410"/>
                  <a:pt x="61" y="410"/>
                </a:cubicBezTo>
                <a:cubicBezTo>
                  <a:pt x="61" y="410"/>
                  <a:pt x="49" y="409"/>
                  <a:pt x="46" y="409"/>
                </a:cubicBezTo>
                <a:cubicBezTo>
                  <a:pt x="43" y="409"/>
                  <a:pt x="34" y="409"/>
                  <a:pt x="34" y="409"/>
                </a:cubicBezTo>
                <a:cubicBezTo>
                  <a:pt x="34" y="409"/>
                  <a:pt x="28" y="404"/>
                  <a:pt x="27" y="401"/>
                </a:cubicBezTo>
                <a:cubicBezTo>
                  <a:pt x="26" y="398"/>
                  <a:pt x="24" y="396"/>
                  <a:pt x="26" y="394"/>
                </a:cubicBezTo>
                <a:cubicBezTo>
                  <a:pt x="28" y="392"/>
                  <a:pt x="28" y="390"/>
                  <a:pt x="26" y="388"/>
                </a:cubicBezTo>
                <a:cubicBezTo>
                  <a:pt x="24" y="386"/>
                  <a:pt x="24" y="389"/>
                  <a:pt x="22" y="389"/>
                </a:cubicBezTo>
                <a:cubicBezTo>
                  <a:pt x="20" y="389"/>
                  <a:pt x="20" y="386"/>
                  <a:pt x="20" y="383"/>
                </a:cubicBezTo>
                <a:cubicBezTo>
                  <a:pt x="20" y="380"/>
                  <a:pt x="21" y="380"/>
                  <a:pt x="22" y="377"/>
                </a:cubicBezTo>
                <a:cubicBezTo>
                  <a:pt x="23" y="374"/>
                  <a:pt x="22" y="373"/>
                  <a:pt x="21" y="369"/>
                </a:cubicBezTo>
                <a:cubicBezTo>
                  <a:pt x="19" y="365"/>
                  <a:pt x="25" y="365"/>
                  <a:pt x="27" y="363"/>
                </a:cubicBezTo>
                <a:cubicBezTo>
                  <a:pt x="29" y="362"/>
                  <a:pt x="29" y="360"/>
                  <a:pt x="28" y="357"/>
                </a:cubicBezTo>
                <a:cubicBezTo>
                  <a:pt x="28" y="354"/>
                  <a:pt x="27" y="353"/>
                  <a:pt x="29" y="351"/>
                </a:cubicBezTo>
                <a:cubicBezTo>
                  <a:pt x="31" y="349"/>
                  <a:pt x="32" y="347"/>
                  <a:pt x="32" y="347"/>
                </a:cubicBezTo>
                <a:cubicBezTo>
                  <a:pt x="32" y="347"/>
                  <a:pt x="32" y="346"/>
                  <a:pt x="32" y="344"/>
                </a:cubicBezTo>
                <a:cubicBezTo>
                  <a:pt x="32" y="342"/>
                  <a:pt x="32" y="339"/>
                  <a:pt x="33" y="336"/>
                </a:cubicBezTo>
                <a:cubicBezTo>
                  <a:pt x="34" y="332"/>
                  <a:pt x="34" y="332"/>
                  <a:pt x="33" y="329"/>
                </a:cubicBezTo>
                <a:cubicBezTo>
                  <a:pt x="32" y="327"/>
                  <a:pt x="31" y="325"/>
                  <a:pt x="32" y="324"/>
                </a:cubicBezTo>
                <a:cubicBezTo>
                  <a:pt x="33" y="323"/>
                  <a:pt x="33" y="321"/>
                  <a:pt x="35" y="320"/>
                </a:cubicBezTo>
                <a:cubicBezTo>
                  <a:pt x="37" y="320"/>
                  <a:pt x="34" y="318"/>
                  <a:pt x="34" y="317"/>
                </a:cubicBezTo>
                <a:cubicBezTo>
                  <a:pt x="34" y="315"/>
                  <a:pt x="34" y="313"/>
                  <a:pt x="36" y="311"/>
                </a:cubicBezTo>
                <a:cubicBezTo>
                  <a:pt x="37" y="310"/>
                  <a:pt x="35" y="308"/>
                  <a:pt x="35" y="305"/>
                </a:cubicBezTo>
                <a:cubicBezTo>
                  <a:pt x="35" y="302"/>
                  <a:pt x="34" y="301"/>
                  <a:pt x="34" y="299"/>
                </a:cubicBezTo>
                <a:cubicBezTo>
                  <a:pt x="35" y="297"/>
                  <a:pt x="32" y="295"/>
                  <a:pt x="31" y="293"/>
                </a:cubicBezTo>
                <a:cubicBezTo>
                  <a:pt x="30" y="290"/>
                  <a:pt x="34" y="287"/>
                  <a:pt x="34" y="283"/>
                </a:cubicBezTo>
                <a:cubicBezTo>
                  <a:pt x="35" y="280"/>
                  <a:pt x="34" y="279"/>
                  <a:pt x="34" y="276"/>
                </a:cubicBezTo>
                <a:cubicBezTo>
                  <a:pt x="34" y="273"/>
                  <a:pt x="34" y="274"/>
                  <a:pt x="32" y="273"/>
                </a:cubicBezTo>
                <a:cubicBezTo>
                  <a:pt x="30" y="271"/>
                  <a:pt x="32" y="268"/>
                  <a:pt x="32" y="265"/>
                </a:cubicBezTo>
                <a:cubicBezTo>
                  <a:pt x="32" y="261"/>
                  <a:pt x="28" y="259"/>
                  <a:pt x="31" y="256"/>
                </a:cubicBezTo>
                <a:cubicBezTo>
                  <a:pt x="33" y="254"/>
                  <a:pt x="33" y="253"/>
                  <a:pt x="33" y="250"/>
                </a:cubicBezTo>
                <a:cubicBezTo>
                  <a:pt x="34" y="247"/>
                  <a:pt x="34" y="240"/>
                  <a:pt x="36" y="237"/>
                </a:cubicBezTo>
                <a:cubicBezTo>
                  <a:pt x="39" y="234"/>
                  <a:pt x="39" y="237"/>
                  <a:pt x="39" y="234"/>
                </a:cubicBezTo>
                <a:cubicBezTo>
                  <a:pt x="39" y="231"/>
                  <a:pt x="36" y="230"/>
                  <a:pt x="37" y="227"/>
                </a:cubicBezTo>
                <a:cubicBezTo>
                  <a:pt x="37" y="224"/>
                  <a:pt x="38" y="222"/>
                  <a:pt x="37" y="219"/>
                </a:cubicBezTo>
                <a:cubicBezTo>
                  <a:pt x="37" y="216"/>
                  <a:pt x="41" y="213"/>
                  <a:pt x="41" y="213"/>
                </a:cubicBezTo>
                <a:cubicBezTo>
                  <a:pt x="41" y="213"/>
                  <a:pt x="44" y="213"/>
                  <a:pt x="45" y="211"/>
                </a:cubicBezTo>
                <a:cubicBezTo>
                  <a:pt x="46" y="209"/>
                  <a:pt x="45" y="208"/>
                  <a:pt x="44" y="205"/>
                </a:cubicBezTo>
                <a:cubicBezTo>
                  <a:pt x="44" y="202"/>
                  <a:pt x="43" y="201"/>
                  <a:pt x="45" y="198"/>
                </a:cubicBezTo>
                <a:cubicBezTo>
                  <a:pt x="46" y="195"/>
                  <a:pt x="49" y="189"/>
                  <a:pt x="49" y="185"/>
                </a:cubicBezTo>
                <a:cubicBezTo>
                  <a:pt x="49" y="181"/>
                  <a:pt x="49" y="180"/>
                  <a:pt x="48" y="177"/>
                </a:cubicBezTo>
                <a:cubicBezTo>
                  <a:pt x="47" y="174"/>
                  <a:pt x="48" y="173"/>
                  <a:pt x="49" y="170"/>
                </a:cubicBezTo>
                <a:cubicBezTo>
                  <a:pt x="51" y="167"/>
                  <a:pt x="50" y="166"/>
                  <a:pt x="50" y="162"/>
                </a:cubicBezTo>
                <a:cubicBezTo>
                  <a:pt x="49" y="158"/>
                  <a:pt x="50" y="158"/>
                  <a:pt x="50" y="152"/>
                </a:cubicBezTo>
                <a:cubicBezTo>
                  <a:pt x="50" y="147"/>
                  <a:pt x="51" y="148"/>
                  <a:pt x="52" y="145"/>
                </a:cubicBezTo>
                <a:cubicBezTo>
                  <a:pt x="54" y="142"/>
                  <a:pt x="52" y="140"/>
                  <a:pt x="52" y="136"/>
                </a:cubicBezTo>
                <a:cubicBezTo>
                  <a:pt x="52" y="132"/>
                  <a:pt x="53" y="130"/>
                  <a:pt x="54" y="124"/>
                </a:cubicBezTo>
                <a:cubicBezTo>
                  <a:pt x="54" y="118"/>
                  <a:pt x="57" y="120"/>
                  <a:pt x="59" y="115"/>
                </a:cubicBezTo>
                <a:cubicBezTo>
                  <a:pt x="60" y="111"/>
                  <a:pt x="61" y="111"/>
                  <a:pt x="62" y="108"/>
                </a:cubicBezTo>
                <a:cubicBezTo>
                  <a:pt x="63" y="105"/>
                  <a:pt x="64" y="104"/>
                  <a:pt x="63" y="100"/>
                </a:cubicBezTo>
                <a:cubicBezTo>
                  <a:pt x="63" y="97"/>
                  <a:pt x="62" y="96"/>
                  <a:pt x="64" y="95"/>
                </a:cubicBezTo>
                <a:cubicBezTo>
                  <a:pt x="67" y="93"/>
                  <a:pt x="63" y="91"/>
                  <a:pt x="63" y="88"/>
                </a:cubicBezTo>
                <a:cubicBezTo>
                  <a:pt x="63" y="85"/>
                  <a:pt x="63" y="80"/>
                  <a:pt x="63" y="77"/>
                </a:cubicBezTo>
                <a:cubicBezTo>
                  <a:pt x="63" y="75"/>
                  <a:pt x="68" y="75"/>
                  <a:pt x="69" y="72"/>
                </a:cubicBezTo>
                <a:cubicBezTo>
                  <a:pt x="70" y="69"/>
                  <a:pt x="74" y="70"/>
                  <a:pt x="75" y="67"/>
                </a:cubicBezTo>
                <a:cubicBezTo>
                  <a:pt x="76" y="64"/>
                  <a:pt x="77" y="59"/>
                  <a:pt x="74" y="58"/>
                </a:cubicBezTo>
                <a:cubicBezTo>
                  <a:pt x="70" y="57"/>
                  <a:pt x="71" y="51"/>
                  <a:pt x="71" y="51"/>
                </a:cubicBezTo>
                <a:close/>
                <a:moveTo>
                  <a:pt x="71" y="446"/>
                </a:moveTo>
                <a:cubicBezTo>
                  <a:pt x="67" y="446"/>
                  <a:pt x="61" y="445"/>
                  <a:pt x="66" y="444"/>
                </a:cubicBezTo>
                <a:cubicBezTo>
                  <a:pt x="63" y="444"/>
                  <a:pt x="60" y="445"/>
                  <a:pt x="60" y="445"/>
                </a:cubicBezTo>
                <a:cubicBezTo>
                  <a:pt x="58" y="416"/>
                  <a:pt x="58" y="416"/>
                  <a:pt x="58" y="416"/>
                </a:cubicBezTo>
                <a:cubicBezTo>
                  <a:pt x="58" y="416"/>
                  <a:pt x="55" y="417"/>
                  <a:pt x="55" y="418"/>
                </a:cubicBezTo>
                <a:cubicBezTo>
                  <a:pt x="54" y="416"/>
                  <a:pt x="54" y="416"/>
                  <a:pt x="53" y="415"/>
                </a:cubicBezTo>
                <a:cubicBezTo>
                  <a:pt x="52" y="416"/>
                  <a:pt x="49" y="418"/>
                  <a:pt x="49" y="418"/>
                </a:cubicBezTo>
                <a:cubicBezTo>
                  <a:pt x="47" y="419"/>
                  <a:pt x="46" y="417"/>
                  <a:pt x="45" y="417"/>
                </a:cubicBezTo>
                <a:cubicBezTo>
                  <a:pt x="44" y="417"/>
                  <a:pt x="44" y="418"/>
                  <a:pt x="42" y="418"/>
                </a:cubicBezTo>
                <a:cubicBezTo>
                  <a:pt x="43" y="425"/>
                  <a:pt x="38" y="427"/>
                  <a:pt x="49" y="427"/>
                </a:cubicBezTo>
                <a:cubicBezTo>
                  <a:pt x="47" y="429"/>
                  <a:pt x="46" y="430"/>
                  <a:pt x="43" y="430"/>
                </a:cubicBezTo>
                <a:cubicBezTo>
                  <a:pt x="44" y="432"/>
                  <a:pt x="43" y="435"/>
                  <a:pt x="45" y="436"/>
                </a:cubicBezTo>
                <a:cubicBezTo>
                  <a:pt x="45" y="436"/>
                  <a:pt x="47" y="435"/>
                  <a:pt x="48" y="436"/>
                </a:cubicBezTo>
                <a:cubicBezTo>
                  <a:pt x="49" y="436"/>
                  <a:pt x="51" y="439"/>
                  <a:pt x="53" y="440"/>
                </a:cubicBezTo>
                <a:cubicBezTo>
                  <a:pt x="52" y="439"/>
                  <a:pt x="51" y="440"/>
                  <a:pt x="50" y="440"/>
                </a:cubicBezTo>
                <a:cubicBezTo>
                  <a:pt x="50" y="440"/>
                  <a:pt x="49" y="438"/>
                  <a:pt x="49" y="438"/>
                </a:cubicBezTo>
                <a:cubicBezTo>
                  <a:pt x="44" y="439"/>
                  <a:pt x="45" y="438"/>
                  <a:pt x="44" y="441"/>
                </a:cubicBezTo>
                <a:cubicBezTo>
                  <a:pt x="42" y="440"/>
                  <a:pt x="42" y="440"/>
                  <a:pt x="42" y="440"/>
                </a:cubicBezTo>
                <a:cubicBezTo>
                  <a:pt x="42" y="439"/>
                  <a:pt x="43" y="440"/>
                  <a:pt x="43" y="438"/>
                </a:cubicBezTo>
                <a:cubicBezTo>
                  <a:pt x="41" y="436"/>
                  <a:pt x="41" y="436"/>
                  <a:pt x="41" y="436"/>
                </a:cubicBezTo>
                <a:cubicBezTo>
                  <a:pt x="41" y="434"/>
                  <a:pt x="42" y="434"/>
                  <a:pt x="41" y="432"/>
                </a:cubicBezTo>
                <a:cubicBezTo>
                  <a:pt x="41" y="432"/>
                  <a:pt x="39" y="431"/>
                  <a:pt x="39" y="431"/>
                </a:cubicBezTo>
                <a:cubicBezTo>
                  <a:pt x="39" y="432"/>
                  <a:pt x="38" y="435"/>
                  <a:pt x="37" y="436"/>
                </a:cubicBezTo>
                <a:cubicBezTo>
                  <a:pt x="37" y="434"/>
                  <a:pt x="37" y="434"/>
                  <a:pt x="37" y="434"/>
                </a:cubicBezTo>
                <a:cubicBezTo>
                  <a:pt x="36" y="435"/>
                  <a:pt x="34" y="435"/>
                  <a:pt x="34" y="435"/>
                </a:cubicBezTo>
                <a:cubicBezTo>
                  <a:pt x="34" y="435"/>
                  <a:pt x="34" y="432"/>
                  <a:pt x="34" y="432"/>
                </a:cubicBezTo>
                <a:cubicBezTo>
                  <a:pt x="33" y="432"/>
                  <a:pt x="32" y="433"/>
                  <a:pt x="31" y="432"/>
                </a:cubicBezTo>
                <a:cubicBezTo>
                  <a:pt x="31" y="436"/>
                  <a:pt x="30" y="439"/>
                  <a:pt x="36" y="438"/>
                </a:cubicBezTo>
                <a:cubicBezTo>
                  <a:pt x="38" y="436"/>
                  <a:pt x="38" y="436"/>
                  <a:pt x="38" y="436"/>
                </a:cubicBezTo>
                <a:cubicBezTo>
                  <a:pt x="39" y="436"/>
                  <a:pt x="39" y="439"/>
                  <a:pt x="39" y="440"/>
                </a:cubicBezTo>
                <a:cubicBezTo>
                  <a:pt x="35" y="440"/>
                  <a:pt x="33" y="440"/>
                  <a:pt x="30" y="441"/>
                </a:cubicBezTo>
                <a:cubicBezTo>
                  <a:pt x="31" y="442"/>
                  <a:pt x="29" y="442"/>
                  <a:pt x="29" y="442"/>
                </a:cubicBezTo>
                <a:cubicBezTo>
                  <a:pt x="30" y="442"/>
                  <a:pt x="29" y="444"/>
                  <a:pt x="29" y="444"/>
                </a:cubicBezTo>
                <a:cubicBezTo>
                  <a:pt x="30" y="444"/>
                  <a:pt x="31" y="444"/>
                  <a:pt x="31" y="444"/>
                </a:cubicBezTo>
                <a:cubicBezTo>
                  <a:pt x="32" y="444"/>
                  <a:pt x="29" y="442"/>
                  <a:pt x="34" y="442"/>
                </a:cubicBezTo>
                <a:cubicBezTo>
                  <a:pt x="34" y="444"/>
                  <a:pt x="34" y="444"/>
                  <a:pt x="34" y="444"/>
                </a:cubicBezTo>
                <a:cubicBezTo>
                  <a:pt x="36" y="444"/>
                  <a:pt x="38" y="443"/>
                  <a:pt x="39" y="444"/>
                </a:cubicBezTo>
                <a:cubicBezTo>
                  <a:pt x="39" y="444"/>
                  <a:pt x="39" y="446"/>
                  <a:pt x="39" y="446"/>
                </a:cubicBezTo>
                <a:cubicBezTo>
                  <a:pt x="41" y="446"/>
                  <a:pt x="44" y="445"/>
                  <a:pt x="45" y="445"/>
                </a:cubicBezTo>
                <a:cubicBezTo>
                  <a:pt x="47" y="445"/>
                  <a:pt x="48" y="447"/>
                  <a:pt x="45" y="447"/>
                </a:cubicBezTo>
                <a:cubicBezTo>
                  <a:pt x="45" y="447"/>
                  <a:pt x="46" y="448"/>
                  <a:pt x="46" y="448"/>
                </a:cubicBezTo>
                <a:cubicBezTo>
                  <a:pt x="49" y="448"/>
                  <a:pt x="50" y="449"/>
                  <a:pt x="53" y="448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56" y="446"/>
                  <a:pt x="59" y="446"/>
                  <a:pt x="62" y="445"/>
                </a:cubicBezTo>
                <a:cubicBezTo>
                  <a:pt x="63" y="447"/>
                  <a:pt x="62" y="448"/>
                  <a:pt x="63" y="449"/>
                </a:cubicBezTo>
                <a:cubicBezTo>
                  <a:pt x="63" y="449"/>
                  <a:pt x="66" y="450"/>
                  <a:pt x="66" y="450"/>
                </a:cubicBezTo>
                <a:cubicBezTo>
                  <a:pt x="66" y="451"/>
                  <a:pt x="66" y="453"/>
                  <a:pt x="66" y="453"/>
                </a:cubicBezTo>
                <a:cubicBezTo>
                  <a:pt x="70" y="450"/>
                  <a:pt x="70" y="450"/>
                  <a:pt x="72" y="446"/>
                </a:cubicBezTo>
                <a:cubicBezTo>
                  <a:pt x="71" y="445"/>
                  <a:pt x="71" y="445"/>
                  <a:pt x="71" y="445"/>
                </a:cubicBezTo>
                <a:lnTo>
                  <a:pt x="71" y="446"/>
                </a:lnTo>
                <a:close/>
                <a:moveTo>
                  <a:pt x="7" y="340"/>
                </a:moveTo>
                <a:cubicBezTo>
                  <a:pt x="8" y="340"/>
                  <a:pt x="6" y="341"/>
                  <a:pt x="6" y="341"/>
                </a:cubicBezTo>
                <a:cubicBezTo>
                  <a:pt x="6" y="341"/>
                  <a:pt x="6" y="339"/>
                  <a:pt x="7" y="340"/>
                </a:cubicBezTo>
                <a:close/>
                <a:moveTo>
                  <a:pt x="65" y="460"/>
                </a:moveTo>
                <a:cubicBezTo>
                  <a:pt x="65" y="460"/>
                  <a:pt x="65" y="461"/>
                  <a:pt x="65" y="461"/>
                </a:cubicBezTo>
                <a:cubicBezTo>
                  <a:pt x="67" y="461"/>
                  <a:pt x="67" y="460"/>
                  <a:pt x="65" y="460"/>
                </a:cubicBezTo>
                <a:close/>
                <a:moveTo>
                  <a:pt x="67" y="456"/>
                </a:moveTo>
                <a:cubicBezTo>
                  <a:pt x="67" y="458"/>
                  <a:pt x="67" y="458"/>
                  <a:pt x="67" y="458"/>
                </a:cubicBezTo>
                <a:cubicBezTo>
                  <a:pt x="72" y="458"/>
                  <a:pt x="68" y="457"/>
                  <a:pt x="67" y="456"/>
                </a:cubicBezTo>
                <a:close/>
                <a:moveTo>
                  <a:pt x="59" y="454"/>
                </a:moveTo>
                <a:cubicBezTo>
                  <a:pt x="60" y="455"/>
                  <a:pt x="59" y="456"/>
                  <a:pt x="60" y="458"/>
                </a:cubicBezTo>
                <a:cubicBezTo>
                  <a:pt x="61" y="457"/>
                  <a:pt x="62" y="458"/>
                  <a:pt x="63" y="458"/>
                </a:cubicBezTo>
                <a:cubicBezTo>
                  <a:pt x="63" y="458"/>
                  <a:pt x="62" y="454"/>
                  <a:pt x="62" y="454"/>
                </a:cubicBezTo>
                <a:cubicBezTo>
                  <a:pt x="60" y="454"/>
                  <a:pt x="60" y="454"/>
                  <a:pt x="59" y="454"/>
                </a:cubicBezTo>
                <a:close/>
                <a:moveTo>
                  <a:pt x="58" y="447"/>
                </a:moveTo>
                <a:cubicBezTo>
                  <a:pt x="56" y="447"/>
                  <a:pt x="53" y="449"/>
                  <a:pt x="52" y="450"/>
                </a:cubicBezTo>
                <a:cubicBezTo>
                  <a:pt x="51" y="450"/>
                  <a:pt x="49" y="450"/>
                  <a:pt x="47" y="450"/>
                </a:cubicBezTo>
                <a:cubicBezTo>
                  <a:pt x="47" y="450"/>
                  <a:pt x="45" y="451"/>
                  <a:pt x="45" y="451"/>
                </a:cubicBezTo>
                <a:cubicBezTo>
                  <a:pt x="46" y="452"/>
                  <a:pt x="46" y="452"/>
                  <a:pt x="46" y="453"/>
                </a:cubicBezTo>
                <a:cubicBezTo>
                  <a:pt x="48" y="454"/>
                  <a:pt x="50" y="454"/>
                  <a:pt x="52" y="454"/>
                </a:cubicBezTo>
                <a:cubicBezTo>
                  <a:pt x="52" y="454"/>
                  <a:pt x="53" y="456"/>
                  <a:pt x="53" y="456"/>
                </a:cubicBezTo>
                <a:cubicBezTo>
                  <a:pt x="53" y="455"/>
                  <a:pt x="54" y="455"/>
                  <a:pt x="55" y="455"/>
                </a:cubicBezTo>
                <a:cubicBezTo>
                  <a:pt x="55" y="454"/>
                  <a:pt x="54" y="454"/>
                  <a:pt x="54" y="454"/>
                </a:cubicBezTo>
                <a:cubicBezTo>
                  <a:pt x="54" y="452"/>
                  <a:pt x="54" y="452"/>
                  <a:pt x="54" y="452"/>
                </a:cubicBezTo>
                <a:cubicBezTo>
                  <a:pt x="57" y="452"/>
                  <a:pt x="59" y="452"/>
                  <a:pt x="61" y="452"/>
                </a:cubicBezTo>
                <a:cubicBezTo>
                  <a:pt x="61" y="451"/>
                  <a:pt x="62" y="451"/>
                  <a:pt x="61" y="450"/>
                </a:cubicBezTo>
                <a:cubicBezTo>
                  <a:pt x="59" y="449"/>
                  <a:pt x="64" y="447"/>
                  <a:pt x="58" y="447"/>
                </a:cubicBezTo>
                <a:close/>
                <a:moveTo>
                  <a:pt x="39" y="447"/>
                </a:moveTo>
                <a:cubicBezTo>
                  <a:pt x="38" y="448"/>
                  <a:pt x="37" y="448"/>
                  <a:pt x="37" y="448"/>
                </a:cubicBezTo>
                <a:cubicBezTo>
                  <a:pt x="37" y="448"/>
                  <a:pt x="38" y="449"/>
                  <a:pt x="37" y="450"/>
                </a:cubicBezTo>
                <a:cubicBezTo>
                  <a:pt x="39" y="450"/>
                  <a:pt x="41" y="450"/>
                  <a:pt x="41" y="450"/>
                </a:cubicBezTo>
                <a:cubicBezTo>
                  <a:pt x="42" y="450"/>
                  <a:pt x="41" y="449"/>
                  <a:pt x="41" y="448"/>
                </a:cubicBezTo>
                <a:cubicBezTo>
                  <a:pt x="43" y="449"/>
                  <a:pt x="43" y="447"/>
                  <a:pt x="43" y="447"/>
                </a:cubicBezTo>
                <a:cubicBezTo>
                  <a:pt x="42" y="447"/>
                  <a:pt x="40" y="447"/>
                  <a:pt x="39" y="447"/>
                </a:cubicBezTo>
                <a:close/>
                <a:moveTo>
                  <a:pt x="35" y="445"/>
                </a:moveTo>
                <a:cubicBezTo>
                  <a:pt x="34" y="446"/>
                  <a:pt x="34" y="446"/>
                  <a:pt x="34" y="446"/>
                </a:cubicBezTo>
                <a:cubicBezTo>
                  <a:pt x="32" y="448"/>
                  <a:pt x="37" y="446"/>
                  <a:pt x="36" y="446"/>
                </a:cubicBezTo>
                <a:cubicBezTo>
                  <a:pt x="36" y="445"/>
                  <a:pt x="36" y="445"/>
                  <a:pt x="35" y="445"/>
                </a:cubicBezTo>
                <a:close/>
                <a:moveTo>
                  <a:pt x="27" y="418"/>
                </a:moveTo>
                <a:cubicBezTo>
                  <a:pt x="29" y="418"/>
                  <a:pt x="29" y="422"/>
                  <a:pt x="27" y="422"/>
                </a:cubicBezTo>
                <a:cubicBezTo>
                  <a:pt x="23" y="424"/>
                  <a:pt x="26" y="419"/>
                  <a:pt x="27" y="418"/>
                </a:cubicBezTo>
                <a:close/>
                <a:moveTo>
                  <a:pt x="35" y="418"/>
                </a:moveTo>
                <a:cubicBezTo>
                  <a:pt x="36" y="419"/>
                  <a:pt x="37" y="419"/>
                  <a:pt x="37" y="419"/>
                </a:cubicBezTo>
                <a:cubicBezTo>
                  <a:pt x="37" y="420"/>
                  <a:pt x="38" y="420"/>
                  <a:pt x="37" y="421"/>
                </a:cubicBezTo>
                <a:cubicBezTo>
                  <a:pt x="37" y="421"/>
                  <a:pt x="34" y="424"/>
                  <a:pt x="34" y="424"/>
                </a:cubicBezTo>
                <a:cubicBezTo>
                  <a:pt x="29" y="426"/>
                  <a:pt x="35" y="418"/>
                  <a:pt x="35" y="418"/>
                </a:cubicBezTo>
                <a:close/>
                <a:moveTo>
                  <a:pt x="31" y="416"/>
                </a:moveTo>
                <a:cubicBezTo>
                  <a:pt x="33" y="416"/>
                  <a:pt x="36" y="418"/>
                  <a:pt x="32" y="417"/>
                </a:cubicBezTo>
                <a:cubicBezTo>
                  <a:pt x="32" y="417"/>
                  <a:pt x="29" y="415"/>
                  <a:pt x="31" y="416"/>
                </a:cubicBezTo>
                <a:close/>
                <a:moveTo>
                  <a:pt x="6" y="392"/>
                </a:moveTo>
                <a:cubicBezTo>
                  <a:pt x="6" y="393"/>
                  <a:pt x="7" y="393"/>
                  <a:pt x="6" y="395"/>
                </a:cubicBezTo>
                <a:cubicBezTo>
                  <a:pt x="6" y="395"/>
                  <a:pt x="4" y="397"/>
                  <a:pt x="4" y="398"/>
                </a:cubicBezTo>
                <a:cubicBezTo>
                  <a:pt x="4" y="398"/>
                  <a:pt x="5" y="401"/>
                  <a:pt x="5" y="400"/>
                </a:cubicBezTo>
                <a:cubicBezTo>
                  <a:pt x="5" y="400"/>
                  <a:pt x="5" y="403"/>
                  <a:pt x="5" y="404"/>
                </a:cubicBezTo>
                <a:cubicBezTo>
                  <a:pt x="5" y="404"/>
                  <a:pt x="7" y="404"/>
                  <a:pt x="7" y="404"/>
                </a:cubicBezTo>
                <a:cubicBezTo>
                  <a:pt x="7" y="402"/>
                  <a:pt x="7" y="402"/>
                  <a:pt x="7" y="402"/>
                </a:cubicBezTo>
                <a:cubicBezTo>
                  <a:pt x="8" y="402"/>
                  <a:pt x="9" y="403"/>
                  <a:pt x="10" y="402"/>
                </a:cubicBezTo>
                <a:cubicBezTo>
                  <a:pt x="10" y="402"/>
                  <a:pt x="11" y="400"/>
                  <a:pt x="9" y="400"/>
                </a:cubicBezTo>
                <a:cubicBezTo>
                  <a:pt x="9" y="400"/>
                  <a:pt x="9" y="398"/>
                  <a:pt x="9" y="398"/>
                </a:cubicBezTo>
                <a:cubicBezTo>
                  <a:pt x="9" y="398"/>
                  <a:pt x="12" y="398"/>
                  <a:pt x="11" y="398"/>
                </a:cubicBezTo>
                <a:cubicBezTo>
                  <a:pt x="12" y="398"/>
                  <a:pt x="11" y="400"/>
                  <a:pt x="11" y="400"/>
                </a:cubicBezTo>
                <a:cubicBezTo>
                  <a:pt x="13" y="399"/>
                  <a:pt x="12" y="396"/>
                  <a:pt x="12" y="396"/>
                </a:cubicBezTo>
                <a:cubicBezTo>
                  <a:pt x="11" y="396"/>
                  <a:pt x="11" y="396"/>
                  <a:pt x="11" y="396"/>
                </a:cubicBezTo>
                <a:cubicBezTo>
                  <a:pt x="11" y="396"/>
                  <a:pt x="9" y="392"/>
                  <a:pt x="8" y="392"/>
                </a:cubicBezTo>
                <a:cubicBezTo>
                  <a:pt x="7" y="392"/>
                  <a:pt x="7" y="392"/>
                  <a:pt x="6" y="392"/>
                </a:cubicBezTo>
                <a:close/>
                <a:moveTo>
                  <a:pt x="2" y="391"/>
                </a:moveTo>
                <a:cubicBezTo>
                  <a:pt x="2" y="391"/>
                  <a:pt x="1" y="393"/>
                  <a:pt x="1" y="393"/>
                </a:cubicBezTo>
                <a:cubicBezTo>
                  <a:pt x="1" y="393"/>
                  <a:pt x="2" y="393"/>
                  <a:pt x="4" y="393"/>
                </a:cubicBezTo>
                <a:cubicBezTo>
                  <a:pt x="3" y="393"/>
                  <a:pt x="3" y="391"/>
                  <a:pt x="2" y="391"/>
                </a:cubicBezTo>
                <a:close/>
                <a:moveTo>
                  <a:pt x="9" y="389"/>
                </a:moveTo>
                <a:cubicBezTo>
                  <a:pt x="10" y="390"/>
                  <a:pt x="9" y="390"/>
                  <a:pt x="9" y="391"/>
                </a:cubicBezTo>
                <a:cubicBezTo>
                  <a:pt x="10" y="393"/>
                  <a:pt x="16" y="395"/>
                  <a:pt x="13" y="393"/>
                </a:cubicBezTo>
                <a:cubicBezTo>
                  <a:pt x="12" y="391"/>
                  <a:pt x="11" y="390"/>
                  <a:pt x="9" y="389"/>
                </a:cubicBezTo>
                <a:close/>
                <a:moveTo>
                  <a:pt x="4" y="385"/>
                </a:moveTo>
                <a:cubicBezTo>
                  <a:pt x="4" y="385"/>
                  <a:pt x="2" y="386"/>
                  <a:pt x="2" y="387"/>
                </a:cubicBezTo>
                <a:cubicBezTo>
                  <a:pt x="1" y="388"/>
                  <a:pt x="2" y="388"/>
                  <a:pt x="2" y="389"/>
                </a:cubicBezTo>
                <a:cubicBezTo>
                  <a:pt x="3" y="389"/>
                  <a:pt x="3" y="389"/>
                  <a:pt x="3" y="389"/>
                </a:cubicBezTo>
                <a:cubicBezTo>
                  <a:pt x="3" y="389"/>
                  <a:pt x="3" y="389"/>
                  <a:pt x="3" y="389"/>
                </a:cubicBezTo>
                <a:cubicBezTo>
                  <a:pt x="3" y="389"/>
                  <a:pt x="4" y="389"/>
                  <a:pt x="5" y="390"/>
                </a:cubicBezTo>
                <a:cubicBezTo>
                  <a:pt x="6" y="389"/>
                  <a:pt x="6" y="388"/>
                  <a:pt x="7" y="387"/>
                </a:cubicBezTo>
                <a:cubicBezTo>
                  <a:pt x="7" y="386"/>
                  <a:pt x="5" y="385"/>
                  <a:pt x="4" y="385"/>
                </a:cubicBezTo>
                <a:close/>
                <a:moveTo>
                  <a:pt x="4" y="358"/>
                </a:moveTo>
                <a:cubicBezTo>
                  <a:pt x="4" y="359"/>
                  <a:pt x="4" y="361"/>
                  <a:pt x="4" y="363"/>
                </a:cubicBezTo>
                <a:cubicBezTo>
                  <a:pt x="2" y="363"/>
                  <a:pt x="3" y="362"/>
                  <a:pt x="3" y="361"/>
                </a:cubicBezTo>
                <a:cubicBezTo>
                  <a:pt x="3" y="361"/>
                  <a:pt x="0" y="362"/>
                  <a:pt x="2" y="363"/>
                </a:cubicBezTo>
                <a:cubicBezTo>
                  <a:pt x="0" y="366"/>
                  <a:pt x="0" y="366"/>
                  <a:pt x="0" y="366"/>
                </a:cubicBezTo>
                <a:cubicBezTo>
                  <a:pt x="0" y="368"/>
                  <a:pt x="1" y="369"/>
                  <a:pt x="2" y="370"/>
                </a:cubicBezTo>
                <a:cubicBezTo>
                  <a:pt x="2" y="370"/>
                  <a:pt x="1" y="368"/>
                  <a:pt x="2" y="369"/>
                </a:cubicBezTo>
                <a:cubicBezTo>
                  <a:pt x="2" y="369"/>
                  <a:pt x="2" y="373"/>
                  <a:pt x="2" y="372"/>
                </a:cubicBezTo>
                <a:cubicBezTo>
                  <a:pt x="2" y="373"/>
                  <a:pt x="2" y="373"/>
                  <a:pt x="2" y="373"/>
                </a:cubicBezTo>
                <a:cubicBezTo>
                  <a:pt x="3" y="374"/>
                  <a:pt x="3" y="373"/>
                  <a:pt x="4" y="375"/>
                </a:cubicBezTo>
                <a:cubicBezTo>
                  <a:pt x="3" y="375"/>
                  <a:pt x="2" y="377"/>
                  <a:pt x="2" y="377"/>
                </a:cubicBezTo>
                <a:cubicBezTo>
                  <a:pt x="1" y="377"/>
                  <a:pt x="1" y="377"/>
                  <a:pt x="1" y="377"/>
                </a:cubicBezTo>
                <a:cubicBezTo>
                  <a:pt x="0" y="381"/>
                  <a:pt x="2" y="382"/>
                  <a:pt x="4" y="384"/>
                </a:cubicBezTo>
                <a:cubicBezTo>
                  <a:pt x="3" y="384"/>
                  <a:pt x="5" y="383"/>
                  <a:pt x="5" y="383"/>
                </a:cubicBezTo>
                <a:cubicBezTo>
                  <a:pt x="6" y="383"/>
                  <a:pt x="6" y="383"/>
                  <a:pt x="6" y="383"/>
                </a:cubicBezTo>
                <a:cubicBezTo>
                  <a:pt x="6" y="383"/>
                  <a:pt x="7" y="384"/>
                  <a:pt x="7" y="385"/>
                </a:cubicBezTo>
                <a:cubicBezTo>
                  <a:pt x="9" y="385"/>
                  <a:pt x="8" y="383"/>
                  <a:pt x="9" y="384"/>
                </a:cubicBezTo>
                <a:cubicBezTo>
                  <a:pt x="10" y="381"/>
                  <a:pt x="11" y="377"/>
                  <a:pt x="11" y="375"/>
                </a:cubicBezTo>
                <a:cubicBezTo>
                  <a:pt x="12" y="370"/>
                  <a:pt x="10" y="363"/>
                  <a:pt x="9" y="358"/>
                </a:cubicBezTo>
                <a:cubicBezTo>
                  <a:pt x="7" y="358"/>
                  <a:pt x="6" y="358"/>
                  <a:pt x="4" y="358"/>
                </a:cubicBezTo>
                <a:close/>
                <a:moveTo>
                  <a:pt x="15" y="319"/>
                </a:moveTo>
                <a:cubicBezTo>
                  <a:pt x="15" y="319"/>
                  <a:pt x="14" y="321"/>
                  <a:pt x="14" y="321"/>
                </a:cubicBezTo>
                <a:cubicBezTo>
                  <a:pt x="13" y="321"/>
                  <a:pt x="13" y="320"/>
                  <a:pt x="12" y="320"/>
                </a:cubicBezTo>
                <a:cubicBezTo>
                  <a:pt x="12" y="321"/>
                  <a:pt x="11" y="321"/>
                  <a:pt x="10" y="322"/>
                </a:cubicBezTo>
                <a:cubicBezTo>
                  <a:pt x="11" y="323"/>
                  <a:pt x="10" y="324"/>
                  <a:pt x="11" y="325"/>
                </a:cubicBezTo>
                <a:cubicBezTo>
                  <a:pt x="11" y="326"/>
                  <a:pt x="13" y="326"/>
                  <a:pt x="13" y="327"/>
                </a:cubicBezTo>
                <a:cubicBezTo>
                  <a:pt x="12" y="328"/>
                  <a:pt x="11" y="328"/>
                  <a:pt x="9" y="329"/>
                </a:cubicBezTo>
                <a:cubicBezTo>
                  <a:pt x="9" y="329"/>
                  <a:pt x="10" y="331"/>
                  <a:pt x="9" y="331"/>
                </a:cubicBezTo>
                <a:cubicBezTo>
                  <a:pt x="10" y="331"/>
                  <a:pt x="10" y="331"/>
                  <a:pt x="11" y="331"/>
                </a:cubicBezTo>
                <a:cubicBezTo>
                  <a:pt x="11" y="331"/>
                  <a:pt x="12" y="329"/>
                  <a:pt x="12" y="329"/>
                </a:cubicBezTo>
                <a:cubicBezTo>
                  <a:pt x="15" y="328"/>
                  <a:pt x="16" y="329"/>
                  <a:pt x="18" y="328"/>
                </a:cubicBezTo>
                <a:cubicBezTo>
                  <a:pt x="18" y="327"/>
                  <a:pt x="18" y="327"/>
                  <a:pt x="18" y="327"/>
                </a:cubicBezTo>
                <a:cubicBezTo>
                  <a:pt x="17" y="326"/>
                  <a:pt x="16" y="326"/>
                  <a:pt x="14" y="326"/>
                </a:cubicBezTo>
                <a:cubicBezTo>
                  <a:pt x="14" y="326"/>
                  <a:pt x="14" y="324"/>
                  <a:pt x="14" y="324"/>
                </a:cubicBezTo>
                <a:cubicBezTo>
                  <a:pt x="16" y="324"/>
                  <a:pt x="16" y="324"/>
                  <a:pt x="17" y="323"/>
                </a:cubicBezTo>
                <a:cubicBezTo>
                  <a:pt x="17" y="321"/>
                  <a:pt x="17" y="321"/>
                  <a:pt x="17" y="319"/>
                </a:cubicBezTo>
                <a:lnTo>
                  <a:pt x="15" y="319"/>
                </a:lnTo>
                <a:close/>
                <a:moveTo>
                  <a:pt x="15" y="315"/>
                </a:moveTo>
                <a:cubicBezTo>
                  <a:pt x="15" y="316"/>
                  <a:pt x="15" y="317"/>
                  <a:pt x="16" y="317"/>
                </a:cubicBezTo>
                <a:cubicBezTo>
                  <a:pt x="16" y="316"/>
                  <a:pt x="17" y="315"/>
                  <a:pt x="15" y="315"/>
                </a:cubicBezTo>
                <a:close/>
                <a:moveTo>
                  <a:pt x="13" y="312"/>
                </a:moveTo>
                <a:cubicBezTo>
                  <a:pt x="13" y="314"/>
                  <a:pt x="13" y="314"/>
                  <a:pt x="13" y="314"/>
                </a:cubicBezTo>
                <a:cubicBezTo>
                  <a:pt x="13" y="314"/>
                  <a:pt x="14" y="314"/>
                  <a:pt x="15" y="315"/>
                </a:cubicBezTo>
                <a:cubicBezTo>
                  <a:pt x="14" y="314"/>
                  <a:pt x="15" y="312"/>
                  <a:pt x="13" y="312"/>
                </a:cubicBezTo>
                <a:close/>
                <a:moveTo>
                  <a:pt x="13" y="308"/>
                </a:moveTo>
                <a:cubicBezTo>
                  <a:pt x="13" y="308"/>
                  <a:pt x="13" y="310"/>
                  <a:pt x="13" y="311"/>
                </a:cubicBezTo>
                <a:cubicBezTo>
                  <a:pt x="13" y="310"/>
                  <a:pt x="14" y="311"/>
                  <a:pt x="14" y="311"/>
                </a:cubicBezTo>
                <a:cubicBezTo>
                  <a:pt x="14" y="311"/>
                  <a:pt x="15" y="308"/>
                  <a:pt x="13" y="308"/>
                </a:cubicBezTo>
                <a:close/>
                <a:moveTo>
                  <a:pt x="19" y="279"/>
                </a:moveTo>
                <a:cubicBezTo>
                  <a:pt x="18" y="281"/>
                  <a:pt x="18" y="281"/>
                  <a:pt x="18" y="281"/>
                </a:cubicBezTo>
                <a:cubicBezTo>
                  <a:pt x="17" y="281"/>
                  <a:pt x="17" y="280"/>
                  <a:pt x="15" y="280"/>
                </a:cubicBezTo>
                <a:cubicBezTo>
                  <a:pt x="15" y="287"/>
                  <a:pt x="15" y="292"/>
                  <a:pt x="14" y="299"/>
                </a:cubicBezTo>
                <a:cubicBezTo>
                  <a:pt x="15" y="299"/>
                  <a:pt x="15" y="298"/>
                  <a:pt x="15" y="299"/>
                </a:cubicBezTo>
                <a:cubicBezTo>
                  <a:pt x="16" y="299"/>
                  <a:pt x="18" y="299"/>
                  <a:pt x="18" y="299"/>
                </a:cubicBezTo>
                <a:cubicBezTo>
                  <a:pt x="19" y="299"/>
                  <a:pt x="20" y="298"/>
                  <a:pt x="20" y="297"/>
                </a:cubicBezTo>
                <a:cubicBezTo>
                  <a:pt x="20" y="297"/>
                  <a:pt x="20" y="295"/>
                  <a:pt x="20" y="295"/>
                </a:cubicBezTo>
                <a:cubicBezTo>
                  <a:pt x="21" y="295"/>
                  <a:pt x="21" y="295"/>
                  <a:pt x="21" y="295"/>
                </a:cubicBezTo>
                <a:cubicBezTo>
                  <a:pt x="22" y="291"/>
                  <a:pt x="19" y="292"/>
                  <a:pt x="22" y="289"/>
                </a:cubicBezTo>
                <a:cubicBezTo>
                  <a:pt x="22" y="289"/>
                  <a:pt x="20" y="289"/>
                  <a:pt x="19" y="289"/>
                </a:cubicBezTo>
                <a:cubicBezTo>
                  <a:pt x="20" y="287"/>
                  <a:pt x="19" y="287"/>
                  <a:pt x="20" y="285"/>
                </a:cubicBezTo>
                <a:cubicBezTo>
                  <a:pt x="21" y="285"/>
                  <a:pt x="21" y="285"/>
                  <a:pt x="21" y="285"/>
                </a:cubicBezTo>
                <a:cubicBezTo>
                  <a:pt x="22" y="283"/>
                  <a:pt x="21" y="282"/>
                  <a:pt x="21" y="280"/>
                </a:cubicBezTo>
                <a:lnTo>
                  <a:pt x="19" y="279"/>
                </a:lnTo>
                <a:close/>
              </a:path>
            </a:pathLst>
          </a:custGeom>
          <a:solidFill>
            <a:srgbClr val="A5A5A5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8" name="Google Shape;578;p102"/>
          <p:cNvSpPr/>
          <p:nvPr/>
        </p:nvSpPr>
        <p:spPr>
          <a:xfrm>
            <a:off x="6583947" y="3997632"/>
            <a:ext cx="261165" cy="492210"/>
          </a:xfrm>
          <a:custGeom>
            <a:avLst/>
            <a:gdLst/>
            <a:ahLst/>
            <a:cxnLst/>
            <a:rect l="l" t="t" r="r" b="b"/>
            <a:pathLst>
              <a:path w="91" h="177" extrusionOk="0">
                <a:moveTo>
                  <a:pt x="5" y="112"/>
                </a:moveTo>
                <a:cubicBezTo>
                  <a:pt x="5" y="112"/>
                  <a:pt x="9" y="116"/>
                  <a:pt x="11" y="118"/>
                </a:cubicBezTo>
                <a:cubicBezTo>
                  <a:pt x="12" y="120"/>
                  <a:pt x="10" y="121"/>
                  <a:pt x="12" y="123"/>
                </a:cubicBezTo>
                <a:cubicBezTo>
                  <a:pt x="13" y="124"/>
                  <a:pt x="14" y="126"/>
                  <a:pt x="13" y="127"/>
                </a:cubicBezTo>
                <a:cubicBezTo>
                  <a:pt x="13" y="129"/>
                  <a:pt x="13" y="130"/>
                  <a:pt x="13" y="130"/>
                </a:cubicBezTo>
                <a:cubicBezTo>
                  <a:pt x="13" y="130"/>
                  <a:pt x="12" y="131"/>
                  <a:pt x="12" y="133"/>
                </a:cubicBezTo>
                <a:cubicBezTo>
                  <a:pt x="12" y="136"/>
                  <a:pt x="13" y="139"/>
                  <a:pt x="14" y="141"/>
                </a:cubicBezTo>
                <a:cubicBezTo>
                  <a:pt x="15" y="142"/>
                  <a:pt x="14" y="144"/>
                  <a:pt x="15" y="146"/>
                </a:cubicBezTo>
                <a:cubicBezTo>
                  <a:pt x="16" y="148"/>
                  <a:pt x="16" y="150"/>
                  <a:pt x="16" y="150"/>
                </a:cubicBezTo>
                <a:cubicBezTo>
                  <a:pt x="16" y="150"/>
                  <a:pt x="7" y="149"/>
                  <a:pt x="5" y="150"/>
                </a:cubicBezTo>
                <a:cubicBezTo>
                  <a:pt x="3" y="152"/>
                  <a:pt x="2" y="155"/>
                  <a:pt x="3" y="156"/>
                </a:cubicBezTo>
                <a:cubicBezTo>
                  <a:pt x="5" y="157"/>
                  <a:pt x="8" y="162"/>
                  <a:pt x="10" y="163"/>
                </a:cubicBezTo>
                <a:cubicBezTo>
                  <a:pt x="11" y="164"/>
                  <a:pt x="12" y="171"/>
                  <a:pt x="12" y="171"/>
                </a:cubicBezTo>
                <a:cubicBezTo>
                  <a:pt x="10" y="177"/>
                  <a:pt x="10" y="177"/>
                  <a:pt x="10" y="177"/>
                </a:cubicBezTo>
                <a:cubicBezTo>
                  <a:pt x="13" y="176"/>
                  <a:pt x="13" y="176"/>
                  <a:pt x="13" y="176"/>
                </a:cubicBezTo>
                <a:cubicBezTo>
                  <a:pt x="17" y="177"/>
                  <a:pt x="17" y="177"/>
                  <a:pt x="17" y="177"/>
                </a:cubicBezTo>
                <a:cubicBezTo>
                  <a:pt x="20" y="173"/>
                  <a:pt x="20" y="173"/>
                  <a:pt x="20" y="173"/>
                </a:cubicBezTo>
                <a:cubicBezTo>
                  <a:pt x="20" y="173"/>
                  <a:pt x="22" y="175"/>
                  <a:pt x="24" y="175"/>
                </a:cubicBezTo>
                <a:cubicBezTo>
                  <a:pt x="26" y="175"/>
                  <a:pt x="32" y="173"/>
                  <a:pt x="34" y="173"/>
                </a:cubicBezTo>
                <a:cubicBezTo>
                  <a:pt x="37" y="172"/>
                  <a:pt x="39" y="171"/>
                  <a:pt x="41" y="168"/>
                </a:cubicBezTo>
                <a:cubicBezTo>
                  <a:pt x="44" y="165"/>
                  <a:pt x="45" y="166"/>
                  <a:pt x="47" y="164"/>
                </a:cubicBezTo>
                <a:cubicBezTo>
                  <a:pt x="50" y="163"/>
                  <a:pt x="43" y="161"/>
                  <a:pt x="45" y="159"/>
                </a:cubicBezTo>
                <a:cubicBezTo>
                  <a:pt x="47" y="156"/>
                  <a:pt x="53" y="157"/>
                  <a:pt x="55" y="155"/>
                </a:cubicBezTo>
                <a:cubicBezTo>
                  <a:pt x="58" y="153"/>
                  <a:pt x="58" y="153"/>
                  <a:pt x="61" y="152"/>
                </a:cubicBezTo>
                <a:cubicBezTo>
                  <a:pt x="63" y="152"/>
                  <a:pt x="62" y="149"/>
                  <a:pt x="64" y="148"/>
                </a:cubicBezTo>
                <a:cubicBezTo>
                  <a:pt x="65" y="147"/>
                  <a:pt x="67" y="146"/>
                  <a:pt x="69" y="146"/>
                </a:cubicBezTo>
                <a:cubicBezTo>
                  <a:pt x="71" y="145"/>
                  <a:pt x="70" y="145"/>
                  <a:pt x="71" y="142"/>
                </a:cubicBezTo>
                <a:cubicBezTo>
                  <a:pt x="72" y="139"/>
                  <a:pt x="76" y="139"/>
                  <a:pt x="76" y="139"/>
                </a:cubicBezTo>
                <a:cubicBezTo>
                  <a:pt x="76" y="139"/>
                  <a:pt x="77" y="137"/>
                  <a:pt x="75" y="135"/>
                </a:cubicBezTo>
                <a:cubicBezTo>
                  <a:pt x="73" y="133"/>
                  <a:pt x="73" y="133"/>
                  <a:pt x="74" y="131"/>
                </a:cubicBezTo>
                <a:cubicBezTo>
                  <a:pt x="75" y="129"/>
                  <a:pt x="74" y="127"/>
                  <a:pt x="74" y="127"/>
                </a:cubicBezTo>
                <a:cubicBezTo>
                  <a:pt x="73" y="125"/>
                  <a:pt x="73" y="125"/>
                  <a:pt x="73" y="125"/>
                </a:cubicBezTo>
                <a:cubicBezTo>
                  <a:pt x="73" y="123"/>
                  <a:pt x="76" y="122"/>
                  <a:pt x="75" y="120"/>
                </a:cubicBezTo>
                <a:cubicBezTo>
                  <a:pt x="74" y="118"/>
                  <a:pt x="73" y="117"/>
                  <a:pt x="72" y="117"/>
                </a:cubicBezTo>
                <a:cubicBezTo>
                  <a:pt x="70" y="117"/>
                  <a:pt x="68" y="119"/>
                  <a:pt x="68" y="117"/>
                </a:cubicBezTo>
                <a:cubicBezTo>
                  <a:pt x="68" y="115"/>
                  <a:pt x="67" y="115"/>
                  <a:pt x="69" y="114"/>
                </a:cubicBezTo>
                <a:cubicBezTo>
                  <a:pt x="70" y="113"/>
                  <a:pt x="71" y="112"/>
                  <a:pt x="71" y="110"/>
                </a:cubicBezTo>
                <a:cubicBezTo>
                  <a:pt x="71" y="107"/>
                  <a:pt x="71" y="108"/>
                  <a:pt x="73" y="106"/>
                </a:cubicBezTo>
                <a:cubicBezTo>
                  <a:pt x="75" y="105"/>
                  <a:pt x="75" y="102"/>
                  <a:pt x="75" y="100"/>
                </a:cubicBezTo>
                <a:cubicBezTo>
                  <a:pt x="75" y="98"/>
                  <a:pt x="74" y="97"/>
                  <a:pt x="77" y="96"/>
                </a:cubicBezTo>
                <a:cubicBezTo>
                  <a:pt x="79" y="95"/>
                  <a:pt x="80" y="94"/>
                  <a:pt x="79" y="92"/>
                </a:cubicBezTo>
                <a:cubicBezTo>
                  <a:pt x="78" y="89"/>
                  <a:pt x="79" y="88"/>
                  <a:pt x="80" y="86"/>
                </a:cubicBezTo>
                <a:cubicBezTo>
                  <a:pt x="81" y="84"/>
                  <a:pt x="83" y="84"/>
                  <a:pt x="85" y="85"/>
                </a:cubicBezTo>
                <a:cubicBezTo>
                  <a:pt x="86" y="86"/>
                  <a:pt x="91" y="85"/>
                  <a:pt x="91" y="85"/>
                </a:cubicBezTo>
                <a:cubicBezTo>
                  <a:pt x="91" y="45"/>
                  <a:pt x="91" y="45"/>
                  <a:pt x="91" y="45"/>
                </a:cubicBezTo>
                <a:cubicBezTo>
                  <a:pt x="16" y="0"/>
                  <a:pt x="16" y="0"/>
                  <a:pt x="16" y="0"/>
                </a:cubicBezTo>
                <a:cubicBezTo>
                  <a:pt x="8" y="6"/>
                  <a:pt x="8" y="6"/>
                  <a:pt x="8" y="6"/>
                </a:cubicBezTo>
                <a:cubicBezTo>
                  <a:pt x="13" y="28"/>
                  <a:pt x="13" y="28"/>
                  <a:pt x="13" y="28"/>
                </a:cubicBezTo>
                <a:cubicBezTo>
                  <a:pt x="13" y="28"/>
                  <a:pt x="18" y="35"/>
                  <a:pt x="16" y="37"/>
                </a:cubicBezTo>
                <a:cubicBezTo>
                  <a:pt x="14" y="40"/>
                  <a:pt x="14" y="43"/>
                  <a:pt x="13" y="46"/>
                </a:cubicBezTo>
                <a:cubicBezTo>
                  <a:pt x="13" y="50"/>
                  <a:pt x="13" y="82"/>
                  <a:pt x="13" y="82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3"/>
                  <a:pt x="0" y="103"/>
                  <a:pt x="0" y="103"/>
                </a:cubicBezTo>
                <a:lnTo>
                  <a:pt x="5" y="112"/>
                </a:lnTo>
                <a:close/>
                <a:moveTo>
                  <a:pt x="1" y="103"/>
                </a:moveTo>
                <a:cubicBezTo>
                  <a:pt x="2" y="103"/>
                  <a:pt x="3" y="103"/>
                  <a:pt x="4" y="103"/>
                </a:cubicBezTo>
                <a:cubicBezTo>
                  <a:pt x="4" y="103"/>
                  <a:pt x="4" y="105"/>
                  <a:pt x="4" y="106"/>
                </a:cubicBezTo>
                <a:cubicBezTo>
                  <a:pt x="5" y="106"/>
                  <a:pt x="7" y="107"/>
                  <a:pt x="8" y="108"/>
                </a:cubicBezTo>
                <a:cubicBezTo>
                  <a:pt x="10" y="108"/>
                  <a:pt x="13" y="108"/>
                  <a:pt x="15" y="108"/>
                </a:cubicBezTo>
                <a:cubicBezTo>
                  <a:pt x="15" y="109"/>
                  <a:pt x="15" y="111"/>
                  <a:pt x="15" y="112"/>
                </a:cubicBezTo>
                <a:cubicBezTo>
                  <a:pt x="14" y="111"/>
                  <a:pt x="15" y="112"/>
                  <a:pt x="14" y="112"/>
                </a:cubicBezTo>
                <a:cubicBezTo>
                  <a:pt x="14" y="112"/>
                  <a:pt x="12" y="110"/>
                  <a:pt x="12" y="110"/>
                </a:cubicBezTo>
                <a:cubicBezTo>
                  <a:pt x="10" y="110"/>
                  <a:pt x="7" y="111"/>
                  <a:pt x="6" y="112"/>
                </a:cubicBezTo>
                <a:cubicBezTo>
                  <a:pt x="5" y="110"/>
                  <a:pt x="0" y="103"/>
                  <a:pt x="1" y="10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9" name="Google Shape;579;p102"/>
          <p:cNvSpPr/>
          <p:nvPr/>
        </p:nvSpPr>
        <p:spPr>
          <a:xfrm>
            <a:off x="6583947" y="4384121"/>
            <a:ext cx="333330" cy="232240"/>
          </a:xfrm>
          <a:custGeom>
            <a:avLst/>
            <a:gdLst/>
            <a:ahLst/>
            <a:cxnLst/>
            <a:rect l="l" t="t" r="r" b="b"/>
            <a:pathLst>
              <a:path w="116" h="84" extrusionOk="0">
                <a:moveTo>
                  <a:pt x="41" y="77"/>
                </a:moveTo>
                <a:cubicBezTo>
                  <a:pt x="42" y="68"/>
                  <a:pt x="42" y="68"/>
                  <a:pt x="42" y="68"/>
                </a:cubicBezTo>
                <a:cubicBezTo>
                  <a:pt x="42" y="68"/>
                  <a:pt x="46" y="66"/>
                  <a:pt x="46" y="64"/>
                </a:cubicBezTo>
                <a:cubicBezTo>
                  <a:pt x="46" y="61"/>
                  <a:pt x="48" y="59"/>
                  <a:pt x="50" y="59"/>
                </a:cubicBezTo>
                <a:cubicBezTo>
                  <a:pt x="51" y="59"/>
                  <a:pt x="53" y="58"/>
                  <a:pt x="56" y="59"/>
                </a:cubicBezTo>
                <a:cubicBezTo>
                  <a:pt x="59" y="61"/>
                  <a:pt x="60" y="63"/>
                  <a:pt x="62" y="64"/>
                </a:cubicBezTo>
                <a:cubicBezTo>
                  <a:pt x="63" y="65"/>
                  <a:pt x="67" y="65"/>
                  <a:pt x="69" y="65"/>
                </a:cubicBezTo>
                <a:cubicBezTo>
                  <a:pt x="71" y="65"/>
                  <a:pt x="72" y="65"/>
                  <a:pt x="75" y="66"/>
                </a:cubicBezTo>
                <a:cubicBezTo>
                  <a:pt x="78" y="67"/>
                  <a:pt x="80" y="67"/>
                  <a:pt x="80" y="67"/>
                </a:cubicBezTo>
                <a:cubicBezTo>
                  <a:pt x="80" y="67"/>
                  <a:pt x="79" y="62"/>
                  <a:pt x="82" y="62"/>
                </a:cubicBezTo>
                <a:cubicBezTo>
                  <a:pt x="84" y="62"/>
                  <a:pt x="84" y="65"/>
                  <a:pt x="87" y="64"/>
                </a:cubicBezTo>
                <a:cubicBezTo>
                  <a:pt x="90" y="63"/>
                  <a:pt x="92" y="63"/>
                  <a:pt x="92" y="63"/>
                </a:cubicBezTo>
                <a:cubicBezTo>
                  <a:pt x="92" y="63"/>
                  <a:pt x="91" y="60"/>
                  <a:pt x="94" y="60"/>
                </a:cubicBezTo>
                <a:cubicBezTo>
                  <a:pt x="96" y="59"/>
                  <a:pt x="95" y="63"/>
                  <a:pt x="97" y="61"/>
                </a:cubicBezTo>
                <a:cubicBezTo>
                  <a:pt x="100" y="58"/>
                  <a:pt x="99" y="57"/>
                  <a:pt x="101" y="57"/>
                </a:cubicBezTo>
                <a:cubicBezTo>
                  <a:pt x="108" y="57"/>
                  <a:pt x="108" y="57"/>
                  <a:pt x="108" y="57"/>
                </a:cubicBezTo>
                <a:cubicBezTo>
                  <a:pt x="111" y="57"/>
                  <a:pt x="110" y="59"/>
                  <a:pt x="111" y="59"/>
                </a:cubicBezTo>
                <a:cubicBezTo>
                  <a:pt x="113" y="59"/>
                  <a:pt x="116" y="58"/>
                  <a:pt x="116" y="58"/>
                </a:cubicBezTo>
                <a:cubicBezTo>
                  <a:pt x="116" y="58"/>
                  <a:pt x="116" y="55"/>
                  <a:pt x="114" y="55"/>
                </a:cubicBezTo>
                <a:cubicBezTo>
                  <a:pt x="113" y="54"/>
                  <a:pt x="114" y="52"/>
                  <a:pt x="113" y="49"/>
                </a:cubicBezTo>
                <a:cubicBezTo>
                  <a:pt x="112" y="46"/>
                  <a:pt x="111" y="45"/>
                  <a:pt x="107" y="44"/>
                </a:cubicBezTo>
                <a:cubicBezTo>
                  <a:pt x="104" y="43"/>
                  <a:pt x="105" y="40"/>
                  <a:pt x="104" y="38"/>
                </a:cubicBezTo>
                <a:cubicBezTo>
                  <a:pt x="103" y="36"/>
                  <a:pt x="102" y="37"/>
                  <a:pt x="100" y="37"/>
                </a:cubicBezTo>
                <a:cubicBezTo>
                  <a:pt x="98" y="37"/>
                  <a:pt x="97" y="35"/>
                  <a:pt x="96" y="34"/>
                </a:cubicBezTo>
                <a:cubicBezTo>
                  <a:pt x="95" y="32"/>
                  <a:pt x="94" y="32"/>
                  <a:pt x="92" y="32"/>
                </a:cubicBezTo>
                <a:cubicBezTo>
                  <a:pt x="90" y="32"/>
                  <a:pt x="90" y="29"/>
                  <a:pt x="88" y="28"/>
                </a:cubicBezTo>
                <a:cubicBezTo>
                  <a:pt x="87" y="28"/>
                  <a:pt x="83" y="23"/>
                  <a:pt x="84" y="20"/>
                </a:cubicBezTo>
                <a:cubicBezTo>
                  <a:pt x="85" y="17"/>
                  <a:pt x="85" y="17"/>
                  <a:pt x="82" y="15"/>
                </a:cubicBezTo>
                <a:cubicBezTo>
                  <a:pt x="79" y="13"/>
                  <a:pt x="80" y="13"/>
                  <a:pt x="81" y="11"/>
                </a:cubicBezTo>
                <a:cubicBezTo>
                  <a:pt x="82" y="9"/>
                  <a:pt x="81" y="5"/>
                  <a:pt x="81" y="5"/>
                </a:cubicBezTo>
                <a:cubicBezTo>
                  <a:pt x="76" y="0"/>
                  <a:pt x="76" y="0"/>
                  <a:pt x="76" y="0"/>
                </a:cubicBezTo>
                <a:cubicBezTo>
                  <a:pt x="76" y="0"/>
                  <a:pt x="72" y="0"/>
                  <a:pt x="71" y="3"/>
                </a:cubicBezTo>
                <a:cubicBezTo>
                  <a:pt x="70" y="6"/>
                  <a:pt x="71" y="6"/>
                  <a:pt x="69" y="7"/>
                </a:cubicBezTo>
                <a:cubicBezTo>
                  <a:pt x="67" y="7"/>
                  <a:pt x="65" y="8"/>
                  <a:pt x="64" y="9"/>
                </a:cubicBezTo>
                <a:cubicBezTo>
                  <a:pt x="62" y="10"/>
                  <a:pt x="63" y="13"/>
                  <a:pt x="61" y="13"/>
                </a:cubicBezTo>
                <a:cubicBezTo>
                  <a:pt x="58" y="14"/>
                  <a:pt x="58" y="14"/>
                  <a:pt x="55" y="16"/>
                </a:cubicBezTo>
                <a:cubicBezTo>
                  <a:pt x="53" y="18"/>
                  <a:pt x="47" y="17"/>
                  <a:pt x="45" y="20"/>
                </a:cubicBezTo>
                <a:cubicBezTo>
                  <a:pt x="43" y="22"/>
                  <a:pt x="50" y="24"/>
                  <a:pt x="47" y="25"/>
                </a:cubicBezTo>
                <a:cubicBezTo>
                  <a:pt x="45" y="27"/>
                  <a:pt x="44" y="26"/>
                  <a:pt x="41" y="29"/>
                </a:cubicBezTo>
                <a:cubicBezTo>
                  <a:pt x="39" y="32"/>
                  <a:pt x="37" y="33"/>
                  <a:pt x="34" y="34"/>
                </a:cubicBezTo>
                <a:cubicBezTo>
                  <a:pt x="32" y="34"/>
                  <a:pt x="26" y="36"/>
                  <a:pt x="24" y="36"/>
                </a:cubicBezTo>
                <a:cubicBezTo>
                  <a:pt x="22" y="36"/>
                  <a:pt x="20" y="34"/>
                  <a:pt x="20" y="34"/>
                </a:cubicBezTo>
                <a:cubicBezTo>
                  <a:pt x="17" y="38"/>
                  <a:pt x="17" y="38"/>
                  <a:pt x="17" y="38"/>
                </a:cubicBezTo>
                <a:cubicBezTo>
                  <a:pt x="13" y="37"/>
                  <a:pt x="13" y="37"/>
                  <a:pt x="13" y="37"/>
                </a:cubicBezTo>
                <a:cubicBezTo>
                  <a:pt x="10" y="38"/>
                  <a:pt x="10" y="38"/>
                  <a:pt x="10" y="38"/>
                </a:cubicBezTo>
                <a:cubicBezTo>
                  <a:pt x="10" y="38"/>
                  <a:pt x="6" y="48"/>
                  <a:pt x="4" y="49"/>
                </a:cubicBezTo>
                <a:cubicBezTo>
                  <a:pt x="1" y="50"/>
                  <a:pt x="0" y="52"/>
                  <a:pt x="2" y="53"/>
                </a:cubicBezTo>
                <a:cubicBezTo>
                  <a:pt x="3" y="54"/>
                  <a:pt x="5" y="54"/>
                  <a:pt x="5" y="57"/>
                </a:cubicBezTo>
                <a:cubicBezTo>
                  <a:pt x="6" y="59"/>
                  <a:pt x="7" y="62"/>
                  <a:pt x="9" y="65"/>
                </a:cubicBezTo>
                <a:cubicBezTo>
                  <a:pt x="11" y="68"/>
                  <a:pt x="10" y="69"/>
                  <a:pt x="13" y="72"/>
                </a:cubicBezTo>
                <a:cubicBezTo>
                  <a:pt x="16" y="75"/>
                  <a:pt x="16" y="74"/>
                  <a:pt x="18" y="77"/>
                </a:cubicBezTo>
                <a:cubicBezTo>
                  <a:pt x="20" y="81"/>
                  <a:pt x="24" y="84"/>
                  <a:pt x="24" y="84"/>
                </a:cubicBezTo>
                <a:cubicBezTo>
                  <a:pt x="24" y="84"/>
                  <a:pt x="27" y="84"/>
                  <a:pt x="28" y="82"/>
                </a:cubicBezTo>
                <a:cubicBezTo>
                  <a:pt x="29" y="79"/>
                  <a:pt x="28" y="79"/>
                  <a:pt x="31" y="78"/>
                </a:cubicBezTo>
                <a:cubicBezTo>
                  <a:pt x="33" y="77"/>
                  <a:pt x="33" y="79"/>
                  <a:pt x="35" y="79"/>
                </a:cubicBezTo>
                <a:cubicBezTo>
                  <a:pt x="37" y="78"/>
                  <a:pt x="41" y="77"/>
                  <a:pt x="41" y="77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0" name="Google Shape;580;p102"/>
          <p:cNvSpPr/>
          <p:nvPr/>
        </p:nvSpPr>
        <p:spPr>
          <a:xfrm>
            <a:off x="2724881" y="1681241"/>
            <a:ext cx="2245680" cy="1722735"/>
          </a:xfrm>
          <a:custGeom>
            <a:avLst/>
            <a:gdLst/>
            <a:ahLst/>
            <a:cxnLst/>
            <a:rect l="l" t="t" r="r" b="b"/>
            <a:pathLst>
              <a:path w="780" h="622" extrusionOk="0">
                <a:moveTo>
                  <a:pt x="204" y="193"/>
                </a:moveTo>
                <a:cubicBezTo>
                  <a:pt x="204" y="194"/>
                  <a:pt x="201" y="194"/>
                  <a:pt x="200" y="194"/>
                </a:cubicBezTo>
                <a:cubicBezTo>
                  <a:pt x="199" y="195"/>
                  <a:pt x="200" y="196"/>
                  <a:pt x="199" y="197"/>
                </a:cubicBezTo>
                <a:cubicBezTo>
                  <a:pt x="198" y="199"/>
                  <a:pt x="196" y="199"/>
                  <a:pt x="195" y="201"/>
                </a:cubicBezTo>
                <a:cubicBezTo>
                  <a:pt x="195" y="202"/>
                  <a:pt x="194" y="202"/>
                  <a:pt x="193" y="202"/>
                </a:cubicBezTo>
                <a:cubicBezTo>
                  <a:pt x="195" y="203"/>
                  <a:pt x="192" y="206"/>
                  <a:pt x="199" y="206"/>
                </a:cubicBezTo>
                <a:cubicBezTo>
                  <a:pt x="204" y="206"/>
                  <a:pt x="201" y="204"/>
                  <a:pt x="203" y="203"/>
                </a:cubicBezTo>
                <a:cubicBezTo>
                  <a:pt x="206" y="202"/>
                  <a:pt x="207" y="205"/>
                  <a:pt x="205" y="205"/>
                </a:cubicBezTo>
                <a:cubicBezTo>
                  <a:pt x="205" y="205"/>
                  <a:pt x="205" y="206"/>
                  <a:pt x="205" y="206"/>
                </a:cubicBezTo>
                <a:cubicBezTo>
                  <a:pt x="208" y="206"/>
                  <a:pt x="207" y="207"/>
                  <a:pt x="207" y="207"/>
                </a:cubicBezTo>
                <a:cubicBezTo>
                  <a:pt x="206" y="207"/>
                  <a:pt x="204" y="207"/>
                  <a:pt x="203" y="207"/>
                </a:cubicBezTo>
                <a:cubicBezTo>
                  <a:pt x="203" y="210"/>
                  <a:pt x="203" y="210"/>
                  <a:pt x="203" y="210"/>
                </a:cubicBezTo>
                <a:cubicBezTo>
                  <a:pt x="210" y="210"/>
                  <a:pt x="210" y="210"/>
                  <a:pt x="210" y="210"/>
                </a:cubicBezTo>
                <a:cubicBezTo>
                  <a:pt x="210" y="209"/>
                  <a:pt x="211" y="207"/>
                  <a:pt x="211" y="206"/>
                </a:cubicBezTo>
                <a:cubicBezTo>
                  <a:pt x="212" y="206"/>
                  <a:pt x="217" y="208"/>
                  <a:pt x="219" y="208"/>
                </a:cubicBezTo>
                <a:cubicBezTo>
                  <a:pt x="220" y="208"/>
                  <a:pt x="221" y="206"/>
                  <a:pt x="222" y="205"/>
                </a:cubicBezTo>
                <a:cubicBezTo>
                  <a:pt x="225" y="204"/>
                  <a:pt x="230" y="205"/>
                  <a:pt x="233" y="205"/>
                </a:cubicBezTo>
                <a:cubicBezTo>
                  <a:pt x="233" y="205"/>
                  <a:pt x="233" y="207"/>
                  <a:pt x="233" y="207"/>
                </a:cubicBezTo>
                <a:cubicBezTo>
                  <a:pt x="227" y="207"/>
                  <a:pt x="226" y="207"/>
                  <a:pt x="222" y="209"/>
                </a:cubicBezTo>
                <a:cubicBezTo>
                  <a:pt x="222" y="209"/>
                  <a:pt x="222" y="211"/>
                  <a:pt x="222" y="211"/>
                </a:cubicBezTo>
                <a:cubicBezTo>
                  <a:pt x="221" y="211"/>
                  <a:pt x="219" y="210"/>
                  <a:pt x="219" y="210"/>
                </a:cubicBezTo>
                <a:cubicBezTo>
                  <a:pt x="217" y="210"/>
                  <a:pt x="217" y="211"/>
                  <a:pt x="215" y="211"/>
                </a:cubicBezTo>
                <a:cubicBezTo>
                  <a:pt x="211" y="212"/>
                  <a:pt x="201" y="213"/>
                  <a:pt x="207" y="217"/>
                </a:cubicBezTo>
                <a:cubicBezTo>
                  <a:pt x="208" y="219"/>
                  <a:pt x="210" y="219"/>
                  <a:pt x="213" y="219"/>
                </a:cubicBezTo>
                <a:cubicBezTo>
                  <a:pt x="213" y="219"/>
                  <a:pt x="213" y="217"/>
                  <a:pt x="214" y="217"/>
                </a:cubicBezTo>
                <a:cubicBezTo>
                  <a:pt x="214" y="217"/>
                  <a:pt x="217" y="220"/>
                  <a:pt x="218" y="220"/>
                </a:cubicBezTo>
                <a:cubicBezTo>
                  <a:pt x="219" y="220"/>
                  <a:pt x="221" y="218"/>
                  <a:pt x="223" y="218"/>
                </a:cubicBezTo>
                <a:cubicBezTo>
                  <a:pt x="223" y="218"/>
                  <a:pt x="230" y="218"/>
                  <a:pt x="231" y="218"/>
                </a:cubicBezTo>
                <a:cubicBezTo>
                  <a:pt x="231" y="218"/>
                  <a:pt x="232" y="219"/>
                  <a:pt x="234" y="219"/>
                </a:cubicBezTo>
                <a:cubicBezTo>
                  <a:pt x="235" y="219"/>
                  <a:pt x="239" y="217"/>
                  <a:pt x="241" y="217"/>
                </a:cubicBezTo>
                <a:cubicBezTo>
                  <a:pt x="242" y="218"/>
                  <a:pt x="242" y="220"/>
                  <a:pt x="244" y="219"/>
                </a:cubicBezTo>
                <a:cubicBezTo>
                  <a:pt x="244" y="219"/>
                  <a:pt x="248" y="218"/>
                  <a:pt x="248" y="218"/>
                </a:cubicBezTo>
                <a:cubicBezTo>
                  <a:pt x="248" y="216"/>
                  <a:pt x="248" y="216"/>
                  <a:pt x="248" y="216"/>
                </a:cubicBezTo>
                <a:cubicBezTo>
                  <a:pt x="250" y="216"/>
                  <a:pt x="252" y="217"/>
                  <a:pt x="253" y="218"/>
                </a:cubicBezTo>
                <a:cubicBezTo>
                  <a:pt x="253" y="218"/>
                  <a:pt x="253" y="220"/>
                  <a:pt x="253" y="220"/>
                </a:cubicBezTo>
                <a:cubicBezTo>
                  <a:pt x="254" y="220"/>
                  <a:pt x="255" y="220"/>
                  <a:pt x="256" y="220"/>
                </a:cubicBezTo>
                <a:cubicBezTo>
                  <a:pt x="257" y="220"/>
                  <a:pt x="258" y="217"/>
                  <a:pt x="260" y="217"/>
                </a:cubicBezTo>
                <a:cubicBezTo>
                  <a:pt x="261" y="217"/>
                  <a:pt x="261" y="218"/>
                  <a:pt x="262" y="218"/>
                </a:cubicBezTo>
                <a:cubicBezTo>
                  <a:pt x="262" y="218"/>
                  <a:pt x="262" y="220"/>
                  <a:pt x="262" y="220"/>
                </a:cubicBezTo>
                <a:cubicBezTo>
                  <a:pt x="261" y="220"/>
                  <a:pt x="260" y="220"/>
                  <a:pt x="259" y="220"/>
                </a:cubicBezTo>
                <a:cubicBezTo>
                  <a:pt x="258" y="225"/>
                  <a:pt x="260" y="222"/>
                  <a:pt x="256" y="224"/>
                </a:cubicBezTo>
                <a:cubicBezTo>
                  <a:pt x="256" y="224"/>
                  <a:pt x="255" y="226"/>
                  <a:pt x="255" y="226"/>
                </a:cubicBezTo>
                <a:cubicBezTo>
                  <a:pt x="253" y="227"/>
                  <a:pt x="246" y="227"/>
                  <a:pt x="244" y="226"/>
                </a:cubicBezTo>
                <a:cubicBezTo>
                  <a:pt x="243" y="226"/>
                  <a:pt x="242" y="224"/>
                  <a:pt x="241" y="224"/>
                </a:cubicBezTo>
                <a:cubicBezTo>
                  <a:pt x="240" y="224"/>
                  <a:pt x="232" y="225"/>
                  <a:pt x="231" y="226"/>
                </a:cubicBezTo>
                <a:cubicBezTo>
                  <a:pt x="230" y="226"/>
                  <a:pt x="230" y="228"/>
                  <a:pt x="230" y="228"/>
                </a:cubicBezTo>
                <a:cubicBezTo>
                  <a:pt x="226" y="229"/>
                  <a:pt x="218" y="228"/>
                  <a:pt x="214" y="228"/>
                </a:cubicBezTo>
                <a:cubicBezTo>
                  <a:pt x="216" y="229"/>
                  <a:pt x="213" y="233"/>
                  <a:pt x="213" y="233"/>
                </a:cubicBezTo>
                <a:cubicBezTo>
                  <a:pt x="213" y="237"/>
                  <a:pt x="214" y="234"/>
                  <a:pt x="215" y="235"/>
                </a:cubicBezTo>
                <a:cubicBezTo>
                  <a:pt x="215" y="236"/>
                  <a:pt x="215" y="237"/>
                  <a:pt x="215" y="237"/>
                </a:cubicBezTo>
                <a:cubicBezTo>
                  <a:pt x="216" y="238"/>
                  <a:pt x="218" y="238"/>
                  <a:pt x="219" y="239"/>
                </a:cubicBezTo>
                <a:cubicBezTo>
                  <a:pt x="219" y="239"/>
                  <a:pt x="219" y="241"/>
                  <a:pt x="219" y="241"/>
                </a:cubicBezTo>
                <a:cubicBezTo>
                  <a:pt x="221" y="242"/>
                  <a:pt x="225" y="244"/>
                  <a:pt x="228" y="245"/>
                </a:cubicBezTo>
                <a:cubicBezTo>
                  <a:pt x="229" y="245"/>
                  <a:pt x="231" y="244"/>
                  <a:pt x="231" y="244"/>
                </a:cubicBezTo>
                <a:cubicBezTo>
                  <a:pt x="233" y="244"/>
                  <a:pt x="237" y="245"/>
                  <a:pt x="239" y="246"/>
                </a:cubicBezTo>
                <a:cubicBezTo>
                  <a:pt x="240" y="247"/>
                  <a:pt x="240" y="252"/>
                  <a:pt x="241" y="254"/>
                </a:cubicBezTo>
                <a:cubicBezTo>
                  <a:pt x="242" y="254"/>
                  <a:pt x="243" y="253"/>
                  <a:pt x="245" y="253"/>
                </a:cubicBezTo>
                <a:cubicBezTo>
                  <a:pt x="246" y="255"/>
                  <a:pt x="246" y="255"/>
                  <a:pt x="246" y="255"/>
                </a:cubicBezTo>
                <a:cubicBezTo>
                  <a:pt x="246" y="255"/>
                  <a:pt x="247" y="255"/>
                  <a:pt x="248" y="255"/>
                </a:cubicBezTo>
                <a:cubicBezTo>
                  <a:pt x="248" y="256"/>
                  <a:pt x="248" y="256"/>
                  <a:pt x="248" y="256"/>
                </a:cubicBezTo>
                <a:cubicBezTo>
                  <a:pt x="250" y="256"/>
                  <a:pt x="254" y="256"/>
                  <a:pt x="256" y="255"/>
                </a:cubicBezTo>
                <a:cubicBezTo>
                  <a:pt x="256" y="255"/>
                  <a:pt x="256" y="253"/>
                  <a:pt x="256" y="253"/>
                </a:cubicBezTo>
                <a:cubicBezTo>
                  <a:pt x="257" y="253"/>
                  <a:pt x="258" y="253"/>
                  <a:pt x="258" y="253"/>
                </a:cubicBezTo>
                <a:cubicBezTo>
                  <a:pt x="260" y="252"/>
                  <a:pt x="260" y="253"/>
                  <a:pt x="262" y="253"/>
                </a:cubicBezTo>
                <a:cubicBezTo>
                  <a:pt x="263" y="253"/>
                  <a:pt x="268" y="254"/>
                  <a:pt x="270" y="253"/>
                </a:cubicBezTo>
                <a:cubicBezTo>
                  <a:pt x="270" y="253"/>
                  <a:pt x="270" y="253"/>
                  <a:pt x="270" y="253"/>
                </a:cubicBezTo>
                <a:cubicBezTo>
                  <a:pt x="272" y="252"/>
                  <a:pt x="275" y="251"/>
                  <a:pt x="276" y="251"/>
                </a:cubicBezTo>
                <a:cubicBezTo>
                  <a:pt x="277" y="250"/>
                  <a:pt x="279" y="251"/>
                  <a:pt x="280" y="251"/>
                </a:cubicBezTo>
                <a:cubicBezTo>
                  <a:pt x="280" y="248"/>
                  <a:pt x="280" y="248"/>
                  <a:pt x="280" y="248"/>
                </a:cubicBezTo>
                <a:cubicBezTo>
                  <a:pt x="281" y="248"/>
                  <a:pt x="282" y="249"/>
                  <a:pt x="283" y="249"/>
                </a:cubicBezTo>
                <a:cubicBezTo>
                  <a:pt x="285" y="248"/>
                  <a:pt x="289" y="245"/>
                  <a:pt x="291" y="245"/>
                </a:cubicBezTo>
                <a:cubicBezTo>
                  <a:pt x="294" y="244"/>
                  <a:pt x="295" y="245"/>
                  <a:pt x="298" y="243"/>
                </a:cubicBezTo>
                <a:cubicBezTo>
                  <a:pt x="298" y="243"/>
                  <a:pt x="300" y="240"/>
                  <a:pt x="300" y="239"/>
                </a:cubicBezTo>
                <a:cubicBezTo>
                  <a:pt x="301" y="239"/>
                  <a:pt x="303" y="239"/>
                  <a:pt x="304" y="239"/>
                </a:cubicBezTo>
                <a:cubicBezTo>
                  <a:pt x="305" y="238"/>
                  <a:pt x="307" y="236"/>
                  <a:pt x="308" y="235"/>
                </a:cubicBezTo>
                <a:cubicBezTo>
                  <a:pt x="308" y="235"/>
                  <a:pt x="308" y="235"/>
                  <a:pt x="308" y="235"/>
                </a:cubicBezTo>
                <a:cubicBezTo>
                  <a:pt x="310" y="234"/>
                  <a:pt x="311" y="235"/>
                  <a:pt x="312" y="235"/>
                </a:cubicBezTo>
                <a:cubicBezTo>
                  <a:pt x="311" y="237"/>
                  <a:pt x="310" y="239"/>
                  <a:pt x="309" y="241"/>
                </a:cubicBezTo>
                <a:cubicBezTo>
                  <a:pt x="310" y="241"/>
                  <a:pt x="310" y="243"/>
                  <a:pt x="310" y="243"/>
                </a:cubicBezTo>
                <a:cubicBezTo>
                  <a:pt x="313" y="244"/>
                  <a:pt x="315" y="243"/>
                  <a:pt x="318" y="244"/>
                </a:cubicBezTo>
                <a:cubicBezTo>
                  <a:pt x="318" y="244"/>
                  <a:pt x="317" y="247"/>
                  <a:pt x="318" y="247"/>
                </a:cubicBezTo>
                <a:cubicBezTo>
                  <a:pt x="318" y="247"/>
                  <a:pt x="320" y="248"/>
                  <a:pt x="320" y="247"/>
                </a:cubicBezTo>
                <a:cubicBezTo>
                  <a:pt x="321" y="247"/>
                  <a:pt x="321" y="246"/>
                  <a:pt x="322" y="245"/>
                </a:cubicBezTo>
                <a:cubicBezTo>
                  <a:pt x="323" y="246"/>
                  <a:pt x="325" y="249"/>
                  <a:pt x="327" y="249"/>
                </a:cubicBezTo>
                <a:cubicBezTo>
                  <a:pt x="328" y="249"/>
                  <a:pt x="329" y="247"/>
                  <a:pt x="330" y="247"/>
                </a:cubicBezTo>
                <a:cubicBezTo>
                  <a:pt x="331" y="248"/>
                  <a:pt x="331" y="250"/>
                  <a:pt x="334" y="250"/>
                </a:cubicBezTo>
                <a:cubicBezTo>
                  <a:pt x="335" y="250"/>
                  <a:pt x="335" y="248"/>
                  <a:pt x="335" y="247"/>
                </a:cubicBezTo>
                <a:cubicBezTo>
                  <a:pt x="337" y="248"/>
                  <a:pt x="339" y="248"/>
                  <a:pt x="341" y="248"/>
                </a:cubicBezTo>
                <a:cubicBezTo>
                  <a:pt x="342" y="246"/>
                  <a:pt x="342" y="246"/>
                  <a:pt x="342" y="246"/>
                </a:cubicBezTo>
                <a:cubicBezTo>
                  <a:pt x="344" y="245"/>
                  <a:pt x="344" y="246"/>
                  <a:pt x="346" y="245"/>
                </a:cubicBezTo>
                <a:cubicBezTo>
                  <a:pt x="347" y="244"/>
                  <a:pt x="346" y="243"/>
                  <a:pt x="347" y="242"/>
                </a:cubicBezTo>
                <a:cubicBezTo>
                  <a:pt x="346" y="242"/>
                  <a:pt x="345" y="242"/>
                  <a:pt x="345" y="242"/>
                </a:cubicBezTo>
                <a:cubicBezTo>
                  <a:pt x="345" y="241"/>
                  <a:pt x="345" y="240"/>
                  <a:pt x="345" y="239"/>
                </a:cubicBezTo>
                <a:cubicBezTo>
                  <a:pt x="343" y="240"/>
                  <a:pt x="342" y="239"/>
                  <a:pt x="340" y="239"/>
                </a:cubicBezTo>
                <a:cubicBezTo>
                  <a:pt x="338" y="240"/>
                  <a:pt x="341" y="243"/>
                  <a:pt x="336" y="241"/>
                </a:cubicBezTo>
                <a:cubicBezTo>
                  <a:pt x="334" y="241"/>
                  <a:pt x="335" y="239"/>
                  <a:pt x="334" y="238"/>
                </a:cubicBezTo>
                <a:cubicBezTo>
                  <a:pt x="333" y="238"/>
                  <a:pt x="331" y="237"/>
                  <a:pt x="331" y="237"/>
                </a:cubicBezTo>
                <a:cubicBezTo>
                  <a:pt x="332" y="234"/>
                  <a:pt x="332" y="234"/>
                  <a:pt x="332" y="234"/>
                </a:cubicBezTo>
                <a:cubicBezTo>
                  <a:pt x="333" y="235"/>
                  <a:pt x="334" y="234"/>
                  <a:pt x="336" y="235"/>
                </a:cubicBezTo>
                <a:cubicBezTo>
                  <a:pt x="336" y="235"/>
                  <a:pt x="337" y="237"/>
                  <a:pt x="338" y="237"/>
                </a:cubicBezTo>
                <a:cubicBezTo>
                  <a:pt x="340" y="238"/>
                  <a:pt x="343" y="238"/>
                  <a:pt x="346" y="238"/>
                </a:cubicBezTo>
                <a:cubicBezTo>
                  <a:pt x="346" y="238"/>
                  <a:pt x="346" y="236"/>
                  <a:pt x="346" y="236"/>
                </a:cubicBezTo>
                <a:cubicBezTo>
                  <a:pt x="344" y="236"/>
                  <a:pt x="344" y="236"/>
                  <a:pt x="343" y="235"/>
                </a:cubicBezTo>
                <a:cubicBezTo>
                  <a:pt x="340" y="234"/>
                  <a:pt x="344" y="234"/>
                  <a:pt x="345" y="233"/>
                </a:cubicBezTo>
                <a:cubicBezTo>
                  <a:pt x="344" y="233"/>
                  <a:pt x="346" y="232"/>
                  <a:pt x="346" y="232"/>
                </a:cubicBezTo>
                <a:cubicBezTo>
                  <a:pt x="348" y="233"/>
                  <a:pt x="349" y="234"/>
                  <a:pt x="352" y="235"/>
                </a:cubicBezTo>
                <a:cubicBezTo>
                  <a:pt x="352" y="236"/>
                  <a:pt x="351" y="238"/>
                  <a:pt x="352" y="238"/>
                </a:cubicBezTo>
                <a:cubicBezTo>
                  <a:pt x="352" y="239"/>
                  <a:pt x="354" y="238"/>
                  <a:pt x="355" y="239"/>
                </a:cubicBezTo>
                <a:cubicBezTo>
                  <a:pt x="356" y="238"/>
                  <a:pt x="355" y="237"/>
                  <a:pt x="356" y="237"/>
                </a:cubicBezTo>
                <a:cubicBezTo>
                  <a:pt x="356" y="237"/>
                  <a:pt x="356" y="236"/>
                  <a:pt x="356" y="235"/>
                </a:cubicBezTo>
                <a:cubicBezTo>
                  <a:pt x="356" y="235"/>
                  <a:pt x="354" y="234"/>
                  <a:pt x="354" y="234"/>
                </a:cubicBezTo>
                <a:cubicBezTo>
                  <a:pt x="355" y="231"/>
                  <a:pt x="355" y="231"/>
                  <a:pt x="355" y="227"/>
                </a:cubicBezTo>
                <a:cubicBezTo>
                  <a:pt x="354" y="227"/>
                  <a:pt x="353" y="226"/>
                  <a:pt x="353" y="226"/>
                </a:cubicBezTo>
                <a:cubicBezTo>
                  <a:pt x="351" y="226"/>
                  <a:pt x="350" y="227"/>
                  <a:pt x="349" y="227"/>
                </a:cubicBezTo>
                <a:cubicBezTo>
                  <a:pt x="341" y="228"/>
                  <a:pt x="337" y="223"/>
                  <a:pt x="335" y="217"/>
                </a:cubicBezTo>
                <a:cubicBezTo>
                  <a:pt x="334" y="217"/>
                  <a:pt x="334" y="217"/>
                  <a:pt x="334" y="217"/>
                </a:cubicBezTo>
                <a:cubicBezTo>
                  <a:pt x="333" y="219"/>
                  <a:pt x="334" y="221"/>
                  <a:pt x="334" y="223"/>
                </a:cubicBezTo>
                <a:cubicBezTo>
                  <a:pt x="333" y="223"/>
                  <a:pt x="332" y="221"/>
                  <a:pt x="332" y="221"/>
                </a:cubicBezTo>
                <a:cubicBezTo>
                  <a:pt x="330" y="221"/>
                  <a:pt x="328" y="221"/>
                  <a:pt x="327" y="221"/>
                </a:cubicBezTo>
                <a:cubicBezTo>
                  <a:pt x="327" y="220"/>
                  <a:pt x="326" y="218"/>
                  <a:pt x="326" y="218"/>
                </a:cubicBezTo>
                <a:cubicBezTo>
                  <a:pt x="325" y="216"/>
                  <a:pt x="323" y="215"/>
                  <a:pt x="322" y="213"/>
                </a:cubicBezTo>
                <a:cubicBezTo>
                  <a:pt x="321" y="211"/>
                  <a:pt x="321" y="208"/>
                  <a:pt x="320" y="206"/>
                </a:cubicBezTo>
                <a:cubicBezTo>
                  <a:pt x="320" y="205"/>
                  <a:pt x="317" y="205"/>
                  <a:pt x="316" y="204"/>
                </a:cubicBezTo>
                <a:cubicBezTo>
                  <a:pt x="315" y="202"/>
                  <a:pt x="317" y="200"/>
                  <a:pt x="316" y="199"/>
                </a:cubicBezTo>
                <a:cubicBezTo>
                  <a:pt x="316" y="198"/>
                  <a:pt x="314" y="196"/>
                  <a:pt x="314" y="195"/>
                </a:cubicBezTo>
                <a:cubicBezTo>
                  <a:pt x="313" y="195"/>
                  <a:pt x="314" y="194"/>
                  <a:pt x="313" y="193"/>
                </a:cubicBezTo>
                <a:cubicBezTo>
                  <a:pt x="312" y="193"/>
                  <a:pt x="309" y="194"/>
                  <a:pt x="308" y="193"/>
                </a:cubicBezTo>
                <a:cubicBezTo>
                  <a:pt x="307" y="193"/>
                  <a:pt x="304" y="192"/>
                  <a:pt x="302" y="192"/>
                </a:cubicBezTo>
                <a:cubicBezTo>
                  <a:pt x="302" y="193"/>
                  <a:pt x="302" y="193"/>
                  <a:pt x="302" y="193"/>
                </a:cubicBezTo>
                <a:cubicBezTo>
                  <a:pt x="300" y="193"/>
                  <a:pt x="300" y="195"/>
                  <a:pt x="298" y="194"/>
                </a:cubicBezTo>
                <a:cubicBezTo>
                  <a:pt x="297" y="191"/>
                  <a:pt x="297" y="191"/>
                  <a:pt x="297" y="191"/>
                </a:cubicBezTo>
                <a:cubicBezTo>
                  <a:pt x="296" y="191"/>
                  <a:pt x="296" y="191"/>
                  <a:pt x="296" y="191"/>
                </a:cubicBezTo>
                <a:cubicBezTo>
                  <a:pt x="295" y="192"/>
                  <a:pt x="292" y="197"/>
                  <a:pt x="292" y="197"/>
                </a:cubicBezTo>
                <a:cubicBezTo>
                  <a:pt x="292" y="198"/>
                  <a:pt x="293" y="199"/>
                  <a:pt x="292" y="200"/>
                </a:cubicBezTo>
                <a:cubicBezTo>
                  <a:pt x="292" y="201"/>
                  <a:pt x="288" y="202"/>
                  <a:pt x="287" y="203"/>
                </a:cubicBezTo>
                <a:cubicBezTo>
                  <a:pt x="285" y="197"/>
                  <a:pt x="288" y="194"/>
                  <a:pt x="290" y="188"/>
                </a:cubicBezTo>
                <a:cubicBezTo>
                  <a:pt x="290" y="188"/>
                  <a:pt x="289" y="188"/>
                  <a:pt x="288" y="188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284" y="182"/>
                  <a:pt x="285" y="181"/>
                  <a:pt x="284" y="181"/>
                </a:cubicBezTo>
                <a:cubicBezTo>
                  <a:pt x="284" y="180"/>
                  <a:pt x="282" y="180"/>
                  <a:pt x="282" y="181"/>
                </a:cubicBezTo>
                <a:cubicBezTo>
                  <a:pt x="281" y="180"/>
                  <a:pt x="280" y="179"/>
                  <a:pt x="279" y="178"/>
                </a:cubicBezTo>
                <a:cubicBezTo>
                  <a:pt x="279" y="178"/>
                  <a:pt x="277" y="178"/>
                  <a:pt x="276" y="178"/>
                </a:cubicBezTo>
                <a:cubicBezTo>
                  <a:pt x="276" y="179"/>
                  <a:pt x="277" y="181"/>
                  <a:pt x="276" y="181"/>
                </a:cubicBezTo>
                <a:cubicBezTo>
                  <a:pt x="276" y="182"/>
                  <a:pt x="273" y="183"/>
                  <a:pt x="272" y="184"/>
                </a:cubicBezTo>
                <a:cubicBezTo>
                  <a:pt x="272" y="185"/>
                  <a:pt x="273" y="187"/>
                  <a:pt x="272" y="187"/>
                </a:cubicBezTo>
                <a:cubicBezTo>
                  <a:pt x="272" y="187"/>
                  <a:pt x="270" y="187"/>
                  <a:pt x="270" y="187"/>
                </a:cubicBezTo>
                <a:cubicBezTo>
                  <a:pt x="269" y="186"/>
                  <a:pt x="269" y="187"/>
                  <a:pt x="268" y="187"/>
                </a:cubicBezTo>
                <a:cubicBezTo>
                  <a:pt x="267" y="186"/>
                  <a:pt x="268" y="184"/>
                  <a:pt x="268" y="183"/>
                </a:cubicBezTo>
                <a:cubicBezTo>
                  <a:pt x="267" y="182"/>
                  <a:pt x="263" y="180"/>
                  <a:pt x="261" y="179"/>
                </a:cubicBezTo>
                <a:cubicBezTo>
                  <a:pt x="259" y="178"/>
                  <a:pt x="258" y="178"/>
                  <a:pt x="255" y="177"/>
                </a:cubicBezTo>
                <a:cubicBezTo>
                  <a:pt x="255" y="179"/>
                  <a:pt x="254" y="183"/>
                  <a:pt x="254" y="185"/>
                </a:cubicBezTo>
                <a:cubicBezTo>
                  <a:pt x="254" y="187"/>
                  <a:pt x="255" y="187"/>
                  <a:pt x="255" y="188"/>
                </a:cubicBezTo>
                <a:cubicBezTo>
                  <a:pt x="255" y="190"/>
                  <a:pt x="255" y="191"/>
                  <a:pt x="255" y="193"/>
                </a:cubicBezTo>
                <a:cubicBezTo>
                  <a:pt x="255" y="194"/>
                  <a:pt x="252" y="195"/>
                  <a:pt x="252" y="195"/>
                </a:cubicBezTo>
                <a:cubicBezTo>
                  <a:pt x="252" y="194"/>
                  <a:pt x="252" y="193"/>
                  <a:pt x="251" y="193"/>
                </a:cubicBezTo>
                <a:cubicBezTo>
                  <a:pt x="250" y="192"/>
                  <a:pt x="249" y="193"/>
                  <a:pt x="248" y="192"/>
                </a:cubicBezTo>
                <a:cubicBezTo>
                  <a:pt x="247" y="192"/>
                  <a:pt x="241" y="187"/>
                  <a:pt x="241" y="187"/>
                </a:cubicBezTo>
                <a:cubicBezTo>
                  <a:pt x="240" y="184"/>
                  <a:pt x="242" y="183"/>
                  <a:pt x="242" y="181"/>
                </a:cubicBezTo>
                <a:cubicBezTo>
                  <a:pt x="242" y="177"/>
                  <a:pt x="241" y="174"/>
                  <a:pt x="241" y="171"/>
                </a:cubicBezTo>
                <a:cubicBezTo>
                  <a:pt x="238" y="171"/>
                  <a:pt x="237" y="171"/>
                  <a:pt x="235" y="171"/>
                </a:cubicBezTo>
                <a:cubicBezTo>
                  <a:pt x="232" y="175"/>
                  <a:pt x="229" y="176"/>
                  <a:pt x="225" y="178"/>
                </a:cubicBezTo>
                <a:cubicBezTo>
                  <a:pt x="225" y="179"/>
                  <a:pt x="225" y="179"/>
                  <a:pt x="225" y="179"/>
                </a:cubicBezTo>
                <a:cubicBezTo>
                  <a:pt x="221" y="180"/>
                  <a:pt x="218" y="179"/>
                  <a:pt x="216" y="179"/>
                </a:cubicBezTo>
                <a:cubicBezTo>
                  <a:pt x="214" y="180"/>
                  <a:pt x="212" y="182"/>
                  <a:pt x="211" y="183"/>
                </a:cubicBezTo>
                <a:cubicBezTo>
                  <a:pt x="209" y="183"/>
                  <a:pt x="208" y="183"/>
                  <a:pt x="207" y="183"/>
                </a:cubicBezTo>
                <a:cubicBezTo>
                  <a:pt x="203" y="186"/>
                  <a:pt x="204" y="190"/>
                  <a:pt x="204" y="193"/>
                </a:cubicBezTo>
                <a:close/>
                <a:moveTo>
                  <a:pt x="566" y="186"/>
                </a:moveTo>
                <a:cubicBezTo>
                  <a:pt x="563" y="185"/>
                  <a:pt x="561" y="186"/>
                  <a:pt x="559" y="185"/>
                </a:cubicBezTo>
                <a:cubicBezTo>
                  <a:pt x="558" y="185"/>
                  <a:pt x="558" y="183"/>
                  <a:pt x="558" y="183"/>
                </a:cubicBezTo>
                <a:cubicBezTo>
                  <a:pt x="556" y="182"/>
                  <a:pt x="552" y="182"/>
                  <a:pt x="549" y="182"/>
                </a:cubicBezTo>
                <a:cubicBezTo>
                  <a:pt x="543" y="183"/>
                  <a:pt x="544" y="187"/>
                  <a:pt x="548" y="189"/>
                </a:cubicBezTo>
                <a:cubicBezTo>
                  <a:pt x="548" y="189"/>
                  <a:pt x="559" y="193"/>
                  <a:pt x="555" y="193"/>
                </a:cubicBezTo>
                <a:cubicBezTo>
                  <a:pt x="554" y="194"/>
                  <a:pt x="555" y="193"/>
                  <a:pt x="554" y="193"/>
                </a:cubicBezTo>
                <a:cubicBezTo>
                  <a:pt x="554" y="193"/>
                  <a:pt x="551" y="193"/>
                  <a:pt x="551" y="193"/>
                </a:cubicBezTo>
                <a:cubicBezTo>
                  <a:pt x="548" y="192"/>
                  <a:pt x="548" y="191"/>
                  <a:pt x="546" y="190"/>
                </a:cubicBezTo>
                <a:cubicBezTo>
                  <a:pt x="545" y="190"/>
                  <a:pt x="544" y="190"/>
                  <a:pt x="544" y="190"/>
                </a:cubicBezTo>
                <a:cubicBezTo>
                  <a:pt x="543" y="193"/>
                  <a:pt x="543" y="193"/>
                  <a:pt x="543" y="193"/>
                </a:cubicBezTo>
                <a:cubicBezTo>
                  <a:pt x="545" y="193"/>
                  <a:pt x="544" y="194"/>
                  <a:pt x="544" y="195"/>
                </a:cubicBezTo>
                <a:cubicBezTo>
                  <a:pt x="544" y="195"/>
                  <a:pt x="543" y="195"/>
                  <a:pt x="542" y="195"/>
                </a:cubicBezTo>
                <a:cubicBezTo>
                  <a:pt x="542" y="195"/>
                  <a:pt x="541" y="197"/>
                  <a:pt x="541" y="197"/>
                </a:cubicBezTo>
                <a:cubicBezTo>
                  <a:pt x="540" y="196"/>
                  <a:pt x="540" y="199"/>
                  <a:pt x="540" y="199"/>
                </a:cubicBezTo>
                <a:cubicBezTo>
                  <a:pt x="542" y="200"/>
                  <a:pt x="542" y="199"/>
                  <a:pt x="542" y="201"/>
                </a:cubicBezTo>
                <a:cubicBezTo>
                  <a:pt x="542" y="201"/>
                  <a:pt x="540" y="201"/>
                  <a:pt x="540" y="201"/>
                </a:cubicBezTo>
                <a:cubicBezTo>
                  <a:pt x="540" y="201"/>
                  <a:pt x="538" y="200"/>
                  <a:pt x="540" y="200"/>
                </a:cubicBezTo>
                <a:cubicBezTo>
                  <a:pt x="538" y="200"/>
                  <a:pt x="540" y="197"/>
                  <a:pt x="540" y="197"/>
                </a:cubicBezTo>
                <a:cubicBezTo>
                  <a:pt x="541" y="188"/>
                  <a:pt x="539" y="191"/>
                  <a:pt x="534" y="193"/>
                </a:cubicBezTo>
                <a:cubicBezTo>
                  <a:pt x="533" y="191"/>
                  <a:pt x="533" y="191"/>
                  <a:pt x="533" y="191"/>
                </a:cubicBezTo>
                <a:cubicBezTo>
                  <a:pt x="535" y="193"/>
                  <a:pt x="534" y="189"/>
                  <a:pt x="531" y="189"/>
                </a:cubicBezTo>
                <a:cubicBezTo>
                  <a:pt x="530" y="191"/>
                  <a:pt x="530" y="191"/>
                  <a:pt x="530" y="191"/>
                </a:cubicBezTo>
                <a:cubicBezTo>
                  <a:pt x="527" y="192"/>
                  <a:pt x="527" y="193"/>
                  <a:pt x="524" y="195"/>
                </a:cubicBezTo>
                <a:cubicBezTo>
                  <a:pt x="525" y="196"/>
                  <a:pt x="526" y="197"/>
                  <a:pt x="527" y="197"/>
                </a:cubicBezTo>
                <a:cubicBezTo>
                  <a:pt x="527" y="198"/>
                  <a:pt x="526" y="199"/>
                  <a:pt x="526" y="200"/>
                </a:cubicBezTo>
                <a:cubicBezTo>
                  <a:pt x="522" y="200"/>
                  <a:pt x="522" y="200"/>
                  <a:pt x="519" y="199"/>
                </a:cubicBezTo>
                <a:cubicBezTo>
                  <a:pt x="519" y="198"/>
                  <a:pt x="519" y="198"/>
                  <a:pt x="519" y="198"/>
                </a:cubicBezTo>
                <a:cubicBezTo>
                  <a:pt x="520" y="198"/>
                  <a:pt x="521" y="198"/>
                  <a:pt x="522" y="198"/>
                </a:cubicBezTo>
                <a:cubicBezTo>
                  <a:pt x="523" y="196"/>
                  <a:pt x="521" y="195"/>
                  <a:pt x="523" y="193"/>
                </a:cubicBezTo>
                <a:cubicBezTo>
                  <a:pt x="525" y="192"/>
                  <a:pt x="523" y="192"/>
                  <a:pt x="522" y="191"/>
                </a:cubicBezTo>
                <a:cubicBezTo>
                  <a:pt x="522" y="190"/>
                  <a:pt x="522" y="190"/>
                  <a:pt x="522" y="190"/>
                </a:cubicBezTo>
                <a:cubicBezTo>
                  <a:pt x="522" y="190"/>
                  <a:pt x="523" y="188"/>
                  <a:pt x="522" y="187"/>
                </a:cubicBezTo>
                <a:cubicBezTo>
                  <a:pt x="522" y="187"/>
                  <a:pt x="522" y="187"/>
                  <a:pt x="522" y="187"/>
                </a:cubicBezTo>
                <a:cubicBezTo>
                  <a:pt x="521" y="186"/>
                  <a:pt x="521" y="184"/>
                  <a:pt x="520" y="183"/>
                </a:cubicBezTo>
                <a:cubicBezTo>
                  <a:pt x="518" y="183"/>
                  <a:pt x="518" y="183"/>
                  <a:pt x="518" y="183"/>
                </a:cubicBezTo>
                <a:cubicBezTo>
                  <a:pt x="517" y="178"/>
                  <a:pt x="521" y="178"/>
                  <a:pt x="521" y="177"/>
                </a:cubicBezTo>
                <a:cubicBezTo>
                  <a:pt x="521" y="177"/>
                  <a:pt x="521" y="176"/>
                  <a:pt x="521" y="175"/>
                </a:cubicBezTo>
                <a:cubicBezTo>
                  <a:pt x="521" y="176"/>
                  <a:pt x="520" y="175"/>
                  <a:pt x="520" y="175"/>
                </a:cubicBezTo>
                <a:cubicBezTo>
                  <a:pt x="521" y="170"/>
                  <a:pt x="525" y="169"/>
                  <a:pt x="518" y="167"/>
                </a:cubicBezTo>
                <a:cubicBezTo>
                  <a:pt x="517" y="166"/>
                  <a:pt x="513" y="165"/>
                  <a:pt x="510" y="166"/>
                </a:cubicBezTo>
                <a:cubicBezTo>
                  <a:pt x="510" y="166"/>
                  <a:pt x="510" y="166"/>
                  <a:pt x="510" y="166"/>
                </a:cubicBezTo>
                <a:cubicBezTo>
                  <a:pt x="510" y="166"/>
                  <a:pt x="508" y="168"/>
                  <a:pt x="508" y="168"/>
                </a:cubicBezTo>
                <a:cubicBezTo>
                  <a:pt x="507" y="168"/>
                  <a:pt x="505" y="168"/>
                  <a:pt x="504" y="168"/>
                </a:cubicBezTo>
                <a:cubicBezTo>
                  <a:pt x="504" y="169"/>
                  <a:pt x="504" y="170"/>
                  <a:pt x="504" y="171"/>
                </a:cubicBezTo>
                <a:cubicBezTo>
                  <a:pt x="498" y="171"/>
                  <a:pt x="498" y="171"/>
                  <a:pt x="498" y="171"/>
                </a:cubicBezTo>
                <a:cubicBezTo>
                  <a:pt x="498" y="172"/>
                  <a:pt x="498" y="173"/>
                  <a:pt x="498" y="173"/>
                </a:cubicBezTo>
                <a:cubicBezTo>
                  <a:pt x="497" y="174"/>
                  <a:pt x="495" y="173"/>
                  <a:pt x="493" y="174"/>
                </a:cubicBezTo>
                <a:cubicBezTo>
                  <a:pt x="492" y="175"/>
                  <a:pt x="494" y="175"/>
                  <a:pt x="494" y="175"/>
                </a:cubicBezTo>
                <a:cubicBezTo>
                  <a:pt x="493" y="175"/>
                  <a:pt x="494" y="176"/>
                  <a:pt x="494" y="176"/>
                </a:cubicBezTo>
                <a:cubicBezTo>
                  <a:pt x="494" y="177"/>
                  <a:pt x="493" y="177"/>
                  <a:pt x="492" y="179"/>
                </a:cubicBezTo>
                <a:cubicBezTo>
                  <a:pt x="492" y="179"/>
                  <a:pt x="495" y="179"/>
                  <a:pt x="494" y="179"/>
                </a:cubicBezTo>
                <a:cubicBezTo>
                  <a:pt x="492" y="180"/>
                  <a:pt x="492" y="179"/>
                  <a:pt x="490" y="179"/>
                </a:cubicBezTo>
                <a:cubicBezTo>
                  <a:pt x="488" y="179"/>
                  <a:pt x="487" y="181"/>
                  <a:pt x="487" y="181"/>
                </a:cubicBezTo>
                <a:cubicBezTo>
                  <a:pt x="487" y="181"/>
                  <a:pt x="487" y="186"/>
                  <a:pt x="487" y="188"/>
                </a:cubicBezTo>
                <a:cubicBezTo>
                  <a:pt x="488" y="188"/>
                  <a:pt x="489" y="189"/>
                  <a:pt x="489" y="189"/>
                </a:cubicBezTo>
                <a:cubicBezTo>
                  <a:pt x="490" y="190"/>
                  <a:pt x="494" y="188"/>
                  <a:pt x="496" y="189"/>
                </a:cubicBezTo>
                <a:cubicBezTo>
                  <a:pt x="496" y="189"/>
                  <a:pt x="495" y="194"/>
                  <a:pt x="496" y="195"/>
                </a:cubicBezTo>
                <a:cubicBezTo>
                  <a:pt x="493" y="193"/>
                  <a:pt x="492" y="192"/>
                  <a:pt x="486" y="192"/>
                </a:cubicBezTo>
                <a:cubicBezTo>
                  <a:pt x="486" y="194"/>
                  <a:pt x="486" y="195"/>
                  <a:pt x="486" y="196"/>
                </a:cubicBezTo>
                <a:cubicBezTo>
                  <a:pt x="491" y="200"/>
                  <a:pt x="495" y="197"/>
                  <a:pt x="490" y="203"/>
                </a:cubicBezTo>
                <a:cubicBezTo>
                  <a:pt x="490" y="201"/>
                  <a:pt x="491" y="208"/>
                  <a:pt x="492" y="210"/>
                </a:cubicBezTo>
                <a:cubicBezTo>
                  <a:pt x="486" y="207"/>
                  <a:pt x="485" y="208"/>
                  <a:pt x="478" y="209"/>
                </a:cubicBezTo>
                <a:cubicBezTo>
                  <a:pt x="480" y="208"/>
                  <a:pt x="482" y="206"/>
                  <a:pt x="484" y="205"/>
                </a:cubicBezTo>
                <a:cubicBezTo>
                  <a:pt x="484" y="205"/>
                  <a:pt x="485" y="206"/>
                  <a:pt x="486" y="205"/>
                </a:cubicBezTo>
                <a:cubicBezTo>
                  <a:pt x="485" y="204"/>
                  <a:pt x="486" y="203"/>
                  <a:pt x="485" y="202"/>
                </a:cubicBezTo>
                <a:cubicBezTo>
                  <a:pt x="484" y="201"/>
                  <a:pt x="481" y="201"/>
                  <a:pt x="480" y="199"/>
                </a:cubicBezTo>
                <a:cubicBezTo>
                  <a:pt x="478" y="196"/>
                  <a:pt x="479" y="183"/>
                  <a:pt x="480" y="179"/>
                </a:cubicBezTo>
                <a:cubicBezTo>
                  <a:pt x="482" y="172"/>
                  <a:pt x="491" y="170"/>
                  <a:pt x="500" y="169"/>
                </a:cubicBezTo>
                <a:cubicBezTo>
                  <a:pt x="499" y="169"/>
                  <a:pt x="501" y="169"/>
                  <a:pt x="501" y="169"/>
                </a:cubicBezTo>
                <a:cubicBezTo>
                  <a:pt x="501" y="169"/>
                  <a:pt x="501" y="167"/>
                  <a:pt x="501" y="167"/>
                </a:cubicBezTo>
                <a:cubicBezTo>
                  <a:pt x="500" y="167"/>
                  <a:pt x="497" y="166"/>
                  <a:pt x="496" y="166"/>
                </a:cubicBezTo>
                <a:cubicBezTo>
                  <a:pt x="493" y="165"/>
                  <a:pt x="486" y="165"/>
                  <a:pt x="482" y="166"/>
                </a:cubicBezTo>
                <a:cubicBezTo>
                  <a:pt x="480" y="168"/>
                  <a:pt x="480" y="168"/>
                  <a:pt x="480" y="168"/>
                </a:cubicBezTo>
                <a:cubicBezTo>
                  <a:pt x="478" y="168"/>
                  <a:pt x="477" y="166"/>
                  <a:pt x="474" y="166"/>
                </a:cubicBezTo>
                <a:cubicBezTo>
                  <a:pt x="473" y="166"/>
                  <a:pt x="471" y="168"/>
                  <a:pt x="470" y="168"/>
                </a:cubicBezTo>
                <a:cubicBezTo>
                  <a:pt x="467" y="168"/>
                  <a:pt x="467" y="167"/>
                  <a:pt x="464" y="168"/>
                </a:cubicBezTo>
                <a:cubicBezTo>
                  <a:pt x="464" y="168"/>
                  <a:pt x="464" y="168"/>
                  <a:pt x="464" y="168"/>
                </a:cubicBezTo>
                <a:cubicBezTo>
                  <a:pt x="463" y="169"/>
                  <a:pt x="461" y="171"/>
                  <a:pt x="460" y="172"/>
                </a:cubicBezTo>
                <a:cubicBezTo>
                  <a:pt x="460" y="173"/>
                  <a:pt x="461" y="175"/>
                  <a:pt x="461" y="175"/>
                </a:cubicBezTo>
                <a:cubicBezTo>
                  <a:pt x="461" y="175"/>
                  <a:pt x="456" y="178"/>
                  <a:pt x="456" y="178"/>
                </a:cubicBezTo>
                <a:cubicBezTo>
                  <a:pt x="457" y="181"/>
                  <a:pt x="457" y="181"/>
                  <a:pt x="457" y="181"/>
                </a:cubicBezTo>
                <a:cubicBezTo>
                  <a:pt x="456" y="183"/>
                  <a:pt x="449" y="189"/>
                  <a:pt x="449" y="190"/>
                </a:cubicBezTo>
                <a:cubicBezTo>
                  <a:pt x="448" y="191"/>
                  <a:pt x="450" y="192"/>
                  <a:pt x="450" y="194"/>
                </a:cubicBezTo>
                <a:cubicBezTo>
                  <a:pt x="450" y="195"/>
                  <a:pt x="447" y="197"/>
                  <a:pt x="447" y="197"/>
                </a:cubicBezTo>
                <a:cubicBezTo>
                  <a:pt x="446" y="199"/>
                  <a:pt x="446" y="199"/>
                  <a:pt x="446" y="201"/>
                </a:cubicBezTo>
                <a:cubicBezTo>
                  <a:pt x="448" y="202"/>
                  <a:pt x="450" y="203"/>
                  <a:pt x="453" y="204"/>
                </a:cubicBezTo>
                <a:cubicBezTo>
                  <a:pt x="453" y="205"/>
                  <a:pt x="453" y="205"/>
                  <a:pt x="453" y="205"/>
                </a:cubicBezTo>
                <a:cubicBezTo>
                  <a:pt x="452" y="205"/>
                  <a:pt x="452" y="205"/>
                  <a:pt x="452" y="205"/>
                </a:cubicBezTo>
                <a:cubicBezTo>
                  <a:pt x="450" y="205"/>
                  <a:pt x="454" y="209"/>
                  <a:pt x="455" y="209"/>
                </a:cubicBezTo>
                <a:cubicBezTo>
                  <a:pt x="455" y="210"/>
                  <a:pt x="455" y="210"/>
                  <a:pt x="455" y="210"/>
                </a:cubicBezTo>
                <a:cubicBezTo>
                  <a:pt x="458" y="211"/>
                  <a:pt x="463" y="210"/>
                  <a:pt x="466" y="210"/>
                </a:cubicBezTo>
                <a:cubicBezTo>
                  <a:pt x="467" y="213"/>
                  <a:pt x="467" y="213"/>
                  <a:pt x="467" y="213"/>
                </a:cubicBezTo>
                <a:cubicBezTo>
                  <a:pt x="465" y="212"/>
                  <a:pt x="463" y="213"/>
                  <a:pt x="461" y="213"/>
                </a:cubicBezTo>
                <a:cubicBezTo>
                  <a:pt x="461" y="213"/>
                  <a:pt x="461" y="215"/>
                  <a:pt x="461" y="215"/>
                </a:cubicBezTo>
                <a:cubicBezTo>
                  <a:pt x="461" y="215"/>
                  <a:pt x="464" y="218"/>
                  <a:pt x="464" y="218"/>
                </a:cubicBezTo>
                <a:cubicBezTo>
                  <a:pt x="464" y="219"/>
                  <a:pt x="464" y="219"/>
                  <a:pt x="464" y="219"/>
                </a:cubicBezTo>
                <a:cubicBezTo>
                  <a:pt x="464" y="219"/>
                  <a:pt x="464" y="218"/>
                  <a:pt x="466" y="218"/>
                </a:cubicBezTo>
                <a:cubicBezTo>
                  <a:pt x="466" y="218"/>
                  <a:pt x="469" y="220"/>
                  <a:pt x="470" y="221"/>
                </a:cubicBezTo>
                <a:cubicBezTo>
                  <a:pt x="469" y="221"/>
                  <a:pt x="468" y="221"/>
                  <a:pt x="468" y="221"/>
                </a:cubicBezTo>
                <a:cubicBezTo>
                  <a:pt x="468" y="223"/>
                  <a:pt x="468" y="223"/>
                  <a:pt x="468" y="223"/>
                </a:cubicBezTo>
                <a:cubicBezTo>
                  <a:pt x="469" y="223"/>
                  <a:pt x="471" y="223"/>
                  <a:pt x="472" y="223"/>
                </a:cubicBezTo>
                <a:cubicBezTo>
                  <a:pt x="474" y="221"/>
                  <a:pt x="475" y="219"/>
                  <a:pt x="478" y="221"/>
                </a:cubicBezTo>
                <a:cubicBezTo>
                  <a:pt x="479" y="221"/>
                  <a:pt x="478" y="222"/>
                  <a:pt x="478" y="223"/>
                </a:cubicBezTo>
                <a:cubicBezTo>
                  <a:pt x="479" y="223"/>
                  <a:pt x="483" y="226"/>
                  <a:pt x="484" y="227"/>
                </a:cubicBezTo>
                <a:cubicBezTo>
                  <a:pt x="484" y="227"/>
                  <a:pt x="483" y="227"/>
                  <a:pt x="483" y="229"/>
                </a:cubicBezTo>
                <a:cubicBezTo>
                  <a:pt x="483" y="229"/>
                  <a:pt x="484" y="229"/>
                  <a:pt x="484" y="229"/>
                </a:cubicBezTo>
                <a:cubicBezTo>
                  <a:pt x="487" y="229"/>
                  <a:pt x="488" y="229"/>
                  <a:pt x="490" y="229"/>
                </a:cubicBezTo>
                <a:cubicBezTo>
                  <a:pt x="490" y="229"/>
                  <a:pt x="488" y="226"/>
                  <a:pt x="489" y="226"/>
                </a:cubicBezTo>
                <a:cubicBezTo>
                  <a:pt x="490" y="226"/>
                  <a:pt x="490" y="226"/>
                  <a:pt x="490" y="226"/>
                </a:cubicBezTo>
                <a:cubicBezTo>
                  <a:pt x="491" y="226"/>
                  <a:pt x="493" y="229"/>
                  <a:pt x="493" y="229"/>
                </a:cubicBezTo>
                <a:cubicBezTo>
                  <a:pt x="495" y="230"/>
                  <a:pt x="497" y="229"/>
                  <a:pt x="499" y="229"/>
                </a:cubicBezTo>
                <a:cubicBezTo>
                  <a:pt x="500" y="231"/>
                  <a:pt x="500" y="231"/>
                  <a:pt x="500" y="231"/>
                </a:cubicBezTo>
                <a:cubicBezTo>
                  <a:pt x="501" y="231"/>
                  <a:pt x="502" y="231"/>
                  <a:pt x="504" y="231"/>
                </a:cubicBezTo>
                <a:cubicBezTo>
                  <a:pt x="505" y="231"/>
                  <a:pt x="509" y="229"/>
                  <a:pt x="510" y="229"/>
                </a:cubicBezTo>
                <a:cubicBezTo>
                  <a:pt x="511" y="229"/>
                  <a:pt x="511" y="231"/>
                  <a:pt x="512" y="231"/>
                </a:cubicBezTo>
                <a:cubicBezTo>
                  <a:pt x="513" y="232"/>
                  <a:pt x="517" y="233"/>
                  <a:pt x="518" y="233"/>
                </a:cubicBezTo>
                <a:cubicBezTo>
                  <a:pt x="524" y="233"/>
                  <a:pt x="520" y="231"/>
                  <a:pt x="518" y="229"/>
                </a:cubicBezTo>
                <a:cubicBezTo>
                  <a:pt x="518" y="229"/>
                  <a:pt x="518" y="228"/>
                  <a:pt x="518" y="227"/>
                </a:cubicBezTo>
                <a:cubicBezTo>
                  <a:pt x="516" y="226"/>
                  <a:pt x="515" y="225"/>
                  <a:pt x="514" y="224"/>
                </a:cubicBezTo>
                <a:cubicBezTo>
                  <a:pt x="512" y="223"/>
                  <a:pt x="513" y="222"/>
                  <a:pt x="516" y="223"/>
                </a:cubicBezTo>
                <a:cubicBezTo>
                  <a:pt x="517" y="223"/>
                  <a:pt x="520" y="228"/>
                  <a:pt x="521" y="229"/>
                </a:cubicBezTo>
                <a:cubicBezTo>
                  <a:pt x="521" y="230"/>
                  <a:pt x="522" y="229"/>
                  <a:pt x="523" y="229"/>
                </a:cubicBezTo>
                <a:cubicBezTo>
                  <a:pt x="525" y="230"/>
                  <a:pt x="526" y="233"/>
                  <a:pt x="528" y="235"/>
                </a:cubicBezTo>
                <a:cubicBezTo>
                  <a:pt x="528" y="235"/>
                  <a:pt x="529" y="235"/>
                  <a:pt x="530" y="235"/>
                </a:cubicBezTo>
                <a:cubicBezTo>
                  <a:pt x="529" y="234"/>
                  <a:pt x="531" y="233"/>
                  <a:pt x="530" y="231"/>
                </a:cubicBezTo>
                <a:cubicBezTo>
                  <a:pt x="530" y="231"/>
                  <a:pt x="527" y="230"/>
                  <a:pt x="527" y="229"/>
                </a:cubicBezTo>
                <a:cubicBezTo>
                  <a:pt x="527" y="229"/>
                  <a:pt x="527" y="228"/>
                  <a:pt x="527" y="227"/>
                </a:cubicBezTo>
                <a:cubicBezTo>
                  <a:pt x="527" y="227"/>
                  <a:pt x="525" y="226"/>
                  <a:pt x="525" y="226"/>
                </a:cubicBezTo>
                <a:cubicBezTo>
                  <a:pt x="525" y="224"/>
                  <a:pt x="526" y="225"/>
                  <a:pt x="526" y="224"/>
                </a:cubicBezTo>
                <a:cubicBezTo>
                  <a:pt x="527" y="224"/>
                  <a:pt x="529" y="224"/>
                  <a:pt x="531" y="224"/>
                </a:cubicBezTo>
                <a:cubicBezTo>
                  <a:pt x="531" y="223"/>
                  <a:pt x="531" y="223"/>
                  <a:pt x="531" y="223"/>
                </a:cubicBezTo>
                <a:cubicBezTo>
                  <a:pt x="531" y="223"/>
                  <a:pt x="534" y="223"/>
                  <a:pt x="534" y="223"/>
                </a:cubicBezTo>
                <a:cubicBezTo>
                  <a:pt x="534" y="224"/>
                  <a:pt x="535" y="223"/>
                  <a:pt x="536" y="223"/>
                </a:cubicBezTo>
                <a:cubicBezTo>
                  <a:pt x="537" y="224"/>
                  <a:pt x="537" y="226"/>
                  <a:pt x="538" y="227"/>
                </a:cubicBezTo>
                <a:cubicBezTo>
                  <a:pt x="542" y="230"/>
                  <a:pt x="542" y="228"/>
                  <a:pt x="545" y="227"/>
                </a:cubicBezTo>
                <a:cubicBezTo>
                  <a:pt x="546" y="227"/>
                  <a:pt x="546" y="228"/>
                  <a:pt x="548" y="228"/>
                </a:cubicBezTo>
                <a:cubicBezTo>
                  <a:pt x="548" y="228"/>
                  <a:pt x="548" y="227"/>
                  <a:pt x="549" y="227"/>
                </a:cubicBezTo>
                <a:cubicBezTo>
                  <a:pt x="548" y="224"/>
                  <a:pt x="548" y="223"/>
                  <a:pt x="548" y="221"/>
                </a:cubicBezTo>
                <a:cubicBezTo>
                  <a:pt x="546" y="221"/>
                  <a:pt x="546" y="221"/>
                  <a:pt x="546" y="221"/>
                </a:cubicBezTo>
                <a:cubicBezTo>
                  <a:pt x="546" y="222"/>
                  <a:pt x="545" y="223"/>
                  <a:pt x="545" y="223"/>
                </a:cubicBezTo>
                <a:cubicBezTo>
                  <a:pt x="544" y="224"/>
                  <a:pt x="544" y="223"/>
                  <a:pt x="543" y="223"/>
                </a:cubicBezTo>
                <a:cubicBezTo>
                  <a:pt x="543" y="223"/>
                  <a:pt x="543" y="221"/>
                  <a:pt x="543" y="221"/>
                </a:cubicBezTo>
                <a:cubicBezTo>
                  <a:pt x="545" y="220"/>
                  <a:pt x="546" y="220"/>
                  <a:pt x="548" y="219"/>
                </a:cubicBezTo>
                <a:cubicBezTo>
                  <a:pt x="549" y="220"/>
                  <a:pt x="550" y="222"/>
                  <a:pt x="550" y="224"/>
                </a:cubicBezTo>
                <a:cubicBezTo>
                  <a:pt x="551" y="224"/>
                  <a:pt x="552" y="224"/>
                  <a:pt x="553" y="225"/>
                </a:cubicBezTo>
                <a:cubicBezTo>
                  <a:pt x="553" y="223"/>
                  <a:pt x="553" y="223"/>
                  <a:pt x="553" y="223"/>
                </a:cubicBezTo>
                <a:cubicBezTo>
                  <a:pt x="553" y="223"/>
                  <a:pt x="555" y="223"/>
                  <a:pt x="556" y="223"/>
                </a:cubicBezTo>
                <a:cubicBezTo>
                  <a:pt x="557" y="226"/>
                  <a:pt x="557" y="230"/>
                  <a:pt x="558" y="233"/>
                </a:cubicBezTo>
                <a:cubicBezTo>
                  <a:pt x="560" y="233"/>
                  <a:pt x="560" y="233"/>
                  <a:pt x="560" y="233"/>
                </a:cubicBezTo>
                <a:cubicBezTo>
                  <a:pt x="560" y="232"/>
                  <a:pt x="560" y="230"/>
                  <a:pt x="560" y="229"/>
                </a:cubicBezTo>
                <a:cubicBezTo>
                  <a:pt x="561" y="229"/>
                  <a:pt x="560" y="229"/>
                  <a:pt x="562" y="229"/>
                </a:cubicBezTo>
                <a:cubicBezTo>
                  <a:pt x="562" y="229"/>
                  <a:pt x="563" y="228"/>
                  <a:pt x="563" y="228"/>
                </a:cubicBezTo>
                <a:cubicBezTo>
                  <a:pt x="564" y="228"/>
                  <a:pt x="564" y="229"/>
                  <a:pt x="566" y="229"/>
                </a:cubicBezTo>
                <a:cubicBezTo>
                  <a:pt x="566" y="230"/>
                  <a:pt x="565" y="231"/>
                  <a:pt x="566" y="231"/>
                </a:cubicBezTo>
                <a:cubicBezTo>
                  <a:pt x="567" y="232"/>
                  <a:pt x="568" y="231"/>
                  <a:pt x="568" y="231"/>
                </a:cubicBezTo>
                <a:cubicBezTo>
                  <a:pt x="568" y="233"/>
                  <a:pt x="567" y="233"/>
                  <a:pt x="567" y="235"/>
                </a:cubicBezTo>
                <a:cubicBezTo>
                  <a:pt x="568" y="235"/>
                  <a:pt x="569" y="235"/>
                  <a:pt x="570" y="235"/>
                </a:cubicBezTo>
                <a:cubicBezTo>
                  <a:pt x="572" y="231"/>
                  <a:pt x="571" y="232"/>
                  <a:pt x="575" y="232"/>
                </a:cubicBezTo>
                <a:cubicBezTo>
                  <a:pt x="576" y="235"/>
                  <a:pt x="576" y="235"/>
                  <a:pt x="576" y="235"/>
                </a:cubicBezTo>
                <a:cubicBezTo>
                  <a:pt x="575" y="235"/>
                  <a:pt x="574" y="234"/>
                  <a:pt x="573" y="234"/>
                </a:cubicBezTo>
                <a:cubicBezTo>
                  <a:pt x="573" y="235"/>
                  <a:pt x="573" y="235"/>
                  <a:pt x="572" y="235"/>
                </a:cubicBezTo>
                <a:cubicBezTo>
                  <a:pt x="572" y="236"/>
                  <a:pt x="572" y="238"/>
                  <a:pt x="572" y="239"/>
                </a:cubicBezTo>
                <a:cubicBezTo>
                  <a:pt x="573" y="239"/>
                  <a:pt x="573" y="240"/>
                  <a:pt x="574" y="241"/>
                </a:cubicBezTo>
                <a:cubicBezTo>
                  <a:pt x="575" y="241"/>
                  <a:pt x="577" y="241"/>
                  <a:pt x="578" y="241"/>
                </a:cubicBezTo>
                <a:cubicBezTo>
                  <a:pt x="579" y="242"/>
                  <a:pt x="579" y="245"/>
                  <a:pt x="578" y="244"/>
                </a:cubicBezTo>
                <a:cubicBezTo>
                  <a:pt x="578" y="244"/>
                  <a:pt x="578" y="243"/>
                  <a:pt x="577" y="243"/>
                </a:cubicBezTo>
                <a:cubicBezTo>
                  <a:pt x="577" y="243"/>
                  <a:pt x="576" y="243"/>
                  <a:pt x="575" y="243"/>
                </a:cubicBezTo>
                <a:cubicBezTo>
                  <a:pt x="575" y="243"/>
                  <a:pt x="575" y="244"/>
                  <a:pt x="575" y="245"/>
                </a:cubicBezTo>
                <a:cubicBezTo>
                  <a:pt x="574" y="246"/>
                  <a:pt x="575" y="246"/>
                  <a:pt x="574" y="247"/>
                </a:cubicBezTo>
                <a:cubicBezTo>
                  <a:pt x="572" y="246"/>
                  <a:pt x="574" y="251"/>
                  <a:pt x="574" y="251"/>
                </a:cubicBezTo>
                <a:cubicBezTo>
                  <a:pt x="574" y="251"/>
                  <a:pt x="576" y="250"/>
                  <a:pt x="576" y="251"/>
                </a:cubicBezTo>
                <a:cubicBezTo>
                  <a:pt x="577" y="251"/>
                  <a:pt x="575" y="254"/>
                  <a:pt x="576" y="255"/>
                </a:cubicBezTo>
                <a:cubicBezTo>
                  <a:pt x="577" y="254"/>
                  <a:pt x="577" y="255"/>
                  <a:pt x="578" y="255"/>
                </a:cubicBezTo>
                <a:cubicBezTo>
                  <a:pt x="580" y="254"/>
                  <a:pt x="584" y="249"/>
                  <a:pt x="585" y="247"/>
                </a:cubicBezTo>
                <a:cubicBezTo>
                  <a:pt x="586" y="248"/>
                  <a:pt x="587" y="248"/>
                  <a:pt x="588" y="248"/>
                </a:cubicBezTo>
                <a:cubicBezTo>
                  <a:pt x="589" y="248"/>
                  <a:pt x="589" y="245"/>
                  <a:pt x="590" y="245"/>
                </a:cubicBezTo>
                <a:cubicBezTo>
                  <a:pt x="591" y="245"/>
                  <a:pt x="591" y="249"/>
                  <a:pt x="591" y="250"/>
                </a:cubicBezTo>
                <a:cubicBezTo>
                  <a:pt x="591" y="250"/>
                  <a:pt x="589" y="251"/>
                  <a:pt x="588" y="251"/>
                </a:cubicBezTo>
                <a:cubicBezTo>
                  <a:pt x="588" y="252"/>
                  <a:pt x="588" y="253"/>
                  <a:pt x="589" y="253"/>
                </a:cubicBezTo>
                <a:cubicBezTo>
                  <a:pt x="589" y="254"/>
                  <a:pt x="589" y="254"/>
                  <a:pt x="589" y="255"/>
                </a:cubicBezTo>
                <a:cubicBezTo>
                  <a:pt x="589" y="256"/>
                  <a:pt x="589" y="256"/>
                  <a:pt x="589" y="256"/>
                </a:cubicBezTo>
                <a:cubicBezTo>
                  <a:pt x="591" y="256"/>
                  <a:pt x="592" y="256"/>
                  <a:pt x="593" y="256"/>
                </a:cubicBezTo>
                <a:cubicBezTo>
                  <a:pt x="593" y="256"/>
                  <a:pt x="595" y="258"/>
                  <a:pt x="593" y="257"/>
                </a:cubicBezTo>
                <a:cubicBezTo>
                  <a:pt x="594" y="257"/>
                  <a:pt x="594" y="259"/>
                  <a:pt x="594" y="259"/>
                </a:cubicBezTo>
                <a:cubicBezTo>
                  <a:pt x="595" y="260"/>
                  <a:pt x="596" y="259"/>
                  <a:pt x="597" y="260"/>
                </a:cubicBezTo>
                <a:cubicBezTo>
                  <a:pt x="597" y="263"/>
                  <a:pt x="596" y="263"/>
                  <a:pt x="597" y="267"/>
                </a:cubicBezTo>
                <a:cubicBezTo>
                  <a:pt x="599" y="267"/>
                  <a:pt x="599" y="267"/>
                  <a:pt x="599" y="267"/>
                </a:cubicBezTo>
                <a:cubicBezTo>
                  <a:pt x="599" y="268"/>
                  <a:pt x="598" y="269"/>
                  <a:pt x="598" y="271"/>
                </a:cubicBezTo>
                <a:cubicBezTo>
                  <a:pt x="598" y="271"/>
                  <a:pt x="600" y="271"/>
                  <a:pt x="601" y="271"/>
                </a:cubicBezTo>
                <a:cubicBezTo>
                  <a:pt x="601" y="271"/>
                  <a:pt x="600" y="273"/>
                  <a:pt x="601" y="273"/>
                </a:cubicBezTo>
                <a:cubicBezTo>
                  <a:pt x="600" y="273"/>
                  <a:pt x="600" y="273"/>
                  <a:pt x="600" y="275"/>
                </a:cubicBezTo>
                <a:cubicBezTo>
                  <a:pt x="598" y="275"/>
                  <a:pt x="599" y="274"/>
                  <a:pt x="597" y="274"/>
                </a:cubicBezTo>
                <a:cubicBezTo>
                  <a:pt x="597" y="275"/>
                  <a:pt x="596" y="274"/>
                  <a:pt x="595" y="275"/>
                </a:cubicBezTo>
                <a:cubicBezTo>
                  <a:pt x="593" y="280"/>
                  <a:pt x="596" y="282"/>
                  <a:pt x="599" y="283"/>
                </a:cubicBezTo>
                <a:cubicBezTo>
                  <a:pt x="595" y="283"/>
                  <a:pt x="593" y="285"/>
                  <a:pt x="591" y="288"/>
                </a:cubicBezTo>
                <a:cubicBezTo>
                  <a:pt x="590" y="289"/>
                  <a:pt x="590" y="291"/>
                  <a:pt x="589" y="292"/>
                </a:cubicBezTo>
                <a:cubicBezTo>
                  <a:pt x="587" y="293"/>
                  <a:pt x="586" y="293"/>
                  <a:pt x="584" y="294"/>
                </a:cubicBezTo>
                <a:cubicBezTo>
                  <a:pt x="584" y="294"/>
                  <a:pt x="584" y="296"/>
                  <a:pt x="584" y="296"/>
                </a:cubicBezTo>
                <a:cubicBezTo>
                  <a:pt x="585" y="297"/>
                  <a:pt x="587" y="300"/>
                  <a:pt x="587" y="300"/>
                </a:cubicBezTo>
                <a:cubicBezTo>
                  <a:pt x="588" y="300"/>
                  <a:pt x="589" y="299"/>
                  <a:pt x="589" y="300"/>
                </a:cubicBezTo>
                <a:cubicBezTo>
                  <a:pt x="590" y="301"/>
                  <a:pt x="590" y="302"/>
                  <a:pt x="590" y="303"/>
                </a:cubicBezTo>
                <a:cubicBezTo>
                  <a:pt x="591" y="304"/>
                  <a:pt x="593" y="305"/>
                  <a:pt x="594" y="306"/>
                </a:cubicBezTo>
                <a:cubicBezTo>
                  <a:pt x="595" y="308"/>
                  <a:pt x="595" y="309"/>
                  <a:pt x="595" y="310"/>
                </a:cubicBezTo>
                <a:cubicBezTo>
                  <a:pt x="593" y="310"/>
                  <a:pt x="589" y="310"/>
                  <a:pt x="585" y="311"/>
                </a:cubicBezTo>
                <a:cubicBezTo>
                  <a:pt x="584" y="311"/>
                  <a:pt x="582" y="313"/>
                  <a:pt x="582" y="313"/>
                </a:cubicBezTo>
                <a:cubicBezTo>
                  <a:pt x="580" y="313"/>
                  <a:pt x="580" y="312"/>
                  <a:pt x="577" y="312"/>
                </a:cubicBezTo>
                <a:cubicBezTo>
                  <a:pt x="577" y="312"/>
                  <a:pt x="576" y="312"/>
                  <a:pt x="575" y="312"/>
                </a:cubicBezTo>
                <a:cubicBezTo>
                  <a:pt x="575" y="314"/>
                  <a:pt x="575" y="314"/>
                  <a:pt x="575" y="314"/>
                </a:cubicBezTo>
                <a:cubicBezTo>
                  <a:pt x="574" y="314"/>
                  <a:pt x="573" y="312"/>
                  <a:pt x="572" y="312"/>
                </a:cubicBezTo>
                <a:cubicBezTo>
                  <a:pt x="572" y="313"/>
                  <a:pt x="572" y="313"/>
                  <a:pt x="572" y="313"/>
                </a:cubicBezTo>
                <a:cubicBezTo>
                  <a:pt x="571" y="313"/>
                  <a:pt x="571" y="314"/>
                  <a:pt x="571" y="314"/>
                </a:cubicBezTo>
                <a:cubicBezTo>
                  <a:pt x="570" y="315"/>
                  <a:pt x="569" y="314"/>
                  <a:pt x="568" y="314"/>
                </a:cubicBezTo>
                <a:cubicBezTo>
                  <a:pt x="567" y="316"/>
                  <a:pt x="567" y="316"/>
                  <a:pt x="567" y="316"/>
                </a:cubicBezTo>
                <a:cubicBezTo>
                  <a:pt x="565" y="316"/>
                  <a:pt x="564" y="315"/>
                  <a:pt x="563" y="314"/>
                </a:cubicBezTo>
                <a:cubicBezTo>
                  <a:pt x="561" y="314"/>
                  <a:pt x="557" y="314"/>
                  <a:pt x="555" y="314"/>
                </a:cubicBezTo>
                <a:cubicBezTo>
                  <a:pt x="554" y="316"/>
                  <a:pt x="552" y="320"/>
                  <a:pt x="552" y="321"/>
                </a:cubicBezTo>
                <a:cubicBezTo>
                  <a:pt x="552" y="323"/>
                  <a:pt x="553" y="322"/>
                  <a:pt x="554" y="323"/>
                </a:cubicBezTo>
                <a:cubicBezTo>
                  <a:pt x="552" y="325"/>
                  <a:pt x="552" y="327"/>
                  <a:pt x="550" y="328"/>
                </a:cubicBezTo>
                <a:cubicBezTo>
                  <a:pt x="550" y="328"/>
                  <a:pt x="551" y="331"/>
                  <a:pt x="552" y="332"/>
                </a:cubicBezTo>
                <a:cubicBezTo>
                  <a:pt x="553" y="333"/>
                  <a:pt x="554" y="332"/>
                  <a:pt x="556" y="333"/>
                </a:cubicBezTo>
                <a:cubicBezTo>
                  <a:pt x="556" y="334"/>
                  <a:pt x="556" y="334"/>
                  <a:pt x="556" y="334"/>
                </a:cubicBezTo>
                <a:cubicBezTo>
                  <a:pt x="558" y="335"/>
                  <a:pt x="557" y="333"/>
                  <a:pt x="559" y="334"/>
                </a:cubicBezTo>
                <a:cubicBezTo>
                  <a:pt x="560" y="335"/>
                  <a:pt x="560" y="335"/>
                  <a:pt x="560" y="335"/>
                </a:cubicBezTo>
                <a:cubicBezTo>
                  <a:pt x="562" y="335"/>
                  <a:pt x="563" y="335"/>
                  <a:pt x="566" y="334"/>
                </a:cubicBezTo>
                <a:cubicBezTo>
                  <a:pt x="566" y="332"/>
                  <a:pt x="566" y="332"/>
                  <a:pt x="566" y="332"/>
                </a:cubicBezTo>
                <a:cubicBezTo>
                  <a:pt x="567" y="332"/>
                  <a:pt x="568" y="333"/>
                  <a:pt x="570" y="332"/>
                </a:cubicBezTo>
                <a:cubicBezTo>
                  <a:pt x="570" y="331"/>
                  <a:pt x="569" y="330"/>
                  <a:pt x="570" y="330"/>
                </a:cubicBezTo>
                <a:cubicBezTo>
                  <a:pt x="570" y="330"/>
                  <a:pt x="571" y="329"/>
                  <a:pt x="572" y="329"/>
                </a:cubicBezTo>
                <a:cubicBezTo>
                  <a:pt x="572" y="328"/>
                  <a:pt x="572" y="327"/>
                  <a:pt x="573" y="326"/>
                </a:cubicBezTo>
                <a:cubicBezTo>
                  <a:pt x="574" y="329"/>
                  <a:pt x="574" y="329"/>
                  <a:pt x="574" y="329"/>
                </a:cubicBezTo>
                <a:cubicBezTo>
                  <a:pt x="575" y="329"/>
                  <a:pt x="578" y="331"/>
                  <a:pt x="579" y="330"/>
                </a:cubicBezTo>
                <a:cubicBezTo>
                  <a:pt x="579" y="330"/>
                  <a:pt x="579" y="329"/>
                  <a:pt x="580" y="329"/>
                </a:cubicBezTo>
                <a:cubicBezTo>
                  <a:pt x="580" y="329"/>
                  <a:pt x="580" y="327"/>
                  <a:pt x="580" y="327"/>
                </a:cubicBezTo>
                <a:cubicBezTo>
                  <a:pt x="579" y="326"/>
                  <a:pt x="577" y="325"/>
                  <a:pt x="576" y="324"/>
                </a:cubicBezTo>
                <a:cubicBezTo>
                  <a:pt x="576" y="323"/>
                  <a:pt x="576" y="323"/>
                  <a:pt x="576" y="323"/>
                </a:cubicBezTo>
                <a:cubicBezTo>
                  <a:pt x="578" y="322"/>
                  <a:pt x="577" y="322"/>
                  <a:pt x="578" y="321"/>
                </a:cubicBezTo>
                <a:cubicBezTo>
                  <a:pt x="579" y="321"/>
                  <a:pt x="579" y="321"/>
                  <a:pt x="579" y="321"/>
                </a:cubicBezTo>
                <a:cubicBezTo>
                  <a:pt x="580" y="322"/>
                  <a:pt x="579" y="323"/>
                  <a:pt x="579" y="324"/>
                </a:cubicBezTo>
                <a:cubicBezTo>
                  <a:pt x="580" y="324"/>
                  <a:pt x="581" y="326"/>
                  <a:pt x="581" y="326"/>
                </a:cubicBezTo>
                <a:cubicBezTo>
                  <a:pt x="583" y="326"/>
                  <a:pt x="583" y="326"/>
                  <a:pt x="584" y="326"/>
                </a:cubicBezTo>
                <a:cubicBezTo>
                  <a:pt x="585" y="326"/>
                  <a:pt x="585" y="323"/>
                  <a:pt x="584" y="323"/>
                </a:cubicBezTo>
                <a:cubicBezTo>
                  <a:pt x="585" y="323"/>
                  <a:pt x="586" y="324"/>
                  <a:pt x="586" y="324"/>
                </a:cubicBezTo>
                <a:cubicBezTo>
                  <a:pt x="586" y="324"/>
                  <a:pt x="586" y="326"/>
                  <a:pt x="586" y="326"/>
                </a:cubicBezTo>
                <a:cubicBezTo>
                  <a:pt x="587" y="326"/>
                  <a:pt x="588" y="326"/>
                  <a:pt x="589" y="327"/>
                </a:cubicBezTo>
                <a:cubicBezTo>
                  <a:pt x="589" y="327"/>
                  <a:pt x="589" y="329"/>
                  <a:pt x="589" y="330"/>
                </a:cubicBezTo>
                <a:cubicBezTo>
                  <a:pt x="589" y="329"/>
                  <a:pt x="590" y="327"/>
                  <a:pt x="591" y="327"/>
                </a:cubicBezTo>
                <a:cubicBezTo>
                  <a:pt x="591" y="327"/>
                  <a:pt x="593" y="327"/>
                  <a:pt x="593" y="327"/>
                </a:cubicBezTo>
                <a:cubicBezTo>
                  <a:pt x="594" y="328"/>
                  <a:pt x="595" y="334"/>
                  <a:pt x="596" y="335"/>
                </a:cubicBezTo>
                <a:cubicBezTo>
                  <a:pt x="596" y="335"/>
                  <a:pt x="598" y="335"/>
                  <a:pt x="599" y="335"/>
                </a:cubicBezTo>
                <a:cubicBezTo>
                  <a:pt x="599" y="337"/>
                  <a:pt x="600" y="340"/>
                  <a:pt x="600" y="342"/>
                </a:cubicBezTo>
                <a:cubicBezTo>
                  <a:pt x="602" y="342"/>
                  <a:pt x="602" y="342"/>
                  <a:pt x="603" y="341"/>
                </a:cubicBezTo>
                <a:cubicBezTo>
                  <a:pt x="603" y="343"/>
                  <a:pt x="603" y="343"/>
                  <a:pt x="603" y="343"/>
                </a:cubicBezTo>
                <a:cubicBezTo>
                  <a:pt x="605" y="344"/>
                  <a:pt x="605" y="344"/>
                  <a:pt x="605" y="344"/>
                </a:cubicBezTo>
                <a:cubicBezTo>
                  <a:pt x="605" y="343"/>
                  <a:pt x="605" y="344"/>
                  <a:pt x="606" y="344"/>
                </a:cubicBezTo>
                <a:cubicBezTo>
                  <a:pt x="606" y="343"/>
                  <a:pt x="606" y="341"/>
                  <a:pt x="606" y="341"/>
                </a:cubicBezTo>
                <a:cubicBezTo>
                  <a:pt x="607" y="341"/>
                  <a:pt x="608" y="342"/>
                  <a:pt x="608" y="342"/>
                </a:cubicBezTo>
                <a:cubicBezTo>
                  <a:pt x="608" y="342"/>
                  <a:pt x="610" y="342"/>
                  <a:pt x="610" y="342"/>
                </a:cubicBezTo>
                <a:cubicBezTo>
                  <a:pt x="610" y="343"/>
                  <a:pt x="611" y="343"/>
                  <a:pt x="611" y="344"/>
                </a:cubicBezTo>
                <a:cubicBezTo>
                  <a:pt x="610" y="344"/>
                  <a:pt x="610" y="344"/>
                  <a:pt x="610" y="346"/>
                </a:cubicBezTo>
                <a:cubicBezTo>
                  <a:pt x="608" y="346"/>
                  <a:pt x="606" y="347"/>
                  <a:pt x="604" y="347"/>
                </a:cubicBezTo>
                <a:cubicBezTo>
                  <a:pt x="604" y="348"/>
                  <a:pt x="604" y="348"/>
                  <a:pt x="604" y="348"/>
                </a:cubicBezTo>
                <a:cubicBezTo>
                  <a:pt x="605" y="349"/>
                  <a:pt x="606" y="348"/>
                  <a:pt x="607" y="348"/>
                </a:cubicBezTo>
                <a:cubicBezTo>
                  <a:pt x="608" y="349"/>
                  <a:pt x="610" y="351"/>
                  <a:pt x="610" y="351"/>
                </a:cubicBezTo>
                <a:cubicBezTo>
                  <a:pt x="612" y="351"/>
                  <a:pt x="612" y="349"/>
                  <a:pt x="613" y="349"/>
                </a:cubicBezTo>
                <a:cubicBezTo>
                  <a:pt x="614" y="349"/>
                  <a:pt x="614" y="350"/>
                  <a:pt x="615" y="351"/>
                </a:cubicBezTo>
                <a:cubicBezTo>
                  <a:pt x="617" y="351"/>
                  <a:pt x="619" y="351"/>
                  <a:pt x="621" y="351"/>
                </a:cubicBezTo>
                <a:cubicBezTo>
                  <a:pt x="621" y="350"/>
                  <a:pt x="622" y="348"/>
                  <a:pt x="622" y="348"/>
                </a:cubicBezTo>
                <a:cubicBezTo>
                  <a:pt x="623" y="348"/>
                  <a:pt x="623" y="349"/>
                  <a:pt x="624" y="350"/>
                </a:cubicBezTo>
                <a:cubicBezTo>
                  <a:pt x="625" y="350"/>
                  <a:pt x="625" y="349"/>
                  <a:pt x="626" y="349"/>
                </a:cubicBezTo>
                <a:cubicBezTo>
                  <a:pt x="628" y="349"/>
                  <a:pt x="631" y="350"/>
                  <a:pt x="633" y="351"/>
                </a:cubicBezTo>
                <a:cubicBezTo>
                  <a:pt x="634" y="350"/>
                  <a:pt x="634" y="349"/>
                  <a:pt x="635" y="349"/>
                </a:cubicBezTo>
                <a:cubicBezTo>
                  <a:pt x="635" y="349"/>
                  <a:pt x="637" y="351"/>
                  <a:pt x="637" y="351"/>
                </a:cubicBezTo>
                <a:cubicBezTo>
                  <a:pt x="640" y="352"/>
                  <a:pt x="642" y="350"/>
                  <a:pt x="644" y="350"/>
                </a:cubicBezTo>
                <a:cubicBezTo>
                  <a:pt x="645" y="350"/>
                  <a:pt x="647" y="353"/>
                  <a:pt x="649" y="353"/>
                </a:cubicBezTo>
                <a:cubicBezTo>
                  <a:pt x="650" y="353"/>
                  <a:pt x="649" y="352"/>
                  <a:pt x="651" y="352"/>
                </a:cubicBezTo>
                <a:cubicBezTo>
                  <a:pt x="651" y="352"/>
                  <a:pt x="654" y="354"/>
                  <a:pt x="655" y="354"/>
                </a:cubicBezTo>
                <a:cubicBezTo>
                  <a:pt x="657" y="353"/>
                  <a:pt x="656" y="352"/>
                  <a:pt x="657" y="350"/>
                </a:cubicBezTo>
                <a:cubicBezTo>
                  <a:pt x="657" y="348"/>
                  <a:pt x="657" y="348"/>
                  <a:pt x="657" y="348"/>
                </a:cubicBezTo>
                <a:cubicBezTo>
                  <a:pt x="658" y="349"/>
                  <a:pt x="657" y="347"/>
                  <a:pt x="657" y="347"/>
                </a:cubicBezTo>
                <a:cubicBezTo>
                  <a:pt x="654" y="346"/>
                  <a:pt x="652" y="347"/>
                  <a:pt x="649" y="346"/>
                </a:cubicBezTo>
                <a:cubicBezTo>
                  <a:pt x="648" y="345"/>
                  <a:pt x="649" y="344"/>
                  <a:pt x="649" y="343"/>
                </a:cubicBezTo>
                <a:cubicBezTo>
                  <a:pt x="647" y="343"/>
                  <a:pt x="647" y="343"/>
                  <a:pt x="647" y="343"/>
                </a:cubicBezTo>
                <a:cubicBezTo>
                  <a:pt x="647" y="343"/>
                  <a:pt x="645" y="341"/>
                  <a:pt x="645" y="340"/>
                </a:cubicBezTo>
                <a:cubicBezTo>
                  <a:pt x="643" y="340"/>
                  <a:pt x="640" y="341"/>
                  <a:pt x="639" y="340"/>
                </a:cubicBezTo>
                <a:cubicBezTo>
                  <a:pt x="639" y="340"/>
                  <a:pt x="639" y="338"/>
                  <a:pt x="639" y="338"/>
                </a:cubicBezTo>
                <a:cubicBezTo>
                  <a:pt x="638" y="338"/>
                  <a:pt x="638" y="338"/>
                  <a:pt x="638" y="338"/>
                </a:cubicBezTo>
                <a:cubicBezTo>
                  <a:pt x="634" y="336"/>
                  <a:pt x="631" y="333"/>
                  <a:pt x="627" y="330"/>
                </a:cubicBezTo>
                <a:cubicBezTo>
                  <a:pt x="627" y="330"/>
                  <a:pt x="627" y="328"/>
                  <a:pt x="627" y="329"/>
                </a:cubicBezTo>
                <a:cubicBezTo>
                  <a:pt x="627" y="329"/>
                  <a:pt x="629" y="327"/>
                  <a:pt x="629" y="327"/>
                </a:cubicBezTo>
                <a:cubicBezTo>
                  <a:pt x="632" y="326"/>
                  <a:pt x="637" y="331"/>
                  <a:pt x="639" y="331"/>
                </a:cubicBezTo>
                <a:cubicBezTo>
                  <a:pt x="639" y="331"/>
                  <a:pt x="639" y="329"/>
                  <a:pt x="639" y="328"/>
                </a:cubicBezTo>
                <a:cubicBezTo>
                  <a:pt x="641" y="328"/>
                  <a:pt x="641" y="328"/>
                  <a:pt x="641" y="328"/>
                </a:cubicBezTo>
                <a:cubicBezTo>
                  <a:pt x="643" y="329"/>
                  <a:pt x="644" y="332"/>
                  <a:pt x="646" y="332"/>
                </a:cubicBezTo>
                <a:cubicBezTo>
                  <a:pt x="647" y="332"/>
                  <a:pt x="647" y="330"/>
                  <a:pt x="647" y="330"/>
                </a:cubicBezTo>
                <a:cubicBezTo>
                  <a:pt x="650" y="330"/>
                  <a:pt x="652" y="330"/>
                  <a:pt x="654" y="330"/>
                </a:cubicBezTo>
                <a:cubicBezTo>
                  <a:pt x="655" y="331"/>
                  <a:pt x="655" y="332"/>
                  <a:pt x="655" y="333"/>
                </a:cubicBezTo>
                <a:cubicBezTo>
                  <a:pt x="656" y="333"/>
                  <a:pt x="656" y="332"/>
                  <a:pt x="657" y="332"/>
                </a:cubicBezTo>
                <a:cubicBezTo>
                  <a:pt x="659" y="333"/>
                  <a:pt x="660" y="334"/>
                  <a:pt x="661" y="337"/>
                </a:cubicBezTo>
                <a:cubicBezTo>
                  <a:pt x="662" y="337"/>
                  <a:pt x="664" y="336"/>
                  <a:pt x="665" y="336"/>
                </a:cubicBezTo>
                <a:cubicBezTo>
                  <a:pt x="664" y="335"/>
                  <a:pt x="664" y="335"/>
                  <a:pt x="664" y="335"/>
                </a:cubicBezTo>
                <a:cubicBezTo>
                  <a:pt x="664" y="335"/>
                  <a:pt x="663" y="335"/>
                  <a:pt x="662" y="336"/>
                </a:cubicBezTo>
                <a:cubicBezTo>
                  <a:pt x="661" y="334"/>
                  <a:pt x="660" y="332"/>
                  <a:pt x="660" y="330"/>
                </a:cubicBezTo>
                <a:cubicBezTo>
                  <a:pt x="659" y="330"/>
                  <a:pt x="658" y="331"/>
                  <a:pt x="657" y="330"/>
                </a:cubicBezTo>
                <a:cubicBezTo>
                  <a:pt x="657" y="330"/>
                  <a:pt x="657" y="328"/>
                  <a:pt x="657" y="328"/>
                </a:cubicBezTo>
                <a:cubicBezTo>
                  <a:pt x="663" y="328"/>
                  <a:pt x="662" y="330"/>
                  <a:pt x="661" y="324"/>
                </a:cubicBezTo>
                <a:cubicBezTo>
                  <a:pt x="660" y="324"/>
                  <a:pt x="659" y="323"/>
                  <a:pt x="661" y="323"/>
                </a:cubicBezTo>
                <a:cubicBezTo>
                  <a:pt x="661" y="323"/>
                  <a:pt x="662" y="324"/>
                  <a:pt x="663" y="324"/>
                </a:cubicBezTo>
                <a:cubicBezTo>
                  <a:pt x="664" y="324"/>
                  <a:pt x="664" y="323"/>
                  <a:pt x="665" y="322"/>
                </a:cubicBezTo>
                <a:cubicBezTo>
                  <a:pt x="663" y="320"/>
                  <a:pt x="663" y="318"/>
                  <a:pt x="661" y="315"/>
                </a:cubicBezTo>
                <a:cubicBezTo>
                  <a:pt x="659" y="316"/>
                  <a:pt x="660" y="314"/>
                  <a:pt x="659" y="314"/>
                </a:cubicBezTo>
                <a:cubicBezTo>
                  <a:pt x="659" y="314"/>
                  <a:pt x="657" y="316"/>
                  <a:pt x="659" y="316"/>
                </a:cubicBezTo>
                <a:cubicBezTo>
                  <a:pt x="659" y="317"/>
                  <a:pt x="659" y="318"/>
                  <a:pt x="660" y="318"/>
                </a:cubicBezTo>
                <a:cubicBezTo>
                  <a:pt x="660" y="318"/>
                  <a:pt x="660" y="319"/>
                  <a:pt x="659" y="318"/>
                </a:cubicBezTo>
                <a:cubicBezTo>
                  <a:pt x="657" y="318"/>
                  <a:pt x="658" y="317"/>
                  <a:pt x="657" y="315"/>
                </a:cubicBezTo>
                <a:cubicBezTo>
                  <a:pt x="656" y="315"/>
                  <a:pt x="656" y="316"/>
                  <a:pt x="655" y="316"/>
                </a:cubicBezTo>
                <a:cubicBezTo>
                  <a:pt x="654" y="316"/>
                  <a:pt x="655" y="314"/>
                  <a:pt x="655" y="314"/>
                </a:cubicBezTo>
                <a:cubicBezTo>
                  <a:pt x="654" y="313"/>
                  <a:pt x="652" y="312"/>
                  <a:pt x="652" y="312"/>
                </a:cubicBezTo>
                <a:cubicBezTo>
                  <a:pt x="651" y="311"/>
                  <a:pt x="649" y="312"/>
                  <a:pt x="649" y="312"/>
                </a:cubicBezTo>
                <a:cubicBezTo>
                  <a:pt x="648" y="311"/>
                  <a:pt x="648" y="310"/>
                  <a:pt x="648" y="309"/>
                </a:cubicBezTo>
                <a:cubicBezTo>
                  <a:pt x="648" y="308"/>
                  <a:pt x="646" y="308"/>
                  <a:pt x="645" y="308"/>
                </a:cubicBezTo>
                <a:cubicBezTo>
                  <a:pt x="644" y="306"/>
                  <a:pt x="644" y="304"/>
                  <a:pt x="643" y="301"/>
                </a:cubicBezTo>
                <a:cubicBezTo>
                  <a:pt x="638" y="302"/>
                  <a:pt x="638" y="300"/>
                  <a:pt x="636" y="294"/>
                </a:cubicBezTo>
                <a:cubicBezTo>
                  <a:pt x="637" y="295"/>
                  <a:pt x="637" y="294"/>
                  <a:pt x="639" y="294"/>
                </a:cubicBezTo>
                <a:cubicBezTo>
                  <a:pt x="639" y="296"/>
                  <a:pt x="639" y="296"/>
                  <a:pt x="639" y="296"/>
                </a:cubicBezTo>
                <a:cubicBezTo>
                  <a:pt x="640" y="296"/>
                  <a:pt x="642" y="296"/>
                  <a:pt x="643" y="296"/>
                </a:cubicBezTo>
                <a:cubicBezTo>
                  <a:pt x="643" y="296"/>
                  <a:pt x="643" y="294"/>
                  <a:pt x="643" y="294"/>
                </a:cubicBezTo>
                <a:cubicBezTo>
                  <a:pt x="643" y="294"/>
                  <a:pt x="641" y="294"/>
                  <a:pt x="642" y="293"/>
                </a:cubicBezTo>
                <a:cubicBezTo>
                  <a:pt x="641" y="293"/>
                  <a:pt x="641" y="293"/>
                  <a:pt x="641" y="293"/>
                </a:cubicBezTo>
                <a:cubicBezTo>
                  <a:pt x="640" y="291"/>
                  <a:pt x="639" y="290"/>
                  <a:pt x="639" y="286"/>
                </a:cubicBezTo>
                <a:cubicBezTo>
                  <a:pt x="639" y="287"/>
                  <a:pt x="640" y="287"/>
                  <a:pt x="641" y="287"/>
                </a:cubicBezTo>
                <a:cubicBezTo>
                  <a:pt x="641" y="289"/>
                  <a:pt x="641" y="290"/>
                  <a:pt x="642" y="291"/>
                </a:cubicBezTo>
                <a:cubicBezTo>
                  <a:pt x="644" y="290"/>
                  <a:pt x="644" y="290"/>
                  <a:pt x="644" y="290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289"/>
                  <a:pt x="644" y="288"/>
                  <a:pt x="644" y="286"/>
                </a:cubicBezTo>
                <a:cubicBezTo>
                  <a:pt x="643" y="285"/>
                  <a:pt x="641" y="284"/>
                  <a:pt x="643" y="284"/>
                </a:cubicBezTo>
                <a:cubicBezTo>
                  <a:pt x="645" y="286"/>
                  <a:pt x="645" y="286"/>
                  <a:pt x="645" y="286"/>
                </a:cubicBezTo>
                <a:cubicBezTo>
                  <a:pt x="645" y="286"/>
                  <a:pt x="646" y="284"/>
                  <a:pt x="647" y="285"/>
                </a:cubicBezTo>
                <a:cubicBezTo>
                  <a:pt x="648" y="286"/>
                  <a:pt x="646" y="287"/>
                  <a:pt x="647" y="288"/>
                </a:cubicBezTo>
                <a:cubicBezTo>
                  <a:pt x="647" y="289"/>
                  <a:pt x="648" y="289"/>
                  <a:pt x="649" y="289"/>
                </a:cubicBezTo>
                <a:cubicBezTo>
                  <a:pt x="650" y="290"/>
                  <a:pt x="649" y="293"/>
                  <a:pt x="650" y="294"/>
                </a:cubicBezTo>
                <a:cubicBezTo>
                  <a:pt x="651" y="295"/>
                  <a:pt x="651" y="294"/>
                  <a:pt x="653" y="294"/>
                </a:cubicBezTo>
                <a:cubicBezTo>
                  <a:pt x="653" y="295"/>
                  <a:pt x="655" y="296"/>
                  <a:pt x="655" y="296"/>
                </a:cubicBezTo>
                <a:cubicBezTo>
                  <a:pt x="658" y="297"/>
                  <a:pt x="661" y="295"/>
                  <a:pt x="663" y="294"/>
                </a:cubicBezTo>
                <a:cubicBezTo>
                  <a:pt x="662" y="295"/>
                  <a:pt x="662" y="297"/>
                  <a:pt x="661" y="297"/>
                </a:cubicBezTo>
                <a:cubicBezTo>
                  <a:pt x="660" y="298"/>
                  <a:pt x="660" y="297"/>
                  <a:pt x="659" y="298"/>
                </a:cubicBezTo>
                <a:cubicBezTo>
                  <a:pt x="659" y="299"/>
                  <a:pt x="659" y="299"/>
                  <a:pt x="659" y="299"/>
                </a:cubicBezTo>
                <a:cubicBezTo>
                  <a:pt x="660" y="299"/>
                  <a:pt x="663" y="298"/>
                  <a:pt x="663" y="298"/>
                </a:cubicBezTo>
                <a:cubicBezTo>
                  <a:pt x="663" y="301"/>
                  <a:pt x="663" y="301"/>
                  <a:pt x="663" y="301"/>
                </a:cubicBezTo>
                <a:cubicBezTo>
                  <a:pt x="663" y="301"/>
                  <a:pt x="664" y="301"/>
                  <a:pt x="665" y="301"/>
                </a:cubicBezTo>
                <a:cubicBezTo>
                  <a:pt x="664" y="301"/>
                  <a:pt x="667" y="300"/>
                  <a:pt x="667" y="300"/>
                </a:cubicBezTo>
                <a:cubicBezTo>
                  <a:pt x="666" y="301"/>
                  <a:pt x="666" y="303"/>
                  <a:pt x="665" y="303"/>
                </a:cubicBezTo>
                <a:cubicBezTo>
                  <a:pt x="664" y="303"/>
                  <a:pt x="665" y="304"/>
                  <a:pt x="665" y="304"/>
                </a:cubicBezTo>
                <a:cubicBezTo>
                  <a:pt x="666" y="304"/>
                  <a:pt x="675" y="302"/>
                  <a:pt x="669" y="306"/>
                </a:cubicBezTo>
                <a:cubicBezTo>
                  <a:pt x="667" y="307"/>
                  <a:pt x="668" y="307"/>
                  <a:pt x="670" y="308"/>
                </a:cubicBezTo>
                <a:cubicBezTo>
                  <a:pt x="671" y="308"/>
                  <a:pt x="671" y="307"/>
                  <a:pt x="672" y="306"/>
                </a:cubicBezTo>
                <a:cubicBezTo>
                  <a:pt x="672" y="307"/>
                  <a:pt x="672" y="308"/>
                  <a:pt x="672" y="308"/>
                </a:cubicBezTo>
                <a:cubicBezTo>
                  <a:pt x="673" y="309"/>
                  <a:pt x="673" y="310"/>
                  <a:pt x="674" y="310"/>
                </a:cubicBezTo>
                <a:cubicBezTo>
                  <a:pt x="675" y="311"/>
                  <a:pt x="675" y="309"/>
                  <a:pt x="677" y="310"/>
                </a:cubicBezTo>
                <a:cubicBezTo>
                  <a:pt x="677" y="311"/>
                  <a:pt x="677" y="311"/>
                  <a:pt x="677" y="311"/>
                </a:cubicBezTo>
                <a:cubicBezTo>
                  <a:pt x="681" y="311"/>
                  <a:pt x="678" y="311"/>
                  <a:pt x="679" y="310"/>
                </a:cubicBezTo>
                <a:cubicBezTo>
                  <a:pt x="683" y="307"/>
                  <a:pt x="680" y="308"/>
                  <a:pt x="679" y="305"/>
                </a:cubicBezTo>
                <a:cubicBezTo>
                  <a:pt x="679" y="304"/>
                  <a:pt x="679" y="303"/>
                  <a:pt x="679" y="302"/>
                </a:cubicBezTo>
                <a:cubicBezTo>
                  <a:pt x="679" y="302"/>
                  <a:pt x="677" y="302"/>
                  <a:pt x="677" y="302"/>
                </a:cubicBezTo>
                <a:cubicBezTo>
                  <a:pt x="677" y="301"/>
                  <a:pt x="679" y="298"/>
                  <a:pt x="679" y="299"/>
                </a:cubicBezTo>
                <a:cubicBezTo>
                  <a:pt x="679" y="299"/>
                  <a:pt x="679" y="300"/>
                  <a:pt x="680" y="301"/>
                </a:cubicBezTo>
                <a:cubicBezTo>
                  <a:pt x="680" y="301"/>
                  <a:pt x="684" y="300"/>
                  <a:pt x="683" y="300"/>
                </a:cubicBezTo>
                <a:cubicBezTo>
                  <a:pt x="684" y="300"/>
                  <a:pt x="684" y="300"/>
                  <a:pt x="686" y="300"/>
                </a:cubicBezTo>
                <a:cubicBezTo>
                  <a:pt x="685" y="300"/>
                  <a:pt x="686" y="299"/>
                  <a:pt x="686" y="298"/>
                </a:cubicBezTo>
                <a:cubicBezTo>
                  <a:pt x="686" y="298"/>
                  <a:pt x="685" y="298"/>
                  <a:pt x="684" y="298"/>
                </a:cubicBezTo>
                <a:cubicBezTo>
                  <a:pt x="684" y="296"/>
                  <a:pt x="684" y="296"/>
                  <a:pt x="684" y="296"/>
                </a:cubicBezTo>
                <a:cubicBezTo>
                  <a:pt x="682" y="295"/>
                  <a:pt x="684" y="296"/>
                  <a:pt x="686" y="296"/>
                </a:cubicBezTo>
                <a:cubicBezTo>
                  <a:pt x="686" y="294"/>
                  <a:pt x="686" y="294"/>
                  <a:pt x="686" y="294"/>
                </a:cubicBezTo>
                <a:cubicBezTo>
                  <a:pt x="685" y="294"/>
                  <a:pt x="685" y="294"/>
                  <a:pt x="685" y="294"/>
                </a:cubicBezTo>
                <a:cubicBezTo>
                  <a:pt x="685" y="294"/>
                  <a:pt x="685" y="291"/>
                  <a:pt x="685" y="291"/>
                </a:cubicBezTo>
                <a:cubicBezTo>
                  <a:pt x="686" y="291"/>
                  <a:pt x="687" y="291"/>
                  <a:pt x="688" y="290"/>
                </a:cubicBezTo>
                <a:cubicBezTo>
                  <a:pt x="688" y="290"/>
                  <a:pt x="690" y="286"/>
                  <a:pt x="688" y="288"/>
                </a:cubicBezTo>
                <a:cubicBezTo>
                  <a:pt x="688" y="287"/>
                  <a:pt x="689" y="286"/>
                  <a:pt x="688" y="286"/>
                </a:cubicBezTo>
                <a:cubicBezTo>
                  <a:pt x="689" y="286"/>
                  <a:pt x="691" y="286"/>
                  <a:pt x="691" y="286"/>
                </a:cubicBezTo>
                <a:cubicBezTo>
                  <a:pt x="692" y="288"/>
                  <a:pt x="692" y="288"/>
                  <a:pt x="692" y="288"/>
                </a:cubicBezTo>
                <a:cubicBezTo>
                  <a:pt x="693" y="289"/>
                  <a:pt x="695" y="289"/>
                  <a:pt x="695" y="288"/>
                </a:cubicBezTo>
                <a:cubicBezTo>
                  <a:pt x="695" y="290"/>
                  <a:pt x="696" y="288"/>
                  <a:pt x="696" y="288"/>
                </a:cubicBezTo>
                <a:cubicBezTo>
                  <a:pt x="693" y="287"/>
                  <a:pt x="696" y="286"/>
                  <a:pt x="695" y="284"/>
                </a:cubicBezTo>
                <a:cubicBezTo>
                  <a:pt x="695" y="283"/>
                  <a:pt x="694" y="283"/>
                  <a:pt x="694" y="283"/>
                </a:cubicBezTo>
                <a:cubicBezTo>
                  <a:pt x="695" y="283"/>
                  <a:pt x="695" y="283"/>
                  <a:pt x="696" y="283"/>
                </a:cubicBezTo>
                <a:cubicBezTo>
                  <a:pt x="695" y="284"/>
                  <a:pt x="698" y="284"/>
                  <a:pt x="698" y="284"/>
                </a:cubicBezTo>
                <a:cubicBezTo>
                  <a:pt x="698" y="283"/>
                  <a:pt x="697" y="282"/>
                  <a:pt x="698" y="282"/>
                </a:cubicBezTo>
                <a:cubicBezTo>
                  <a:pt x="698" y="281"/>
                  <a:pt x="698" y="281"/>
                  <a:pt x="698" y="281"/>
                </a:cubicBezTo>
                <a:cubicBezTo>
                  <a:pt x="696" y="280"/>
                  <a:pt x="696" y="280"/>
                  <a:pt x="696" y="280"/>
                </a:cubicBezTo>
                <a:cubicBezTo>
                  <a:pt x="696" y="279"/>
                  <a:pt x="696" y="276"/>
                  <a:pt x="695" y="276"/>
                </a:cubicBezTo>
                <a:cubicBezTo>
                  <a:pt x="694" y="275"/>
                  <a:pt x="692" y="275"/>
                  <a:pt x="691" y="275"/>
                </a:cubicBezTo>
                <a:cubicBezTo>
                  <a:pt x="691" y="274"/>
                  <a:pt x="691" y="273"/>
                  <a:pt x="690" y="273"/>
                </a:cubicBezTo>
                <a:cubicBezTo>
                  <a:pt x="689" y="272"/>
                  <a:pt x="690" y="277"/>
                  <a:pt x="690" y="278"/>
                </a:cubicBezTo>
                <a:cubicBezTo>
                  <a:pt x="689" y="278"/>
                  <a:pt x="690" y="277"/>
                  <a:pt x="689" y="277"/>
                </a:cubicBezTo>
                <a:cubicBezTo>
                  <a:pt x="688" y="277"/>
                  <a:pt x="687" y="278"/>
                  <a:pt x="686" y="279"/>
                </a:cubicBezTo>
                <a:cubicBezTo>
                  <a:pt x="686" y="277"/>
                  <a:pt x="686" y="277"/>
                  <a:pt x="686" y="277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7" y="276"/>
                  <a:pt x="682" y="278"/>
                  <a:pt x="684" y="278"/>
                </a:cubicBezTo>
                <a:cubicBezTo>
                  <a:pt x="684" y="278"/>
                  <a:pt x="683" y="281"/>
                  <a:pt x="683" y="281"/>
                </a:cubicBezTo>
                <a:cubicBezTo>
                  <a:pt x="683" y="281"/>
                  <a:pt x="681" y="281"/>
                  <a:pt x="681" y="281"/>
                </a:cubicBezTo>
                <a:cubicBezTo>
                  <a:pt x="681" y="280"/>
                  <a:pt x="681" y="278"/>
                  <a:pt x="681" y="277"/>
                </a:cubicBezTo>
                <a:cubicBezTo>
                  <a:pt x="681" y="277"/>
                  <a:pt x="683" y="275"/>
                  <a:pt x="683" y="275"/>
                </a:cubicBezTo>
                <a:cubicBezTo>
                  <a:pt x="683" y="274"/>
                  <a:pt x="684" y="273"/>
                  <a:pt x="683" y="274"/>
                </a:cubicBezTo>
                <a:cubicBezTo>
                  <a:pt x="683" y="275"/>
                  <a:pt x="683" y="275"/>
                  <a:pt x="683" y="275"/>
                </a:cubicBezTo>
                <a:cubicBezTo>
                  <a:pt x="682" y="275"/>
                  <a:pt x="680" y="274"/>
                  <a:pt x="680" y="273"/>
                </a:cubicBezTo>
                <a:cubicBezTo>
                  <a:pt x="680" y="275"/>
                  <a:pt x="680" y="275"/>
                  <a:pt x="680" y="275"/>
                </a:cubicBezTo>
                <a:cubicBezTo>
                  <a:pt x="679" y="275"/>
                  <a:pt x="679" y="275"/>
                  <a:pt x="679" y="275"/>
                </a:cubicBezTo>
                <a:cubicBezTo>
                  <a:pt x="679" y="276"/>
                  <a:pt x="679" y="277"/>
                  <a:pt x="679" y="279"/>
                </a:cubicBezTo>
                <a:cubicBezTo>
                  <a:pt x="674" y="275"/>
                  <a:pt x="678" y="277"/>
                  <a:pt x="672" y="277"/>
                </a:cubicBezTo>
                <a:cubicBezTo>
                  <a:pt x="672" y="275"/>
                  <a:pt x="672" y="275"/>
                  <a:pt x="672" y="275"/>
                </a:cubicBezTo>
                <a:cubicBezTo>
                  <a:pt x="671" y="275"/>
                  <a:pt x="670" y="275"/>
                  <a:pt x="669" y="276"/>
                </a:cubicBezTo>
                <a:cubicBezTo>
                  <a:pt x="669" y="275"/>
                  <a:pt x="669" y="275"/>
                  <a:pt x="669" y="275"/>
                </a:cubicBezTo>
                <a:cubicBezTo>
                  <a:pt x="669" y="274"/>
                  <a:pt x="671" y="274"/>
                  <a:pt x="672" y="273"/>
                </a:cubicBezTo>
                <a:cubicBezTo>
                  <a:pt x="672" y="273"/>
                  <a:pt x="671" y="272"/>
                  <a:pt x="671" y="272"/>
                </a:cubicBezTo>
                <a:cubicBezTo>
                  <a:pt x="671" y="272"/>
                  <a:pt x="671" y="270"/>
                  <a:pt x="671" y="269"/>
                </a:cubicBezTo>
                <a:cubicBezTo>
                  <a:pt x="669" y="269"/>
                  <a:pt x="668" y="268"/>
                  <a:pt x="666" y="267"/>
                </a:cubicBezTo>
                <a:cubicBezTo>
                  <a:pt x="666" y="267"/>
                  <a:pt x="666" y="269"/>
                  <a:pt x="666" y="270"/>
                </a:cubicBezTo>
                <a:cubicBezTo>
                  <a:pt x="666" y="270"/>
                  <a:pt x="663" y="270"/>
                  <a:pt x="663" y="271"/>
                </a:cubicBezTo>
                <a:cubicBezTo>
                  <a:pt x="663" y="271"/>
                  <a:pt x="664" y="265"/>
                  <a:pt x="665" y="263"/>
                </a:cubicBezTo>
                <a:cubicBezTo>
                  <a:pt x="663" y="264"/>
                  <a:pt x="664" y="262"/>
                  <a:pt x="663" y="263"/>
                </a:cubicBezTo>
                <a:cubicBezTo>
                  <a:pt x="662" y="263"/>
                  <a:pt x="660" y="266"/>
                  <a:pt x="661" y="265"/>
                </a:cubicBezTo>
                <a:cubicBezTo>
                  <a:pt x="660" y="266"/>
                  <a:pt x="660" y="267"/>
                  <a:pt x="660" y="268"/>
                </a:cubicBezTo>
                <a:cubicBezTo>
                  <a:pt x="660" y="268"/>
                  <a:pt x="659" y="268"/>
                  <a:pt x="659" y="269"/>
                </a:cubicBezTo>
                <a:cubicBezTo>
                  <a:pt x="658" y="268"/>
                  <a:pt x="659" y="266"/>
                  <a:pt x="659" y="265"/>
                </a:cubicBezTo>
                <a:cubicBezTo>
                  <a:pt x="658" y="265"/>
                  <a:pt x="658" y="265"/>
                  <a:pt x="657" y="265"/>
                </a:cubicBezTo>
                <a:cubicBezTo>
                  <a:pt x="657" y="265"/>
                  <a:pt x="657" y="266"/>
                  <a:pt x="656" y="267"/>
                </a:cubicBezTo>
                <a:cubicBezTo>
                  <a:pt x="657" y="267"/>
                  <a:pt x="655" y="269"/>
                  <a:pt x="655" y="269"/>
                </a:cubicBezTo>
                <a:cubicBezTo>
                  <a:pt x="655" y="269"/>
                  <a:pt x="655" y="267"/>
                  <a:pt x="655" y="267"/>
                </a:cubicBezTo>
                <a:cubicBezTo>
                  <a:pt x="653" y="267"/>
                  <a:pt x="653" y="267"/>
                  <a:pt x="653" y="267"/>
                </a:cubicBezTo>
                <a:cubicBezTo>
                  <a:pt x="652" y="268"/>
                  <a:pt x="653" y="268"/>
                  <a:pt x="652" y="270"/>
                </a:cubicBezTo>
                <a:cubicBezTo>
                  <a:pt x="651" y="270"/>
                  <a:pt x="650" y="270"/>
                  <a:pt x="650" y="270"/>
                </a:cubicBezTo>
                <a:cubicBezTo>
                  <a:pt x="651" y="268"/>
                  <a:pt x="651" y="266"/>
                  <a:pt x="651" y="265"/>
                </a:cubicBezTo>
                <a:cubicBezTo>
                  <a:pt x="653" y="264"/>
                  <a:pt x="650" y="263"/>
                  <a:pt x="650" y="263"/>
                </a:cubicBezTo>
                <a:cubicBezTo>
                  <a:pt x="650" y="264"/>
                  <a:pt x="651" y="265"/>
                  <a:pt x="649" y="265"/>
                </a:cubicBezTo>
                <a:cubicBezTo>
                  <a:pt x="649" y="265"/>
                  <a:pt x="649" y="263"/>
                  <a:pt x="649" y="263"/>
                </a:cubicBezTo>
                <a:cubicBezTo>
                  <a:pt x="649" y="263"/>
                  <a:pt x="648" y="264"/>
                  <a:pt x="647" y="263"/>
                </a:cubicBezTo>
                <a:cubicBezTo>
                  <a:pt x="647" y="263"/>
                  <a:pt x="647" y="261"/>
                  <a:pt x="647" y="261"/>
                </a:cubicBezTo>
                <a:cubicBezTo>
                  <a:pt x="646" y="262"/>
                  <a:pt x="644" y="262"/>
                  <a:pt x="643" y="262"/>
                </a:cubicBezTo>
                <a:cubicBezTo>
                  <a:pt x="647" y="258"/>
                  <a:pt x="646" y="260"/>
                  <a:pt x="643" y="257"/>
                </a:cubicBezTo>
                <a:cubicBezTo>
                  <a:pt x="642" y="258"/>
                  <a:pt x="642" y="259"/>
                  <a:pt x="641" y="259"/>
                </a:cubicBezTo>
                <a:cubicBezTo>
                  <a:pt x="641" y="258"/>
                  <a:pt x="641" y="257"/>
                  <a:pt x="641" y="256"/>
                </a:cubicBezTo>
                <a:cubicBezTo>
                  <a:pt x="640" y="256"/>
                  <a:pt x="636" y="256"/>
                  <a:pt x="634" y="255"/>
                </a:cubicBezTo>
                <a:cubicBezTo>
                  <a:pt x="633" y="255"/>
                  <a:pt x="634" y="253"/>
                  <a:pt x="634" y="253"/>
                </a:cubicBezTo>
                <a:cubicBezTo>
                  <a:pt x="633" y="252"/>
                  <a:pt x="632" y="253"/>
                  <a:pt x="631" y="253"/>
                </a:cubicBezTo>
                <a:cubicBezTo>
                  <a:pt x="631" y="251"/>
                  <a:pt x="631" y="251"/>
                  <a:pt x="631" y="251"/>
                </a:cubicBezTo>
                <a:cubicBezTo>
                  <a:pt x="633" y="251"/>
                  <a:pt x="636" y="251"/>
                  <a:pt x="637" y="251"/>
                </a:cubicBezTo>
                <a:cubicBezTo>
                  <a:pt x="637" y="250"/>
                  <a:pt x="637" y="249"/>
                  <a:pt x="637" y="249"/>
                </a:cubicBezTo>
                <a:cubicBezTo>
                  <a:pt x="638" y="248"/>
                  <a:pt x="639" y="248"/>
                  <a:pt x="639" y="248"/>
                </a:cubicBezTo>
                <a:cubicBezTo>
                  <a:pt x="639" y="247"/>
                  <a:pt x="639" y="247"/>
                  <a:pt x="639" y="247"/>
                </a:cubicBezTo>
                <a:cubicBezTo>
                  <a:pt x="639" y="246"/>
                  <a:pt x="636" y="244"/>
                  <a:pt x="635" y="244"/>
                </a:cubicBezTo>
                <a:cubicBezTo>
                  <a:pt x="635" y="242"/>
                  <a:pt x="635" y="242"/>
                  <a:pt x="635" y="242"/>
                </a:cubicBezTo>
                <a:cubicBezTo>
                  <a:pt x="634" y="242"/>
                  <a:pt x="635" y="241"/>
                  <a:pt x="636" y="241"/>
                </a:cubicBezTo>
                <a:cubicBezTo>
                  <a:pt x="637" y="243"/>
                  <a:pt x="637" y="243"/>
                  <a:pt x="637" y="243"/>
                </a:cubicBezTo>
                <a:cubicBezTo>
                  <a:pt x="639" y="243"/>
                  <a:pt x="642" y="243"/>
                  <a:pt x="644" y="243"/>
                </a:cubicBezTo>
                <a:cubicBezTo>
                  <a:pt x="648" y="242"/>
                  <a:pt x="640" y="238"/>
                  <a:pt x="638" y="237"/>
                </a:cubicBezTo>
                <a:cubicBezTo>
                  <a:pt x="637" y="237"/>
                  <a:pt x="634" y="238"/>
                  <a:pt x="634" y="238"/>
                </a:cubicBezTo>
                <a:cubicBezTo>
                  <a:pt x="634" y="237"/>
                  <a:pt x="634" y="237"/>
                  <a:pt x="634" y="237"/>
                </a:cubicBezTo>
                <a:cubicBezTo>
                  <a:pt x="634" y="236"/>
                  <a:pt x="631" y="234"/>
                  <a:pt x="631" y="234"/>
                </a:cubicBezTo>
                <a:cubicBezTo>
                  <a:pt x="632" y="234"/>
                  <a:pt x="634" y="234"/>
                  <a:pt x="636" y="234"/>
                </a:cubicBezTo>
                <a:cubicBezTo>
                  <a:pt x="636" y="234"/>
                  <a:pt x="637" y="232"/>
                  <a:pt x="637" y="232"/>
                </a:cubicBezTo>
                <a:cubicBezTo>
                  <a:pt x="638" y="232"/>
                  <a:pt x="640" y="232"/>
                  <a:pt x="641" y="232"/>
                </a:cubicBezTo>
                <a:cubicBezTo>
                  <a:pt x="641" y="230"/>
                  <a:pt x="642" y="229"/>
                  <a:pt x="641" y="227"/>
                </a:cubicBezTo>
                <a:cubicBezTo>
                  <a:pt x="641" y="226"/>
                  <a:pt x="639" y="225"/>
                  <a:pt x="639" y="225"/>
                </a:cubicBezTo>
                <a:cubicBezTo>
                  <a:pt x="638" y="224"/>
                  <a:pt x="638" y="223"/>
                  <a:pt x="637" y="223"/>
                </a:cubicBezTo>
                <a:cubicBezTo>
                  <a:pt x="637" y="223"/>
                  <a:pt x="635" y="223"/>
                  <a:pt x="636" y="223"/>
                </a:cubicBezTo>
                <a:cubicBezTo>
                  <a:pt x="636" y="224"/>
                  <a:pt x="633" y="228"/>
                  <a:pt x="632" y="228"/>
                </a:cubicBezTo>
                <a:cubicBezTo>
                  <a:pt x="629" y="229"/>
                  <a:pt x="632" y="227"/>
                  <a:pt x="630" y="225"/>
                </a:cubicBezTo>
                <a:cubicBezTo>
                  <a:pt x="629" y="225"/>
                  <a:pt x="627" y="225"/>
                  <a:pt x="626" y="225"/>
                </a:cubicBezTo>
                <a:cubicBezTo>
                  <a:pt x="626" y="225"/>
                  <a:pt x="627" y="224"/>
                  <a:pt x="627" y="224"/>
                </a:cubicBezTo>
                <a:cubicBezTo>
                  <a:pt x="628" y="224"/>
                  <a:pt x="628" y="224"/>
                  <a:pt x="629" y="223"/>
                </a:cubicBezTo>
                <a:cubicBezTo>
                  <a:pt x="630" y="223"/>
                  <a:pt x="630" y="222"/>
                  <a:pt x="630" y="221"/>
                </a:cubicBezTo>
                <a:cubicBezTo>
                  <a:pt x="631" y="221"/>
                  <a:pt x="632" y="222"/>
                  <a:pt x="633" y="222"/>
                </a:cubicBezTo>
                <a:cubicBezTo>
                  <a:pt x="633" y="222"/>
                  <a:pt x="633" y="220"/>
                  <a:pt x="633" y="220"/>
                </a:cubicBezTo>
                <a:cubicBezTo>
                  <a:pt x="631" y="219"/>
                  <a:pt x="630" y="220"/>
                  <a:pt x="629" y="219"/>
                </a:cubicBezTo>
                <a:cubicBezTo>
                  <a:pt x="628" y="219"/>
                  <a:pt x="627" y="216"/>
                  <a:pt x="627" y="216"/>
                </a:cubicBezTo>
                <a:cubicBezTo>
                  <a:pt x="626" y="216"/>
                  <a:pt x="624" y="216"/>
                  <a:pt x="623" y="216"/>
                </a:cubicBezTo>
                <a:cubicBezTo>
                  <a:pt x="622" y="217"/>
                  <a:pt x="621" y="218"/>
                  <a:pt x="621" y="219"/>
                </a:cubicBezTo>
                <a:cubicBezTo>
                  <a:pt x="620" y="219"/>
                  <a:pt x="619" y="218"/>
                  <a:pt x="620" y="218"/>
                </a:cubicBezTo>
                <a:cubicBezTo>
                  <a:pt x="620" y="218"/>
                  <a:pt x="621" y="216"/>
                  <a:pt x="621" y="216"/>
                </a:cubicBezTo>
                <a:cubicBezTo>
                  <a:pt x="619" y="216"/>
                  <a:pt x="616" y="215"/>
                  <a:pt x="615" y="218"/>
                </a:cubicBezTo>
                <a:cubicBezTo>
                  <a:pt x="615" y="219"/>
                  <a:pt x="615" y="219"/>
                  <a:pt x="615" y="219"/>
                </a:cubicBezTo>
                <a:cubicBezTo>
                  <a:pt x="613" y="219"/>
                  <a:pt x="613" y="219"/>
                  <a:pt x="613" y="219"/>
                </a:cubicBezTo>
                <a:cubicBezTo>
                  <a:pt x="614" y="219"/>
                  <a:pt x="613" y="216"/>
                  <a:pt x="613" y="216"/>
                </a:cubicBezTo>
                <a:cubicBezTo>
                  <a:pt x="614" y="216"/>
                  <a:pt x="615" y="216"/>
                  <a:pt x="615" y="216"/>
                </a:cubicBezTo>
                <a:cubicBezTo>
                  <a:pt x="616" y="216"/>
                  <a:pt x="617" y="214"/>
                  <a:pt x="617" y="214"/>
                </a:cubicBezTo>
                <a:cubicBezTo>
                  <a:pt x="617" y="211"/>
                  <a:pt x="617" y="211"/>
                  <a:pt x="617" y="211"/>
                </a:cubicBezTo>
                <a:cubicBezTo>
                  <a:pt x="617" y="211"/>
                  <a:pt x="614" y="213"/>
                  <a:pt x="615" y="213"/>
                </a:cubicBezTo>
                <a:cubicBezTo>
                  <a:pt x="614" y="212"/>
                  <a:pt x="613" y="213"/>
                  <a:pt x="613" y="213"/>
                </a:cubicBezTo>
                <a:cubicBezTo>
                  <a:pt x="613" y="213"/>
                  <a:pt x="613" y="211"/>
                  <a:pt x="613" y="211"/>
                </a:cubicBezTo>
                <a:cubicBezTo>
                  <a:pt x="613" y="211"/>
                  <a:pt x="611" y="211"/>
                  <a:pt x="612" y="211"/>
                </a:cubicBezTo>
                <a:cubicBezTo>
                  <a:pt x="611" y="211"/>
                  <a:pt x="611" y="211"/>
                  <a:pt x="611" y="211"/>
                </a:cubicBezTo>
                <a:cubicBezTo>
                  <a:pt x="612" y="212"/>
                  <a:pt x="612" y="213"/>
                  <a:pt x="612" y="213"/>
                </a:cubicBezTo>
                <a:cubicBezTo>
                  <a:pt x="612" y="214"/>
                  <a:pt x="610" y="214"/>
                  <a:pt x="610" y="215"/>
                </a:cubicBezTo>
                <a:cubicBezTo>
                  <a:pt x="606" y="214"/>
                  <a:pt x="605" y="215"/>
                  <a:pt x="608" y="212"/>
                </a:cubicBezTo>
                <a:cubicBezTo>
                  <a:pt x="609" y="211"/>
                  <a:pt x="610" y="211"/>
                  <a:pt x="611" y="211"/>
                </a:cubicBezTo>
                <a:cubicBezTo>
                  <a:pt x="611" y="210"/>
                  <a:pt x="611" y="209"/>
                  <a:pt x="610" y="209"/>
                </a:cubicBezTo>
                <a:cubicBezTo>
                  <a:pt x="610" y="209"/>
                  <a:pt x="606" y="209"/>
                  <a:pt x="606" y="209"/>
                </a:cubicBezTo>
                <a:cubicBezTo>
                  <a:pt x="605" y="208"/>
                  <a:pt x="605" y="206"/>
                  <a:pt x="604" y="205"/>
                </a:cubicBezTo>
                <a:cubicBezTo>
                  <a:pt x="603" y="205"/>
                  <a:pt x="603" y="204"/>
                  <a:pt x="602" y="204"/>
                </a:cubicBezTo>
                <a:cubicBezTo>
                  <a:pt x="598" y="204"/>
                  <a:pt x="599" y="208"/>
                  <a:pt x="599" y="211"/>
                </a:cubicBezTo>
                <a:cubicBezTo>
                  <a:pt x="599" y="211"/>
                  <a:pt x="599" y="211"/>
                  <a:pt x="598" y="211"/>
                </a:cubicBezTo>
                <a:cubicBezTo>
                  <a:pt x="598" y="211"/>
                  <a:pt x="598" y="209"/>
                  <a:pt x="598" y="209"/>
                </a:cubicBezTo>
                <a:cubicBezTo>
                  <a:pt x="596" y="210"/>
                  <a:pt x="597" y="209"/>
                  <a:pt x="596" y="209"/>
                </a:cubicBezTo>
                <a:cubicBezTo>
                  <a:pt x="596" y="209"/>
                  <a:pt x="595" y="211"/>
                  <a:pt x="594" y="211"/>
                </a:cubicBezTo>
                <a:cubicBezTo>
                  <a:pt x="593" y="208"/>
                  <a:pt x="593" y="199"/>
                  <a:pt x="590" y="206"/>
                </a:cubicBezTo>
                <a:cubicBezTo>
                  <a:pt x="590" y="207"/>
                  <a:pt x="590" y="208"/>
                  <a:pt x="589" y="209"/>
                </a:cubicBezTo>
                <a:cubicBezTo>
                  <a:pt x="589" y="210"/>
                  <a:pt x="588" y="210"/>
                  <a:pt x="587" y="210"/>
                </a:cubicBezTo>
                <a:cubicBezTo>
                  <a:pt x="588" y="210"/>
                  <a:pt x="586" y="209"/>
                  <a:pt x="586" y="209"/>
                </a:cubicBezTo>
                <a:cubicBezTo>
                  <a:pt x="587" y="209"/>
                  <a:pt x="587" y="207"/>
                  <a:pt x="587" y="207"/>
                </a:cubicBezTo>
                <a:cubicBezTo>
                  <a:pt x="588" y="207"/>
                  <a:pt x="587" y="205"/>
                  <a:pt x="587" y="205"/>
                </a:cubicBezTo>
                <a:cubicBezTo>
                  <a:pt x="586" y="205"/>
                  <a:pt x="586" y="206"/>
                  <a:pt x="585" y="205"/>
                </a:cubicBezTo>
                <a:cubicBezTo>
                  <a:pt x="585" y="205"/>
                  <a:pt x="584" y="203"/>
                  <a:pt x="584" y="203"/>
                </a:cubicBezTo>
                <a:cubicBezTo>
                  <a:pt x="586" y="203"/>
                  <a:pt x="588" y="203"/>
                  <a:pt x="589" y="202"/>
                </a:cubicBezTo>
                <a:cubicBezTo>
                  <a:pt x="589" y="196"/>
                  <a:pt x="589" y="194"/>
                  <a:pt x="583" y="194"/>
                </a:cubicBezTo>
                <a:cubicBezTo>
                  <a:pt x="584" y="194"/>
                  <a:pt x="585" y="194"/>
                  <a:pt x="586" y="193"/>
                </a:cubicBezTo>
                <a:cubicBezTo>
                  <a:pt x="586" y="193"/>
                  <a:pt x="586" y="191"/>
                  <a:pt x="586" y="191"/>
                </a:cubicBezTo>
                <a:cubicBezTo>
                  <a:pt x="585" y="191"/>
                  <a:pt x="585" y="191"/>
                  <a:pt x="585" y="191"/>
                </a:cubicBezTo>
                <a:cubicBezTo>
                  <a:pt x="585" y="191"/>
                  <a:pt x="583" y="187"/>
                  <a:pt x="583" y="186"/>
                </a:cubicBezTo>
                <a:cubicBezTo>
                  <a:pt x="582" y="187"/>
                  <a:pt x="579" y="187"/>
                  <a:pt x="578" y="187"/>
                </a:cubicBezTo>
                <a:cubicBezTo>
                  <a:pt x="576" y="187"/>
                  <a:pt x="576" y="186"/>
                  <a:pt x="575" y="187"/>
                </a:cubicBezTo>
                <a:cubicBezTo>
                  <a:pt x="574" y="187"/>
                  <a:pt x="573" y="189"/>
                  <a:pt x="570" y="189"/>
                </a:cubicBezTo>
                <a:cubicBezTo>
                  <a:pt x="569" y="189"/>
                  <a:pt x="567" y="187"/>
                  <a:pt x="566" y="186"/>
                </a:cubicBezTo>
                <a:close/>
                <a:moveTo>
                  <a:pt x="474" y="30"/>
                </a:moveTo>
                <a:cubicBezTo>
                  <a:pt x="471" y="29"/>
                  <a:pt x="467" y="22"/>
                  <a:pt x="464" y="22"/>
                </a:cubicBezTo>
                <a:cubicBezTo>
                  <a:pt x="463" y="23"/>
                  <a:pt x="463" y="23"/>
                  <a:pt x="463" y="23"/>
                </a:cubicBezTo>
                <a:cubicBezTo>
                  <a:pt x="462" y="23"/>
                  <a:pt x="460" y="23"/>
                  <a:pt x="459" y="24"/>
                </a:cubicBezTo>
                <a:cubicBezTo>
                  <a:pt x="456" y="25"/>
                  <a:pt x="453" y="29"/>
                  <a:pt x="451" y="31"/>
                </a:cubicBezTo>
                <a:cubicBezTo>
                  <a:pt x="449" y="30"/>
                  <a:pt x="443" y="27"/>
                  <a:pt x="439" y="28"/>
                </a:cubicBezTo>
                <a:cubicBezTo>
                  <a:pt x="439" y="28"/>
                  <a:pt x="437" y="30"/>
                  <a:pt x="437" y="30"/>
                </a:cubicBezTo>
                <a:cubicBezTo>
                  <a:pt x="436" y="30"/>
                  <a:pt x="434" y="29"/>
                  <a:pt x="433" y="30"/>
                </a:cubicBezTo>
                <a:cubicBezTo>
                  <a:pt x="433" y="30"/>
                  <a:pt x="433" y="32"/>
                  <a:pt x="433" y="33"/>
                </a:cubicBezTo>
                <a:cubicBezTo>
                  <a:pt x="436" y="32"/>
                  <a:pt x="439" y="31"/>
                  <a:pt x="444" y="31"/>
                </a:cubicBezTo>
                <a:cubicBezTo>
                  <a:pt x="443" y="32"/>
                  <a:pt x="440" y="33"/>
                  <a:pt x="438" y="33"/>
                </a:cubicBezTo>
                <a:cubicBezTo>
                  <a:pt x="438" y="33"/>
                  <a:pt x="437" y="36"/>
                  <a:pt x="439" y="36"/>
                </a:cubicBezTo>
                <a:cubicBezTo>
                  <a:pt x="441" y="36"/>
                  <a:pt x="446" y="34"/>
                  <a:pt x="449" y="34"/>
                </a:cubicBezTo>
                <a:cubicBezTo>
                  <a:pt x="452" y="34"/>
                  <a:pt x="455" y="35"/>
                  <a:pt x="457" y="35"/>
                </a:cubicBezTo>
                <a:cubicBezTo>
                  <a:pt x="451" y="36"/>
                  <a:pt x="446" y="37"/>
                  <a:pt x="439" y="39"/>
                </a:cubicBezTo>
                <a:cubicBezTo>
                  <a:pt x="439" y="39"/>
                  <a:pt x="439" y="41"/>
                  <a:pt x="439" y="43"/>
                </a:cubicBezTo>
                <a:cubicBezTo>
                  <a:pt x="440" y="42"/>
                  <a:pt x="441" y="43"/>
                  <a:pt x="441" y="42"/>
                </a:cubicBezTo>
                <a:cubicBezTo>
                  <a:pt x="442" y="41"/>
                  <a:pt x="442" y="41"/>
                  <a:pt x="444" y="41"/>
                </a:cubicBezTo>
                <a:cubicBezTo>
                  <a:pt x="450" y="38"/>
                  <a:pt x="457" y="38"/>
                  <a:pt x="463" y="36"/>
                </a:cubicBezTo>
                <a:cubicBezTo>
                  <a:pt x="463" y="37"/>
                  <a:pt x="463" y="37"/>
                  <a:pt x="463" y="37"/>
                </a:cubicBezTo>
                <a:cubicBezTo>
                  <a:pt x="462" y="38"/>
                  <a:pt x="461" y="38"/>
                  <a:pt x="461" y="39"/>
                </a:cubicBezTo>
                <a:cubicBezTo>
                  <a:pt x="458" y="40"/>
                  <a:pt x="457" y="38"/>
                  <a:pt x="454" y="39"/>
                </a:cubicBezTo>
                <a:cubicBezTo>
                  <a:pt x="452" y="39"/>
                  <a:pt x="451" y="41"/>
                  <a:pt x="450" y="41"/>
                </a:cubicBezTo>
                <a:cubicBezTo>
                  <a:pt x="449" y="42"/>
                  <a:pt x="447" y="41"/>
                  <a:pt x="446" y="41"/>
                </a:cubicBezTo>
                <a:cubicBezTo>
                  <a:pt x="445" y="41"/>
                  <a:pt x="443" y="44"/>
                  <a:pt x="442" y="45"/>
                </a:cubicBezTo>
                <a:cubicBezTo>
                  <a:pt x="443" y="45"/>
                  <a:pt x="444" y="47"/>
                  <a:pt x="445" y="47"/>
                </a:cubicBezTo>
                <a:cubicBezTo>
                  <a:pt x="447" y="47"/>
                  <a:pt x="448" y="45"/>
                  <a:pt x="449" y="45"/>
                </a:cubicBezTo>
                <a:cubicBezTo>
                  <a:pt x="452" y="45"/>
                  <a:pt x="458" y="47"/>
                  <a:pt x="461" y="47"/>
                </a:cubicBezTo>
                <a:cubicBezTo>
                  <a:pt x="463" y="45"/>
                  <a:pt x="463" y="45"/>
                  <a:pt x="463" y="45"/>
                </a:cubicBezTo>
                <a:cubicBezTo>
                  <a:pt x="464" y="45"/>
                  <a:pt x="465" y="46"/>
                  <a:pt x="466" y="46"/>
                </a:cubicBezTo>
                <a:cubicBezTo>
                  <a:pt x="467" y="46"/>
                  <a:pt x="466" y="44"/>
                  <a:pt x="468" y="45"/>
                </a:cubicBezTo>
                <a:cubicBezTo>
                  <a:pt x="469" y="45"/>
                  <a:pt x="469" y="46"/>
                  <a:pt x="469" y="47"/>
                </a:cubicBezTo>
                <a:cubicBezTo>
                  <a:pt x="471" y="47"/>
                  <a:pt x="472" y="47"/>
                  <a:pt x="474" y="47"/>
                </a:cubicBezTo>
                <a:cubicBezTo>
                  <a:pt x="475" y="47"/>
                  <a:pt x="478" y="44"/>
                  <a:pt x="480" y="43"/>
                </a:cubicBezTo>
                <a:cubicBezTo>
                  <a:pt x="480" y="43"/>
                  <a:pt x="479" y="47"/>
                  <a:pt x="479" y="48"/>
                </a:cubicBezTo>
                <a:cubicBezTo>
                  <a:pt x="481" y="48"/>
                  <a:pt x="483" y="49"/>
                  <a:pt x="485" y="49"/>
                </a:cubicBezTo>
                <a:cubicBezTo>
                  <a:pt x="486" y="49"/>
                  <a:pt x="489" y="48"/>
                  <a:pt x="490" y="49"/>
                </a:cubicBezTo>
                <a:cubicBezTo>
                  <a:pt x="491" y="49"/>
                  <a:pt x="492" y="50"/>
                  <a:pt x="492" y="50"/>
                </a:cubicBezTo>
                <a:cubicBezTo>
                  <a:pt x="494" y="47"/>
                  <a:pt x="494" y="47"/>
                  <a:pt x="497" y="45"/>
                </a:cubicBezTo>
                <a:cubicBezTo>
                  <a:pt x="497" y="44"/>
                  <a:pt x="496" y="42"/>
                  <a:pt x="496" y="42"/>
                </a:cubicBezTo>
                <a:cubicBezTo>
                  <a:pt x="497" y="42"/>
                  <a:pt x="498" y="42"/>
                  <a:pt x="498" y="41"/>
                </a:cubicBezTo>
                <a:cubicBezTo>
                  <a:pt x="498" y="41"/>
                  <a:pt x="499" y="41"/>
                  <a:pt x="500" y="41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0" y="42"/>
                  <a:pt x="499" y="45"/>
                  <a:pt x="499" y="46"/>
                </a:cubicBezTo>
                <a:cubicBezTo>
                  <a:pt x="500" y="46"/>
                  <a:pt x="500" y="45"/>
                  <a:pt x="500" y="47"/>
                </a:cubicBezTo>
                <a:cubicBezTo>
                  <a:pt x="507" y="45"/>
                  <a:pt x="515" y="43"/>
                  <a:pt x="522" y="43"/>
                </a:cubicBezTo>
                <a:cubicBezTo>
                  <a:pt x="529" y="42"/>
                  <a:pt x="532" y="43"/>
                  <a:pt x="538" y="43"/>
                </a:cubicBezTo>
                <a:cubicBezTo>
                  <a:pt x="544" y="42"/>
                  <a:pt x="550" y="40"/>
                  <a:pt x="555" y="38"/>
                </a:cubicBezTo>
                <a:cubicBezTo>
                  <a:pt x="556" y="37"/>
                  <a:pt x="556" y="37"/>
                  <a:pt x="556" y="37"/>
                </a:cubicBezTo>
                <a:cubicBezTo>
                  <a:pt x="556" y="36"/>
                  <a:pt x="559" y="37"/>
                  <a:pt x="560" y="37"/>
                </a:cubicBezTo>
                <a:cubicBezTo>
                  <a:pt x="563" y="37"/>
                  <a:pt x="566" y="36"/>
                  <a:pt x="569" y="35"/>
                </a:cubicBezTo>
                <a:cubicBezTo>
                  <a:pt x="568" y="35"/>
                  <a:pt x="566" y="37"/>
                  <a:pt x="565" y="37"/>
                </a:cubicBezTo>
                <a:cubicBezTo>
                  <a:pt x="562" y="38"/>
                  <a:pt x="561" y="37"/>
                  <a:pt x="558" y="38"/>
                </a:cubicBezTo>
                <a:cubicBezTo>
                  <a:pt x="558" y="38"/>
                  <a:pt x="556" y="40"/>
                  <a:pt x="556" y="40"/>
                </a:cubicBezTo>
                <a:cubicBezTo>
                  <a:pt x="556" y="40"/>
                  <a:pt x="556" y="40"/>
                  <a:pt x="557" y="41"/>
                </a:cubicBezTo>
                <a:cubicBezTo>
                  <a:pt x="559" y="41"/>
                  <a:pt x="562" y="41"/>
                  <a:pt x="565" y="41"/>
                </a:cubicBezTo>
                <a:cubicBezTo>
                  <a:pt x="565" y="43"/>
                  <a:pt x="565" y="43"/>
                  <a:pt x="565" y="43"/>
                </a:cubicBezTo>
                <a:cubicBezTo>
                  <a:pt x="561" y="43"/>
                  <a:pt x="557" y="42"/>
                  <a:pt x="556" y="43"/>
                </a:cubicBezTo>
                <a:cubicBezTo>
                  <a:pt x="555" y="43"/>
                  <a:pt x="553" y="44"/>
                  <a:pt x="553" y="45"/>
                </a:cubicBezTo>
                <a:cubicBezTo>
                  <a:pt x="550" y="45"/>
                  <a:pt x="548" y="44"/>
                  <a:pt x="546" y="45"/>
                </a:cubicBezTo>
                <a:cubicBezTo>
                  <a:pt x="536" y="48"/>
                  <a:pt x="557" y="48"/>
                  <a:pt x="559" y="48"/>
                </a:cubicBezTo>
                <a:cubicBezTo>
                  <a:pt x="555" y="49"/>
                  <a:pt x="549" y="51"/>
                  <a:pt x="544" y="51"/>
                </a:cubicBezTo>
                <a:cubicBezTo>
                  <a:pt x="543" y="51"/>
                  <a:pt x="541" y="50"/>
                  <a:pt x="540" y="50"/>
                </a:cubicBezTo>
                <a:cubicBezTo>
                  <a:pt x="539" y="50"/>
                  <a:pt x="539" y="51"/>
                  <a:pt x="539" y="52"/>
                </a:cubicBezTo>
                <a:cubicBezTo>
                  <a:pt x="531" y="51"/>
                  <a:pt x="525" y="52"/>
                  <a:pt x="516" y="53"/>
                </a:cubicBezTo>
                <a:cubicBezTo>
                  <a:pt x="517" y="54"/>
                  <a:pt x="516" y="55"/>
                  <a:pt x="516" y="55"/>
                </a:cubicBezTo>
                <a:cubicBezTo>
                  <a:pt x="517" y="56"/>
                  <a:pt x="519" y="56"/>
                  <a:pt x="518" y="59"/>
                </a:cubicBezTo>
                <a:cubicBezTo>
                  <a:pt x="518" y="59"/>
                  <a:pt x="517" y="60"/>
                  <a:pt x="518" y="61"/>
                </a:cubicBezTo>
                <a:cubicBezTo>
                  <a:pt x="518" y="62"/>
                  <a:pt x="519" y="62"/>
                  <a:pt x="519" y="62"/>
                </a:cubicBezTo>
                <a:cubicBezTo>
                  <a:pt x="522" y="63"/>
                  <a:pt x="532" y="63"/>
                  <a:pt x="528" y="63"/>
                </a:cubicBezTo>
                <a:cubicBezTo>
                  <a:pt x="530" y="64"/>
                  <a:pt x="531" y="63"/>
                  <a:pt x="532" y="64"/>
                </a:cubicBezTo>
                <a:cubicBezTo>
                  <a:pt x="532" y="65"/>
                  <a:pt x="532" y="65"/>
                  <a:pt x="532" y="65"/>
                </a:cubicBezTo>
                <a:cubicBezTo>
                  <a:pt x="531" y="65"/>
                  <a:pt x="530" y="64"/>
                  <a:pt x="530" y="64"/>
                </a:cubicBezTo>
                <a:cubicBezTo>
                  <a:pt x="529" y="66"/>
                  <a:pt x="530" y="65"/>
                  <a:pt x="528" y="65"/>
                </a:cubicBezTo>
                <a:cubicBezTo>
                  <a:pt x="528" y="67"/>
                  <a:pt x="528" y="67"/>
                  <a:pt x="528" y="67"/>
                </a:cubicBezTo>
                <a:cubicBezTo>
                  <a:pt x="527" y="67"/>
                  <a:pt x="526" y="66"/>
                  <a:pt x="525" y="66"/>
                </a:cubicBezTo>
                <a:cubicBezTo>
                  <a:pt x="523" y="66"/>
                  <a:pt x="522" y="67"/>
                  <a:pt x="521" y="66"/>
                </a:cubicBezTo>
                <a:cubicBezTo>
                  <a:pt x="520" y="65"/>
                  <a:pt x="520" y="65"/>
                  <a:pt x="520" y="65"/>
                </a:cubicBezTo>
                <a:cubicBezTo>
                  <a:pt x="520" y="65"/>
                  <a:pt x="518" y="65"/>
                  <a:pt x="518" y="65"/>
                </a:cubicBezTo>
                <a:cubicBezTo>
                  <a:pt x="514" y="64"/>
                  <a:pt x="516" y="60"/>
                  <a:pt x="515" y="57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06" y="50"/>
                  <a:pt x="489" y="52"/>
                  <a:pt x="483" y="52"/>
                </a:cubicBezTo>
                <a:cubicBezTo>
                  <a:pt x="482" y="56"/>
                  <a:pt x="482" y="56"/>
                  <a:pt x="482" y="56"/>
                </a:cubicBezTo>
                <a:cubicBezTo>
                  <a:pt x="483" y="55"/>
                  <a:pt x="483" y="57"/>
                  <a:pt x="483" y="57"/>
                </a:cubicBezTo>
                <a:cubicBezTo>
                  <a:pt x="483" y="56"/>
                  <a:pt x="482" y="60"/>
                  <a:pt x="482" y="60"/>
                </a:cubicBezTo>
                <a:cubicBezTo>
                  <a:pt x="481" y="61"/>
                  <a:pt x="480" y="60"/>
                  <a:pt x="478" y="61"/>
                </a:cubicBezTo>
                <a:cubicBezTo>
                  <a:pt x="478" y="61"/>
                  <a:pt x="477" y="64"/>
                  <a:pt x="476" y="64"/>
                </a:cubicBezTo>
                <a:cubicBezTo>
                  <a:pt x="476" y="64"/>
                  <a:pt x="475" y="63"/>
                  <a:pt x="475" y="62"/>
                </a:cubicBezTo>
                <a:cubicBezTo>
                  <a:pt x="476" y="61"/>
                  <a:pt x="477" y="60"/>
                  <a:pt x="477" y="58"/>
                </a:cubicBezTo>
                <a:cubicBezTo>
                  <a:pt x="477" y="58"/>
                  <a:pt x="475" y="56"/>
                  <a:pt x="475" y="55"/>
                </a:cubicBezTo>
                <a:cubicBezTo>
                  <a:pt x="475" y="55"/>
                  <a:pt x="473" y="55"/>
                  <a:pt x="473" y="55"/>
                </a:cubicBezTo>
                <a:cubicBezTo>
                  <a:pt x="473" y="54"/>
                  <a:pt x="473" y="53"/>
                  <a:pt x="473" y="51"/>
                </a:cubicBezTo>
                <a:cubicBezTo>
                  <a:pt x="472" y="51"/>
                  <a:pt x="472" y="51"/>
                  <a:pt x="472" y="51"/>
                </a:cubicBezTo>
                <a:cubicBezTo>
                  <a:pt x="471" y="51"/>
                  <a:pt x="471" y="53"/>
                  <a:pt x="471" y="54"/>
                </a:cubicBezTo>
                <a:cubicBezTo>
                  <a:pt x="470" y="53"/>
                  <a:pt x="468" y="54"/>
                  <a:pt x="467" y="54"/>
                </a:cubicBezTo>
                <a:cubicBezTo>
                  <a:pt x="467" y="52"/>
                  <a:pt x="467" y="51"/>
                  <a:pt x="466" y="51"/>
                </a:cubicBezTo>
                <a:cubicBezTo>
                  <a:pt x="466" y="51"/>
                  <a:pt x="465" y="52"/>
                  <a:pt x="464" y="52"/>
                </a:cubicBezTo>
                <a:cubicBezTo>
                  <a:pt x="464" y="53"/>
                  <a:pt x="464" y="53"/>
                  <a:pt x="464" y="53"/>
                </a:cubicBezTo>
                <a:cubicBezTo>
                  <a:pt x="464" y="53"/>
                  <a:pt x="444" y="53"/>
                  <a:pt x="443" y="53"/>
                </a:cubicBezTo>
                <a:cubicBezTo>
                  <a:pt x="442" y="53"/>
                  <a:pt x="438" y="51"/>
                  <a:pt x="436" y="50"/>
                </a:cubicBezTo>
                <a:cubicBezTo>
                  <a:pt x="436" y="48"/>
                  <a:pt x="437" y="47"/>
                  <a:pt x="437" y="45"/>
                </a:cubicBezTo>
                <a:cubicBezTo>
                  <a:pt x="431" y="38"/>
                  <a:pt x="431" y="38"/>
                  <a:pt x="431" y="38"/>
                </a:cubicBezTo>
                <a:cubicBezTo>
                  <a:pt x="428" y="35"/>
                  <a:pt x="422" y="37"/>
                  <a:pt x="417" y="36"/>
                </a:cubicBezTo>
                <a:cubicBezTo>
                  <a:pt x="416" y="36"/>
                  <a:pt x="414" y="34"/>
                  <a:pt x="414" y="34"/>
                </a:cubicBezTo>
                <a:cubicBezTo>
                  <a:pt x="409" y="32"/>
                  <a:pt x="401" y="33"/>
                  <a:pt x="397" y="33"/>
                </a:cubicBezTo>
                <a:cubicBezTo>
                  <a:pt x="397" y="33"/>
                  <a:pt x="397" y="36"/>
                  <a:pt x="397" y="36"/>
                </a:cubicBezTo>
                <a:cubicBezTo>
                  <a:pt x="401" y="35"/>
                  <a:pt x="402" y="35"/>
                  <a:pt x="406" y="36"/>
                </a:cubicBezTo>
                <a:cubicBezTo>
                  <a:pt x="406" y="36"/>
                  <a:pt x="408" y="35"/>
                  <a:pt x="409" y="36"/>
                </a:cubicBezTo>
                <a:cubicBezTo>
                  <a:pt x="409" y="36"/>
                  <a:pt x="410" y="37"/>
                  <a:pt x="410" y="37"/>
                </a:cubicBezTo>
                <a:cubicBezTo>
                  <a:pt x="411" y="36"/>
                  <a:pt x="411" y="39"/>
                  <a:pt x="411" y="39"/>
                </a:cubicBezTo>
                <a:cubicBezTo>
                  <a:pt x="410" y="39"/>
                  <a:pt x="410" y="39"/>
                  <a:pt x="410" y="39"/>
                </a:cubicBezTo>
                <a:cubicBezTo>
                  <a:pt x="411" y="41"/>
                  <a:pt x="411" y="41"/>
                  <a:pt x="411" y="43"/>
                </a:cubicBezTo>
                <a:cubicBezTo>
                  <a:pt x="407" y="42"/>
                  <a:pt x="405" y="42"/>
                  <a:pt x="401" y="41"/>
                </a:cubicBezTo>
                <a:cubicBezTo>
                  <a:pt x="399" y="40"/>
                  <a:pt x="399" y="40"/>
                  <a:pt x="399" y="40"/>
                </a:cubicBezTo>
                <a:cubicBezTo>
                  <a:pt x="397" y="40"/>
                  <a:pt x="397" y="41"/>
                  <a:pt x="396" y="41"/>
                </a:cubicBezTo>
                <a:cubicBezTo>
                  <a:pt x="396" y="42"/>
                  <a:pt x="397" y="44"/>
                  <a:pt x="397" y="45"/>
                </a:cubicBezTo>
                <a:cubicBezTo>
                  <a:pt x="398" y="45"/>
                  <a:pt x="399" y="45"/>
                  <a:pt x="400" y="45"/>
                </a:cubicBezTo>
                <a:cubicBezTo>
                  <a:pt x="400" y="45"/>
                  <a:pt x="400" y="46"/>
                  <a:pt x="400" y="47"/>
                </a:cubicBezTo>
                <a:cubicBezTo>
                  <a:pt x="404" y="47"/>
                  <a:pt x="404" y="45"/>
                  <a:pt x="405" y="44"/>
                </a:cubicBezTo>
                <a:cubicBezTo>
                  <a:pt x="409" y="46"/>
                  <a:pt x="409" y="47"/>
                  <a:pt x="415" y="47"/>
                </a:cubicBezTo>
                <a:cubicBezTo>
                  <a:pt x="415" y="45"/>
                  <a:pt x="415" y="45"/>
                  <a:pt x="416" y="44"/>
                </a:cubicBezTo>
                <a:cubicBezTo>
                  <a:pt x="416" y="45"/>
                  <a:pt x="416" y="46"/>
                  <a:pt x="417" y="47"/>
                </a:cubicBezTo>
                <a:cubicBezTo>
                  <a:pt x="417" y="48"/>
                  <a:pt x="418" y="48"/>
                  <a:pt x="419" y="49"/>
                </a:cubicBezTo>
                <a:cubicBezTo>
                  <a:pt x="419" y="49"/>
                  <a:pt x="418" y="50"/>
                  <a:pt x="419" y="51"/>
                </a:cubicBezTo>
                <a:cubicBezTo>
                  <a:pt x="413" y="51"/>
                  <a:pt x="408" y="51"/>
                  <a:pt x="404" y="52"/>
                </a:cubicBezTo>
                <a:cubicBezTo>
                  <a:pt x="404" y="53"/>
                  <a:pt x="406" y="55"/>
                  <a:pt x="406" y="55"/>
                </a:cubicBezTo>
                <a:cubicBezTo>
                  <a:pt x="405" y="56"/>
                  <a:pt x="405" y="56"/>
                  <a:pt x="405" y="56"/>
                </a:cubicBezTo>
                <a:cubicBezTo>
                  <a:pt x="404" y="57"/>
                  <a:pt x="405" y="56"/>
                  <a:pt x="403" y="56"/>
                </a:cubicBezTo>
                <a:cubicBezTo>
                  <a:pt x="402" y="57"/>
                  <a:pt x="402" y="57"/>
                  <a:pt x="402" y="57"/>
                </a:cubicBezTo>
                <a:cubicBezTo>
                  <a:pt x="398" y="58"/>
                  <a:pt x="410" y="60"/>
                  <a:pt x="412" y="60"/>
                </a:cubicBezTo>
                <a:cubicBezTo>
                  <a:pt x="412" y="60"/>
                  <a:pt x="413" y="58"/>
                  <a:pt x="414" y="57"/>
                </a:cubicBezTo>
                <a:cubicBezTo>
                  <a:pt x="414" y="58"/>
                  <a:pt x="414" y="60"/>
                  <a:pt x="414" y="60"/>
                </a:cubicBezTo>
                <a:cubicBezTo>
                  <a:pt x="416" y="60"/>
                  <a:pt x="415" y="61"/>
                  <a:pt x="417" y="61"/>
                </a:cubicBezTo>
                <a:cubicBezTo>
                  <a:pt x="419" y="60"/>
                  <a:pt x="419" y="60"/>
                  <a:pt x="419" y="60"/>
                </a:cubicBezTo>
                <a:cubicBezTo>
                  <a:pt x="419" y="60"/>
                  <a:pt x="421" y="61"/>
                  <a:pt x="420" y="61"/>
                </a:cubicBezTo>
                <a:cubicBezTo>
                  <a:pt x="421" y="61"/>
                  <a:pt x="421" y="63"/>
                  <a:pt x="421" y="63"/>
                </a:cubicBezTo>
                <a:cubicBezTo>
                  <a:pt x="418" y="63"/>
                  <a:pt x="415" y="63"/>
                  <a:pt x="412" y="62"/>
                </a:cubicBezTo>
                <a:cubicBezTo>
                  <a:pt x="411" y="62"/>
                  <a:pt x="409" y="61"/>
                  <a:pt x="409" y="60"/>
                </a:cubicBezTo>
                <a:cubicBezTo>
                  <a:pt x="402" y="60"/>
                  <a:pt x="404" y="65"/>
                  <a:pt x="405" y="64"/>
                </a:cubicBezTo>
                <a:cubicBezTo>
                  <a:pt x="405" y="64"/>
                  <a:pt x="405" y="68"/>
                  <a:pt x="405" y="67"/>
                </a:cubicBezTo>
                <a:cubicBezTo>
                  <a:pt x="406" y="67"/>
                  <a:pt x="406" y="68"/>
                  <a:pt x="407" y="68"/>
                </a:cubicBezTo>
                <a:cubicBezTo>
                  <a:pt x="411" y="72"/>
                  <a:pt x="416" y="74"/>
                  <a:pt x="423" y="72"/>
                </a:cubicBezTo>
                <a:cubicBezTo>
                  <a:pt x="423" y="74"/>
                  <a:pt x="423" y="74"/>
                  <a:pt x="423" y="74"/>
                </a:cubicBezTo>
                <a:cubicBezTo>
                  <a:pt x="422" y="74"/>
                  <a:pt x="421" y="74"/>
                  <a:pt x="421" y="74"/>
                </a:cubicBezTo>
                <a:cubicBezTo>
                  <a:pt x="419" y="75"/>
                  <a:pt x="415" y="73"/>
                  <a:pt x="413" y="74"/>
                </a:cubicBezTo>
                <a:cubicBezTo>
                  <a:pt x="412" y="75"/>
                  <a:pt x="412" y="78"/>
                  <a:pt x="413" y="77"/>
                </a:cubicBezTo>
                <a:cubicBezTo>
                  <a:pt x="413" y="78"/>
                  <a:pt x="413" y="78"/>
                  <a:pt x="413" y="78"/>
                </a:cubicBezTo>
                <a:cubicBezTo>
                  <a:pt x="414" y="79"/>
                  <a:pt x="424" y="78"/>
                  <a:pt x="425" y="78"/>
                </a:cubicBezTo>
                <a:cubicBezTo>
                  <a:pt x="426" y="77"/>
                  <a:pt x="427" y="75"/>
                  <a:pt x="427" y="75"/>
                </a:cubicBezTo>
                <a:cubicBezTo>
                  <a:pt x="430" y="74"/>
                  <a:pt x="433" y="75"/>
                  <a:pt x="436" y="76"/>
                </a:cubicBezTo>
                <a:cubicBezTo>
                  <a:pt x="436" y="76"/>
                  <a:pt x="436" y="78"/>
                  <a:pt x="436" y="78"/>
                </a:cubicBezTo>
                <a:cubicBezTo>
                  <a:pt x="430" y="78"/>
                  <a:pt x="428" y="79"/>
                  <a:pt x="423" y="80"/>
                </a:cubicBezTo>
                <a:cubicBezTo>
                  <a:pt x="423" y="81"/>
                  <a:pt x="423" y="82"/>
                  <a:pt x="423" y="82"/>
                </a:cubicBezTo>
                <a:cubicBezTo>
                  <a:pt x="423" y="83"/>
                  <a:pt x="424" y="84"/>
                  <a:pt x="425" y="86"/>
                </a:cubicBezTo>
                <a:cubicBezTo>
                  <a:pt x="425" y="86"/>
                  <a:pt x="427" y="86"/>
                  <a:pt x="427" y="86"/>
                </a:cubicBezTo>
                <a:cubicBezTo>
                  <a:pt x="427" y="86"/>
                  <a:pt x="427" y="90"/>
                  <a:pt x="427" y="90"/>
                </a:cubicBezTo>
                <a:cubicBezTo>
                  <a:pt x="428" y="90"/>
                  <a:pt x="429" y="90"/>
                  <a:pt x="430" y="90"/>
                </a:cubicBezTo>
                <a:cubicBezTo>
                  <a:pt x="430" y="92"/>
                  <a:pt x="430" y="92"/>
                  <a:pt x="430" y="92"/>
                </a:cubicBezTo>
                <a:cubicBezTo>
                  <a:pt x="428" y="92"/>
                  <a:pt x="428" y="92"/>
                  <a:pt x="427" y="92"/>
                </a:cubicBezTo>
                <a:cubicBezTo>
                  <a:pt x="427" y="93"/>
                  <a:pt x="428" y="95"/>
                  <a:pt x="427" y="95"/>
                </a:cubicBezTo>
                <a:cubicBezTo>
                  <a:pt x="434" y="95"/>
                  <a:pt x="436" y="96"/>
                  <a:pt x="441" y="94"/>
                </a:cubicBezTo>
                <a:cubicBezTo>
                  <a:pt x="441" y="93"/>
                  <a:pt x="440" y="92"/>
                  <a:pt x="441" y="91"/>
                </a:cubicBezTo>
                <a:cubicBezTo>
                  <a:pt x="441" y="91"/>
                  <a:pt x="442" y="91"/>
                  <a:pt x="443" y="91"/>
                </a:cubicBezTo>
                <a:cubicBezTo>
                  <a:pt x="443" y="91"/>
                  <a:pt x="443" y="93"/>
                  <a:pt x="444" y="94"/>
                </a:cubicBezTo>
                <a:cubicBezTo>
                  <a:pt x="445" y="94"/>
                  <a:pt x="446" y="94"/>
                  <a:pt x="447" y="94"/>
                </a:cubicBezTo>
                <a:cubicBezTo>
                  <a:pt x="446" y="95"/>
                  <a:pt x="449" y="95"/>
                  <a:pt x="449" y="95"/>
                </a:cubicBezTo>
                <a:cubicBezTo>
                  <a:pt x="449" y="95"/>
                  <a:pt x="449" y="93"/>
                  <a:pt x="449" y="93"/>
                </a:cubicBezTo>
                <a:cubicBezTo>
                  <a:pt x="450" y="93"/>
                  <a:pt x="451" y="95"/>
                  <a:pt x="452" y="94"/>
                </a:cubicBezTo>
                <a:cubicBezTo>
                  <a:pt x="454" y="88"/>
                  <a:pt x="454" y="88"/>
                  <a:pt x="454" y="88"/>
                </a:cubicBezTo>
                <a:cubicBezTo>
                  <a:pt x="454" y="88"/>
                  <a:pt x="457" y="89"/>
                  <a:pt x="458" y="88"/>
                </a:cubicBezTo>
                <a:cubicBezTo>
                  <a:pt x="459" y="88"/>
                  <a:pt x="461" y="87"/>
                  <a:pt x="463" y="86"/>
                </a:cubicBezTo>
                <a:cubicBezTo>
                  <a:pt x="461" y="85"/>
                  <a:pt x="462" y="80"/>
                  <a:pt x="464" y="79"/>
                </a:cubicBezTo>
                <a:cubicBezTo>
                  <a:pt x="464" y="79"/>
                  <a:pt x="464" y="82"/>
                  <a:pt x="464" y="84"/>
                </a:cubicBezTo>
                <a:cubicBezTo>
                  <a:pt x="465" y="83"/>
                  <a:pt x="466" y="84"/>
                  <a:pt x="467" y="84"/>
                </a:cubicBezTo>
                <a:cubicBezTo>
                  <a:pt x="467" y="83"/>
                  <a:pt x="467" y="83"/>
                  <a:pt x="467" y="83"/>
                </a:cubicBezTo>
                <a:cubicBezTo>
                  <a:pt x="468" y="83"/>
                  <a:pt x="472" y="78"/>
                  <a:pt x="472" y="78"/>
                </a:cubicBezTo>
                <a:cubicBezTo>
                  <a:pt x="474" y="78"/>
                  <a:pt x="474" y="80"/>
                  <a:pt x="474" y="80"/>
                </a:cubicBezTo>
                <a:cubicBezTo>
                  <a:pt x="475" y="80"/>
                  <a:pt x="478" y="79"/>
                  <a:pt x="479" y="79"/>
                </a:cubicBezTo>
                <a:cubicBezTo>
                  <a:pt x="479" y="79"/>
                  <a:pt x="477" y="82"/>
                  <a:pt x="478" y="82"/>
                </a:cubicBezTo>
                <a:cubicBezTo>
                  <a:pt x="481" y="82"/>
                  <a:pt x="482" y="79"/>
                  <a:pt x="479" y="78"/>
                </a:cubicBezTo>
                <a:cubicBezTo>
                  <a:pt x="480" y="79"/>
                  <a:pt x="483" y="80"/>
                  <a:pt x="483" y="80"/>
                </a:cubicBezTo>
                <a:cubicBezTo>
                  <a:pt x="483" y="78"/>
                  <a:pt x="483" y="78"/>
                  <a:pt x="483" y="78"/>
                </a:cubicBezTo>
                <a:cubicBezTo>
                  <a:pt x="486" y="78"/>
                  <a:pt x="491" y="77"/>
                  <a:pt x="492" y="75"/>
                </a:cubicBezTo>
                <a:cubicBezTo>
                  <a:pt x="493" y="75"/>
                  <a:pt x="493" y="72"/>
                  <a:pt x="493" y="72"/>
                </a:cubicBezTo>
                <a:cubicBezTo>
                  <a:pt x="493" y="72"/>
                  <a:pt x="489" y="66"/>
                  <a:pt x="489" y="65"/>
                </a:cubicBezTo>
                <a:cubicBezTo>
                  <a:pt x="489" y="65"/>
                  <a:pt x="491" y="65"/>
                  <a:pt x="491" y="65"/>
                </a:cubicBezTo>
                <a:cubicBezTo>
                  <a:pt x="492" y="68"/>
                  <a:pt x="494" y="70"/>
                  <a:pt x="495" y="73"/>
                </a:cubicBezTo>
                <a:cubicBezTo>
                  <a:pt x="497" y="72"/>
                  <a:pt x="496" y="74"/>
                  <a:pt x="497" y="74"/>
                </a:cubicBezTo>
                <a:cubicBezTo>
                  <a:pt x="497" y="74"/>
                  <a:pt x="499" y="72"/>
                  <a:pt x="500" y="72"/>
                </a:cubicBezTo>
                <a:cubicBezTo>
                  <a:pt x="500" y="73"/>
                  <a:pt x="500" y="73"/>
                  <a:pt x="500" y="73"/>
                </a:cubicBezTo>
                <a:cubicBezTo>
                  <a:pt x="500" y="73"/>
                  <a:pt x="500" y="73"/>
                  <a:pt x="500" y="73"/>
                </a:cubicBezTo>
                <a:cubicBezTo>
                  <a:pt x="501" y="74"/>
                  <a:pt x="502" y="75"/>
                  <a:pt x="502" y="76"/>
                </a:cubicBezTo>
                <a:cubicBezTo>
                  <a:pt x="501" y="76"/>
                  <a:pt x="491" y="77"/>
                  <a:pt x="495" y="78"/>
                </a:cubicBezTo>
                <a:cubicBezTo>
                  <a:pt x="501" y="79"/>
                  <a:pt x="508" y="79"/>
                  <a:pt x="513" y="80"/>
                </a:cubicBezTo>
                <a:cubicBezTo>
                  <a:pt x="512" y="81"/>
                  <a:pt x="514" y="83"/>
                  <a:pt x="512" y="83"/>
                </a:cubicBezTo>
                <a:cubicBezTo>
                  <a:pt x="510" y="82"/>
                  <a:pt x="510" y="82"/>
                  <a:pt x="510" y="82"/>
                </a:cubicBezTo>
                <a:cubicBezTo>
                  <a:pt x="505" y="81"/>
                  <a:pt x="500" y="81"/>
                  <a:pt x="495" y="81"/>
                </a:cubicBezTo>
                <a:cubicBezTo>
                  <a:pt x="494" y="81"/>
                  <a:pt x="491" y="82"/>
                  <a:pt x="488" y="82"/>
                </a:cubicBezTo>
                <a:cubicBezTo>
                  <a:pt x="488" y="82"/>
                  <a:pt x="487" y="80"/>
                  <a:pt x="486" y="80"/>
                </a:cubicBezTo>
                <a:cubicBezTo>
                  <a:pt x="485" y="80"/>
                  <a:pt x="475" y="84"/>
                  <a:pt x="474" y="84"/>
                </a:cubicBezTo>
                <a:cubicBezTo>
                  <a:pt x="474" y="84"/>
                  <a:pt x="473" y="86"/>
                  <a:pt x="473" y="86"/>
                </a:cubicBezTo>
                <a:cubicBezTo>
                  <a:pt x="472" y="86"/>
                  <a:pt x="471" y="85"/>
                  <a:pt x="470" y="86"/>
                </a:cubicBezTo>
                <a:cubicBezTo>
                  <a:pt x="472" y="85"/>
                  <a:pt x="468" y="85"/>
                  <a:pt x="468" y="85"/>
                </a:cubicBezTo>
                <a:cubicBezTo>
                  <a:pt x="467" y="89"/>
                  <a:pt x="466" y="91"/>
                  <a:pt x="466" y="95"/>
                </a:cubicBezTo>
                <a:cubicBezTo>
                  <a:pt x="468" y="95"/>
                  <a:pt x="467" y="95"/>
                  <a:pt x="468" y="96"/>
                </a:cubicBezTo>
                <a:cubicBezTo>
                  <a:pt x="469" y="95"/>
                  <a:pt x="470" y="96"/>
                  <a:pt x="470" y="96"/>
                </a:cubicBezTo>
                <a:cubicBezTo>
                  <a:pt x="473" y="95"/>
                  <a:pt x="476" y="92"/>
                  <a:pt x="478" y="92"/>
                </a:cubicBezTo>
                <a:cubicBezTo>
                  <a:pt x="481" y="92"/>
                  <a:pt x="478" y="93"/>
                  <a:pt x="480" y="94"/>
                </a:cubicBezTo>
                <a:cubicBezTo>
                  <a:pt x="484" y="95"/>
                  <a:pt x="487" y="93"/>
                  <a:pt x="489" y="92"/>
                </a:cubicBezTo>
                <a:cubicBezTo>
                  <a:pt x="491" y="90"/>
                  <a:pt x="493" y="89"/>
                  <a:pt x="494" y="87"/>
                </a:cubicBezTo>
                <a:cubicBezTo>
                  <a:pt x="494" y="92"/>
                  <a:pt x="494" y="92"/>
                  <a:pt x="491" y="96"/>
                </a:cubicBezTo>
                <a:cubicBezTo>
                  <a:pt x="492" y="96"/>
                  <a:pt x="492" y="96"/>
                  <a:pt x="494" y="96"/>
                </a:cubicBezTo>
                <a:cubicBezTo>
                  <a:pt x="494" y="98"/>
                  <a:pt x="495" y="99"/>
                  <a:pt x="495" y="100"/>
                </a:cubicBezTo>
                <a:cubicBezTo>
                  <a:pt x="494" y="101"/>
                  <a:pt x="496" y="102"/>
                  <a:pt x="496" y="102"/>
                </a:cubicBezTo>
                <a:cubicBezTo>
                  <a:pt x="497" y="101"/>
                  <a:pt x="497" y="100"/>
                  <a:pt x="498" y="99"/>
                </a:cubicBezTo>
                <a:cubicBezTo>
                  <a:pt x="499" y="99"/>
                  <a:pt x="499" y="99"/>
                  <a:pt x="499" y="99"/>
                </a:cubicBezTo>
                <a:cubicBezTo>
                  <a:pt x="500" y="102"/>
                  <a:pt x="500" y="102"/>
                  <a:pt x="500" y="102"/>
                </a:cubicBezTo>
                <a:cubicBezTo>
                  <a:pt x="503" y="103"/>
                  <a:pt x="509" y="100"/>
                  <a:pt x="508" y="101"/>
                </a:cubicBezTo>
                <a:cubicBezTo>
                  <a:pt x="507" y="101"/>
                  <a:pt x="506" y="103"/>
                  <a:pt x="506" y="103"/>
                </a:cubicBezTo>
                <a:cubicBezTo>
                  <a:pt x="506" y="104"/>
                  <a:pt x="507" y="105"/>
                  <a:pt x="506" y="106"/>
                </a:cubicBezTo>
                <a:cubicBezTo>
                  <a:pt x="506" y="106"/>
                  <a:pt x="504" y="106"/>
                  <a:pt x="504" y="106"/>
                </a:cubicBezTo>
                <a:cubicBezTo>
                  <a:pt x="503" y="108"/>
                  <a:pt x="503" y="108"/>
                  <a:pt x="503" y="108"/>
                </a:cubicBezTo>
                <a:cubicBezTo>
                  <a:pt x="501" y="109"/>
                  <a:pt x="501" y="107"/>
                  <a:pt x="500" y="106"/>
                </a:cubicBezTo>
                <a:cubicBezTo>
                  <a:pt x="497" y="106"/>
                  <a:pt x="492" y="108"/>
                  <a:pt x="491" y="107"/>
                </a:cubicBezTo>
                <a:cubicBezTo>
                  <a:pt x="491" y="107"/>
                  <a:pt x="489" y="102"/>
                  <a:pt x="488" y="102"/>
                </a:cubicBezTo>
                <a:cubicBezTo>
                  <a:pt x="488" y="101"/>
                  <a:pt x="485" y="102"/>
                  <a:pt x="484" y="102"/>
                </a:cubicBezTo>
                <a:cubicBezTo>
                  <a:pt x="483" y="101"/>
                  <a:pt x="482" y="98"/>
                  <a:pt x="480" y="98"/>
                </a:cubicBezTo>
                <a:cubicBezTo>
                  <a:pt x="476" y="97"/>
                  <a:pt x="468" y="98"/>
                  <a:pt x="464" y="99"/>
                </a:cubicBezTo>
                <a:cubicBezTo>
                  <a:pt x="464" y="99"/>
                  <a:pt x="465" y="103"/>
                  <a:pt x="464" y="103"/>
                </a:cubicBezTo>
                <a:cubicBezTo>
                  <a:pt x="465" y="103"/>
                  <a:pt x="466" y="105"/>
                  <a:pt x="466" y="105"/>
                </a:cubicBezTo>
                <a:cubicBezTo>
                  <a:pt x="467" y="105"/>
                  <a:pt x="469" y="105"/>
                  <a:pt x="470" y="105"/>
                </a:cubicBezTo>
                <a:cubicBezTo>
                  <a:pt x="470" y="105"/>
                  <a:pt x="470" y="106"/>
                  <a:pt x="470" y="106"/>
                </a:cubicBezTo>
                <a:cubicBezTo>
                  <a:pt x="471" y="107"/>
                  <a:pt x="471" y="109"/>
                  <a:pt x="471" y="110"/>
                </a:cubicBezTo>
                <a:cubicBezTo>
                  <a:pt x="461" y="112"/>
                  <a:pt x="457" y="111"/>
                  <a:pt x="451" y="117"/>
                </a:cubicBezTo>
                <a:cubicBezTo>
                  <a:pt x="450" y="117"/>
                  <a:pt x="449" y="118"/>
                  <a:pt x="449" y="118"/>
                </a:cubicBezTo>
                <a:cubicBezTo>
                  <a:pt x="450" y="121"/>
                  <a:pt x="451" y="123"/>
                  <a:pt x="452" y="126"/>
                </a:cubicBezTo>
                <a:cubicBezTo>
                  <a:pt x="452" y="125"/>
                  <a:pt x="454" y="126"/>
                  <a:pt x="454" y="126"/>
                </a:cubicBezTo>
                <a:cubicBezTo>
                  <a:pt x="454" y="126"/>
                  <a:pt x="454" y="124"/>
                  <a:pt x="454" y="124"/>
                </a:cubicBezTo>
                <a:cubicBezTo>
                  <a:pt x="455" y="124"/>
                  <a:pt x="455" y="124"/>
                  <a:pt x="455" y="124"/>
                </a:cubicBezTo>
                <a:cubicBezTo>
                  <a:pt x="455" y="122"/>
                  <a:pt x="455" y="122"/>
                  <a:pt x="455" y="122"/>
                </a:cubicBezTo>
                <a:cubicBezTo>
                  <a:pt x="455" y="122"/>
                  <a:pt x="457" y="122"/>
                  <a:pt x="455" y="123"/>
                </a:cubicBezTo>
                <a:cubicBezTo>
                  <a:pt x="456" y="123"/>
                  <a:pt x="457" y="123"/>
                  <a:pt x="457" y="123"/>
                </a:cubicBezTo>
                <a:cubicBezTo>
                  <a:pt x="458" y="126"/>
                  <a:pt x="458" y="126"/>
                  <a:pt x="458" y="126"/>
                </a:cubicBezTo>
                <a:cubicBezTo>
                  <a:pt x="461" y="127"/>
                  <a:pt x="464" y="125"/>
                  <a:pt x="466" y="125"/>
                </a:cubicBezTo>
                <a:cubicBezTo>
                  <a:pt x="466" y="125"/>
                  <a:pt x="467" y="122"/>
                  <a:pt x="465" y="124"/>
                </a:cubicBezTo>
                <a:cubicBezTo>
                  <a:pt x="465" y="122"/>
                  <a:pt x="465" y="122"/>
                  <a:pt x="465" y="122"/>
                </a:cubicBezTo>
                <a:cubicBezTo>
                  <a:pt x="466" y="122"/>
                  <a:pt x="467" y="121"/>
                  <a:pt x="467" y="120"/>
                </a:cubicBezTo>
                <a:cubicBezTo>
                  <a:pt x="468" y="121"/>
                  <a:pt x="469" y="122"/>
                  <a:pt x="470" y="122"/>
                </a:cubicBezTo>
                <a:cubicBezTo>
                  <a:pt x="470" y="123"/>
                  <a:pt x="470" y="124"/>
                  <a:pt x="470" y="124"/>
                </a:cubicBezTo>
                <a:cubicBezTo>
                  <a:pt x="472" y="124"/>
                  <a:pt x="472" y="126"/>
                  <a:pt x="472" y="126"/>
                </a:cubicBezTo>
                <a:cubicBezTo>
                  <a:pt x="472" y="126"/>
                  <a:pt x="472" y="125"/>
                  <a:pt x="473" y="122"/>
                </a:cubicBezTo>
                <a:cubicBezTo>
                  <a:pt x="474" y="121"/>
                  <a:pt x="474" y="121"/>
                  <a:pt x="474" y="121"/>
                </a:cubicBezTo>
                <a:cubicBezTo>
                  <a:pt x="475" y="121"/>
                  <a:pt x="474" y="123"/>
                  <a:pt x="474" y="124"/>
                </a:cubicBezTo>
                <a:cubicBezTo>
                  <a:pt x="476" y="124"/>
                  <a:pt x="478" y="125"/>
                  <a:pt x="480" y="126"/>
                </a:cubicBezTo>
                <a:cubicBezTo>
                  <a:pt x="483" y="126"/>
                  <a:pt x="484" y="125"/>
                  <a:pt x="487" y="126"/>
                </a:cubicBezTo>
                <a:cubicBezTo>
                  <a:pt x="488" y="127"/>
                  <a:pt x="488" y="128"/>
                  <a:pt x="488" y="128"/>
                </a:cubicBezTo>
                <a:cubicBezTo>
                  <a:pt x="489" y="128"/>
                  <a:pt x="488" y="126"/>
                  <a:pt x="488" y="126"/>
                </a:cubicBezTo>
                <a:cubicBezTo>
                  <a:pt x="494" y="123"/>
                  <a:pt x="494" y="124"/>
                  <a:pt x="490" y="119"/>
                </a:cubicBezTo>
                <a:cubicBezTo>
                  <a:pt x="496" y="121"/>
                  <a:pt x="494" y="121"/>
                  <a:pt x="497" y="118"/>
                </a:cubicBezTo>
                <a:cubicBezTo>
                  <a:pt x="497" y="117"/>
                  <a:pt x="498" y="117"/>
                  <a:pt x="498" y="117"/>
                </a:cubicBezTo>
                <a:cubicBezTo>
                  <a:pt x="498" y="116"/>
                  <a:pt x="498" y="116"/>
                  <a:pt x="498" y="116"/>
                </a:cubicBezTo>
                <a:cubicBezTo>
                  <a:pt x="500" y="115"/>
                  <a:pt x="499" y="121"/>
                  <a:pt x="499" y="120"/>
                </a:cubicBezTo>
                <a:cubicBezTo>
                  <a:pt x="499" y="121"/>
                  <a:pt x="499" y="122"/>
                  <a:pt x="499" y="122"/>
                </a:cubicBezTo>
                <a:cubicBezTo>
                  <a:pt x="502" y="122"/>
                  <a:pt x="506" y="121"/>
                  <a:pt x="507" y="121"/>
                </a:cubicBezTo>
                <a:cubicBezTo>
                  <a:pt x="507" y="121"/>
                  <a:pt x="510" y="122"/>
                  <a:pt x="510" y="122"/>
                </a:cubicBezTo>
                <a:cubicBezTo>
                  <a:pt x="512" y="122"/>
                  <a:pt x="513" y="121"/>
                  <a:pt x="514" y="121"/>
                </a:cubicBezTo>
                <a:cubicBezTo>
                  <a:pt x="514" y="121"/>
                  <a:pt x="515" y="121"/>
                  <a:pt x="515" y="122"/>
                </a:cubicBezTo>
                <a:cubicBezTo>
                  <a:pt x="515" y="121"/>
                  <a:pt x="516" y="121"/>
                  <a:pt x="516" y="120"/>
                </a:cubicBezTo>
                <a:cubicBezTo>
                  <a:pt x="516" y="117"/>
                  <a:pt x="516" y="116"/>
                  <a:pt x="515" y="114"/>
                </a:cubicBezTo>
                <a:cubicBezTo>
                  <a:pt x="516" y="115"/>
                  <a:pt x="517" y="115"/>
                  <a:pt x="518" y="116"/>
                </a:cubicBezTo>
                <a:cubicBezTo>
                  <a:pt x="518" y="117"/>
                  <a:pt x="517" y="118"/>
                  <a:pt x="518" y="119"/>
                </a:cubicBezTo>
                <a:cubicBezTo>
                  <a:pt x="520" y="122"/>
                  <a:pt x="521" y="120"/>
                  <a:pt x="523" y="120"/>
                </a:cubicBezTo>
                <a:cubicBezTo>
                  <a:pt x="522" y="119"/>
                  <a:pt x="524" y="119"/>
                  <a:pt x="524" y="119"/>
                </a:cubicBezTo>
                <a:cubicBezTo>
                  <a:pt x="525" y="119"/>
                  <a:pt x="525" y="121"/>
                  <a:pt x="526" y="121"/>
                </a:cubicBezTo>
                <a:cubicBezTo>
                  <a:pt x="526" y="124"/>
                  <a:pt x="526" y="125"/>
                  <a:pt x="526" y="129"/>
                </a:cubicBezTo>
                <a:cubicBezTo>
                  <a:pt x="526" y="129"/>
                  <a:pt x="529" y="129"/>
                  <a:pt x="528" y="128"/>
                </a:cubicBezTo>
                <a:cubicBezTo>
                  <a:pt x="529" y="128"/>
                  <a:pt x="531" y="129"/>
                  <a:pt x="531" y="129"/>
                </a:cubicBezTo>
                <a:cubicBezTo>
                  <a:pt x="532" y="129"/>
                  <a:pt x="532" y="126"/>
                  <a:pt x="533" y="126"/>
                </a:cubicBezTo>
                <a:cubicBezTo>
                  <a:pt x="534" y="124"/>
                  <a:pt x="537" y="124"/>
                  <a:pt x="538" y="122"/>
                </a:cubicBezTo>
                <a:cubicBezTo>
                  <a:pt x="539" y="122"/>
                  <a:pt x="539" y="122"/>
                  <a:pt x="539" y="122"/>
                </a:cubicBezTo>
                <a:cubicBezTo>
                  <a:pt x="539" y="120"/>
                  <a:pt x="539" y="120"/>
                  <a:pt x="539" y="120"/>
                </a:cubicBezTo>
                <a:cubicBezTo>
                  <a:pt x="540" y="121"/>
                  <a:pt x="540" y="122"/>
                  <a:pt x="541" y="123"/>
                </a:cubicBezTo>
                <a:cubicBezTo>
                  <a:pt x="542" y="123"/>
                  <a:pt x="543" y="123"/>
                  <a:pt x="544" y="123"/>
                </a:cubicBezTo>
                <a:cubicBezTo>
                  <a:pt x="544" y="123"/>
                  <a:pt x="545" y="121"/>
                  <a:pt x="545" y="121"/>
                </a:cubicBezTo>
                <a:cubicBezTo>
                  <a:pt x="547" y="119"/>
                  <a:pt x="550" y="118"/>
                  <a:pt x="552" y="116"/>
                </a:cubicBezTo>
                <a:cubicBezTo>
                  <a:pt x="551" y="116"/>
                  <a:pt x="551" y="114"/>
                  <a:pt x="550" y="114"/>
                </a:cubicBezTo>
                <a:cubicBezTo>
                  <a:pt x="549" y="114"/>
                  <a:pt x="547" y="115"/>
                  <a:pt x="546" y="114"/>
                </a:cubicBezTo>
                <a:cubicBezTo>
                  <a:pt x="545" y="114"/>
                  <a:pt x="543" y="110"/>
                  <a:pt x="542" y="109"/>
                </a:cubicBezTo>
                <a:cubicBezTo>
                  <a:pt x="539" y="108"/>
                  <a:pt x="536" y="108"/>
                  <a:pt x="532" y="108"/>
                </a:cubicBezTo>
                <a:cubicBezTo>
                  <a:pt x="539" y="106"/>
                  <a:pt x="545" y="106"/>
                  <a:pt x="552" y="104"/>
                </a:cubicBezTo>
                <a:cubicBezTo>
                  <a:pt x="551" y="101"/>
                  <a:pt x="551" y="99"/>
                  <a:pt x="551" y="97"/>
                </a:cubicBezTo>
                <a:cubicBezTo>
                  <a:pt x="554" y="97"/>
                  <a:pt x="559" y="100"/>
                  <a:pt x="564" y="98"/>
                </a:cubicBezTo>
                <a:cubicBezTo>
                  <a:pt x="565" y="97"/>
                  <a:pt x="565" y="97"/>
                  <a:pt x="565" y="97"/>
                </a:cubicBezTo>
                <a:cubicBezTo>
                  <a:pt x="566" y="97"/>
                  <a:pt x="568" y="98"/>
                  <a:pt x="569" y="97"/>
                </a:cubicBezTo>
                <a:cubicBezTo>
                  <a:pt x="569" y="97"/>
                  <a:pt x="569" y="96"/>
                  <a:pt x="570" y="96"/>
                </a:cubicBezTo>
                <a:cubicBezTo>
                  <a:pt x="571" y="96"/>
                  <a:pt x="570" y="94"/>
                  <a:pt x="571" y="94"/>
                </a:cubicBezTo>
                <a:cubicBezTo>
                  <a:pt x="568" y="93"/>
                  <a:pt x="563" y="92"/>
                  <a:pt x="569" y="92"/>
                </a:cubicBezTo>
                <a:cubicBezTo>
                  <a:pt x="572" y="91"/>
                  <a:pt x="580" y="93"/>
                  <a:pt x="574" y="89"/>
                </a:cubicBezTo>
                <a:cubicBezTo>
                  <a:pt x="574" y="88"/>
                  <a:pt x="574" y="88"/>
                  <a:pt x="574" y="88"/>
                </a:cubicBezTo>
                <a:cubicBezTo>
                  <a:pt x="580" y="88"/>
                  <a:pt x="580" y="87"/>
                  <a:pt x="584" y="85"/>
                </a:cubicBezTo>
                <a:cubicBezTo>
                  <a:pt x="584" y="84"/>
                  <a:pt x="584" y="84"/>
                  <a:pt x="584" y="84"/>
                </a:cubicBezTo>
                <a:cubicBezTo>
                  <a:pt x="583" y="83"/>
                  <a:pt x="584" y="83"/>
                  <a:pt x="583" y="81"/>
                </a:cubicBezTo>
                <a:cubicBezTo>
                  <a:pt x="580" y="81"/>
                  <a:pt x="579" y="82"/>
                  <a:pt x="576" y="82"/>
                </a:cubicBezTo>
                <a:cubicBezTo>
                  <a:pt x="576" y="82"/>
                  <a:pt x="576" y="80"/>
                  <a:pt x="576" y="80"/>
                </a:cubicBezTo>
                <a:cubicBezTo>
                  <a:pt x="574" y="80"/>
                  <a:pt x="570" y="78"/>
                  <a:pt x="570" y="78"/>
                </a:cubicBezTo>
                <a:cubicBezTo>
                  <a:pt x="569" y="78"/>
                  <a:pt x="568" y="80"/>
                  <a:pt x="568" y="80"/>
                </a:cubicBezTo>
                <a:cubicBezTo>
                  <a:pt x="566" y="80"/>
                  <a:pt x="565" y="79"/>
                  <a:pt x="564" y="80"/>
                </a:cubicBezTo>
                <a:cubicBezTo>
                  <a:pt x="562" y="81"/>
                  <a:pt x="562" y="81"/>
                  <a:pt x="562" y="81"/>
                </a:cubicBezTo>
                <a:cubicBezTo>
                  <a:pt x="558" y="82"/>
                  <a:pt x="556" y="83"/>
                  <a:pt x="552" y="84"/>
                </a:cubicBezTo>
                <a:cubicBezTo>
                  <a:pt x="553" y="83"/>
                  <a:pt x="552" y="82"/>
                  <a:pt x="553" y="81"/>
                </a:cubicBezTo>
                <a:cubicBezTo>
                  <a:pt x="554" y="80"/>
                  <a:pt x="556" y="79"/>
                  <a:pt x="557" y="79"/>
                </a:cubicBezTo>
                <a:cubicBezTo>
                  <a:pt x="558" y="80"/>
                  <a:pt x="556" y="77"/>
                  <a:pt x="556" y="77"/>
                </a:cubicBezTo>
                <a:cubicBezTo>
                  <a:pt x="553" y="76"/>
                  <a:pt x="551" y="76"/>
                  <a:pt x="548" y="76"/>
                </a:cubicBezTo>
                <a:cubicBezTo>
                  <a:pt x="548" y="76"/>
                  <a:pt x="549" y="74"/>
                  <a:pt x="550" y="74"/>
                </a:cubicBezTo>
                <a:cubicBezTo>
                  <a:pt x="550" y="74"/>
                  <a:pt x="558" y="76"/>
                  <a:pt x="559" y="76"/>
                </a:cubicBezTo>
                <a:cubicBezTo>
                  <a:pt x="559" y="76"/>
                  <a:pt x="561" y="78"/>
                  <a:pt x="561" y="78"/>
                </a:cubicBezTo>
                <a:cubicBezTo>
                  <a:pt x="562" y="78"/>
                  <a:pt x="564" y="77"/>
                  <a:pt x="566" y="77"/>
                </a:cubicBezTo>
                <a:cubicBezTo>
                  <a:pt x="567" y="77"/>
                  <a:pt x="574" y="76"/>
                  <a:pt x="569" y="74"/>
                </a:cubicBezTo>
                <a:cubicBezTo>
                  <a:pt x="566" y="73"/>
                  <a:pt x="565" y="73"/>
                  <a:pt x="562" y="72"/>
                </a:cubicBezTo>
                <a:cubicBezTo>
                  <a:pt x="563" y="72"/>
                  <a:pt x="560" y="71"/>
                  <a:pt x="560" y="71"/>
                </a:cubicBezTo>
                <a:cubicBezTo>
                  <a:pt x="564" y="72"/>
                  <a:pt x="567" y="71"/>
                  <a:pt x="571" y="72"/>
                </a:cubicBezTo>
                <a:cubicBezTo>
                  <a:pt x="571" y="73"/>
                  <a:pt x="573" y="74"/>
                  <a:pt x="574" y="74"/>
                </a:cubicBezTo>
                <a:cubicBezTo>
                  <a:pt x="574" y="74"/>
                  <a:pt x="576" y="73"/>
                  <a:pt x="576" y="72"/>
                </a:cubicBezTo>
                <a:cubicBezTo>
                  <a:pt x="575" y="70"/>
                  <a:pt x="575" y="70"/>
                  <a:pt x="575" y="70"/>
                </a:cubicBezTo>
                <a:cubicBezTo>
                  <a:pt x="570" y="69"/>
                  <a:pt x="565" y="69"/>
                  <a:pt x="560" y="69"/>
                </a:cubicBezTo>
                <a:cubicBezTo>
                  <a:pt x="560" y="69"/>
                  <a:pt x="560" y="67"/>
                  <a:pt x="560" y="66"/>
                </a:cubicBezTo>
                <a:cubicBezTo>
                  <a:pt x="562" y="67"/>
                  <a:pt x="564" y="67"/>
                  <a:pt x="566" y="68"/>
                </a:cubicBezTo>
                <a:cubicBezTo>
                  <a:pt x="566" y="67"/>
                  <a:pt x="567" y="65"/>
                  <a:pt x="568" y="65"/>
                </a:cubicBezTo>
                <a:cubicBezTo>
                  <a:pt x="568" y="65"/>
                  <a:pt x="569" y="66"/>
                  <a:pt x="570" y="65"/>
                </a:cubicBezTo>
                <a:cubicBezTo>
                  <a:pt x="570" y="65"/>
                  <a:pt x="570" y="67"/>
                  <a:pt x="570" y="67"/>
                </a:cubicBezTo>
                <a:cubicBezTo>
                  <a:pt x="572" y="69"/>
                  <a:pt x="576" y="70"/>
                  <a:pt x="577" y="69"/>
                </a:cubicBezTo>
                <a:cubicBezTo>
                  <a:pt x="577" y="69"/>
                  <a:pt x="575" y="66"/>
                  <a:pt x="579" y="67"/>
                </a:cubicBezTo>
                <a:cubicBezTo>
                  <a:pt x="579" y="67"/>
                  <a:pt x="582" y="69"/>
                  <a:pt x="583" y="70"/>
                </a:cubicBezTo>
                <a:cubicBezTo>
                  <a:pt x="584" y="69"/>
                  <a:pt x="586" y="67"/>
                  <a:pt x="586" y="66"/>
                </a:cubicBezTo>
                <a:cubicBezTo>
                  <a:pt x="587" y="67"/>
                  <a:pt x="588" y="68"/>
                  <a:pt x="588" y="68"/>
                </a:cubicBezTo>
                <a:cubicBezTo>
                  <a:pt x="593" y="70"/>
                  <a:pt x="596" y="68"/>
                  <a:pt x="600" y="68"/>
                </a:cubicBezTo>
                <a:cubicBezTo>
                  <a:pt x="600" y="68"/>
                  <a:pt x="601" y="66"/>
                  <a:pt x="601" y="65"/>
                </a:cubicBezTo>
                <a:cubicBezTo>
                  <a:pt x="600" y="65"/>
                  <a:pt x="600" y="65"/>
                  <a:pt x="599" y="64"/>
                </a:cubicBezTo>
                <a:cubicBezTo>
                  <a:pt x="596" y="63"/>
                  <a:pt x="603" y="64"/>
                  <a:pt x="603" y="64"/>
                </a:cubicBezTo>
                <a:cubicBezTo>
                  <a:pt x="604" y="64"/>
                  <a:pt x="605" y="61"/>
                  <a:pt x="605" y="61"/>
                </a:cubicBezTo>
                <a:cubicBezTo>
                  <a:pt x="605" y="61"/>
                  <a:pt x="615" y="60"/>
                  <a:pt x="611" y="59"/>
                </a:cubicBezTo>
                <a:cubicBezTo>
                  <a:pt x="610" y="59"/>
                  <a:pt x="608" y="58"/>
                  <a:pt x="607" y="58"/>
                </a:cubicBezTo>
                <a:cubicBezTo>
                  <a:pt x="607" y="58"/>
                  <a:pt x="608" y="57"/>
                  <a:pt x="607" y="56"/>
                </a:cubicBezTo>
                <a:cubicBezTo>
                  <a:pt x="609" y="55"/>
                  <a:pt x="609" y="55"/>
                  <a:pt x="609" y="55"/>
                </a:cubicBezTo>
                <a:cubicBezTo>
                  <a:pt x="610" y="55"/>
                  <a:pt x="611" y="57"/>
                  <a:pt x="612" y="57"/>
                </a:cubicBezTo>
                <a:cubicBezTo>
                  <a:pt x="616" y="59"/>
                  <a:pt x="616" y="57"/>
                  <a:pt x="619" y="56"/>
                </a:cubicBezTo>
                <a:cubicBezTo>
                  <a:pt x="619" y="54"/>
                  <a:pt x="619" y="54"/>
                  <a:pt x="619" y="54"/>
                </a:cubicBezTo>
                <a:cubicBezTo>
                  <a:pt x="620" y="54"/>
                  <a:pt x="621" y="55"/>
                  <a:pt x="622" y="54"/>
                </a:cubicBezTo>
                <a:cubicBezTo>
                  <a:pt x="623" y="53"/>
                  <a:pt x="621" y="52"/>
                  <a:pt x="621" y="51"/>
                </a:cubicBezTo>
                <a:cubicBezTo>
                  <a:pt x="622" y="50"/>
                  <a:pt x="623" y="50"/>
                  <a:pt x="623" y="49"/>
                </a:cubicBezTo>
                <a:cubicBezTo>
                  <a:pt x="627" y="55"/>
                  <a:pt x="628" y="51"/>
                  <a:pt x="627" y="51"/>
                </a:cubicBezTo>
                <a:cubicBezTo>
                  <a:pt x="628" y="51"/>
                  <a:pt x="628" y="52"/>
                  <a:pt x="629" y="52"/>
                </a:cubicBezTo>
                <a:cubicBezTo>
                  <a:pt x="630" y="52"/>
                  <a:pt x="630" y="49"/>
                  <a:pt x="631" y="49"/>
                </a:cubicBezTo>
                <a:cubicBezTo>
                  <a:pt x="633" y="48"/>
                  <a:pt x="635" y="48"/>
                  <a:pt x="637" y="47"/>
                </a:cubicBezTo>
                <a:cubicBezTo>
                  <a:pt x="638" y="47"/>
                  <a:pt x="639" y="45"/>
                  <a:pt x="639" y="45"/>
                </a:cubicBezTo>
                <a:cubicBezTo>
                  <a:pt x="640" y="44"/>
                  <a:pt x="642" y="44"/>
                  <a:pt x="643" y="43"/>
                </a:cubicBezTo>
                <a:cubicBezTo>
                  <a:pt x="644" y="43"/>
                  <a:pt x="643" y="41"/>
                  <a:pt x="644" y="41"/>
                </a:cubicBezTo>
                <a:cubicBezTo>
                  <a:pt x="646" y="41"/>
                  <a:pt x="647" y="42"/>
                  <a:pt x="650" y="42"/>
                </a:cubicBezTo>
                <a:cubicBezTo>
                  <a:pt x="651" y="42"/>
                  <a:pt x="655" y="40"/>
                  <a:pt x="656" y="40"/>
                </a:cubicBezTo>
                <a:cubicBezTo>
                  <a:pt x="663" y="38"/>
                  <a:pt x="667" y="38"/>
                  <a:pt x="673" y="35"/>
                </a:cubicBezTo>
                <a:cubicBezTo>
                  <a:pt x="674" y="34"/>
                  <a:pt x="674" y="32"/>
                  <a:pt x="675" y="31"/>
                </a:cubicBezTo>
                <a:cubicBezTo>
                  <a:pt x="673" y="31"/>
                  <a:pt x="672" y="31"/>
                  <a:pt x="670" y="31"/>
                </a:cubicBezTo>
                <a:cubicBezTo>
                  <a:pt x="668" y="32"/>
                  <a:pt x="664" y="34"/>
                  <a:pt x="662" y="35"/>
                </a:cubicBezTo>
                <a:cubicBezTo>
                  <a:pt x="659" y="35"/>
                  <a:pt x="652" y="35"/>
                  <a:pt x="653" y="35"/>
                </a:cubicBezTo>
                <a:cubicBezTo>
                  <a:pt x="655" y="33"/>
                  <a:pt x="655" y="33"/>
                  <a:pt x="655" y="33"/>
                </a:cubicBezTo>
                <a:cubicBezTo>
                  <a:pt x="658" y="32"/>
                  <a:pt x="661" y="33"/>
                  <a:pt x="665" y="32"/>
                </a:cubicBezTo>
                <a:cubicBezTo>
                  <a:pt x="664" y="31"/>
                  <a:pt x="665" y="31"/>
                  <a:pt x="665" y="31"/>
                </a:cubicBezTo>
                <a:cubicBezTo>
                  <a:pt x="665" y="31"/>
                  <a:pt x="663" y="29"/>
                  <a:pt x="664" y="29"/>
                </a:cubicBezTo>
                <a:cubicBezTo>
                  <a:pt x="665" y="29"/>
                  <a:pt x="667" y="30"/>
                  <a:pt x="667" y="31"/>
                </a:cubicBezTo>
                <a:cubicBezTo>
                  <a:pt x="668" y="31"/>
                  <a:pt x="674" y="30"/>
                  <a:pt x="675" y="29"/>
                </a:cubicBezTo>
                <a:cubicBezTo>
                  <a:pt x="676" y="29"/>
                  <a:pt x="677" y="26"/>
                  <a:pt x="678" y="25"/>
                </a:cubicBezTo>
                <a:cubicBezTo>
                  <a:pt x="679" y="25"/>
                  <a:pt x="682" y="26"/>
                  <a:pt x="683" y="25"/>
                </a:cubicBezTo>
                <a:cubicBezTo>
                  <a:pt x="683" y="24"/>
                  <a:pt x="683" y="24"/>
                  <a:pt x="683" y="24"/>
                </a:cubicBezTo>
                <a:cubicBezTo>
                  <a:pt x="684" y="24"/>
                  <a:pt x="686" y="24"/>
                  <a:pt x="687" y="23"/>
                </a:cubicBezTo>
                <a:cubicBezTo>
                  <a:pt x="688" y="23"/>
                  <a:pt x="689" y="21"/>
                  <a:pt x="689" y="21"/>
                </a:cubicBezTo>
                <a:cubicBezTo>
                  <a:pt x="690" y="20"/>
                  <a:pt x="692" y="21"/>
                  <a:pt x="693" y="21"/>
                </a:cubicBezTo>
                <a:cubicBezTo>
                  <a:pt x="694" y="19"/>
                  <a:pt x="694" y="19"/>
                  <a:pt x="694" y="19"/>
                </a:cubicBezTo>
                <a:cubicBezTo>
                  <a:pt x="695" y="19"/>
                  <a:pt x="696" y="20"/>
                  <a:pt x="696" y="19"/>
                </a:cubicBezTo>
                <a:cubicBezTo>
                  <a:pt x="696" y="19"/>
                  <a:pt x="696" y="19"/>
                  <a:pt x="696" y="19"/>
                </a:cubicBezTo>
                <a:cubicBezTo>
                  <a:pt x="696" y="18"/>
                  <a:pt x="698" y="17"/>
                  <a:pt x="698" y="17"/>
                </a:cubicBezTo>
                <a:cubicBezTo>
                  <a:pt x="698" y="14"/>
                  <a:pt x="698" y="14"/>
                  <a:pt x="698" y="14"/>
                </a:cubicBezTo>
                <a:cubicBezTo>
                  <a:pt x="695" y="14"/>
                  <a:pt x="693" y="14"/>
                  <a:pt x="690" y="13"/>
                </a:cubicBezTo>
                <a:cubicBezTo>
                  <a:pt x="690" y="12"/>
                  <a:pt x="690" y="12"/>
                  <a:pt x="690" y="12"/>
                </a:cubicBezTo>
                <a:cubicBezTo>
                  <a:pt x="690" y="12"/>
                  <a:pt x="686" y="11"/>
                  <a:pt x="686" y="11"/>
                </a:cubicBezTo>
                <a:cubicBezTo>
                  <a:pt x="685" y="11"/>
                  <a:pt x="684" y="13"/>
                  <a:pt x="683" y="12"/>
                </a:cubicBezTo>
                <a:cubicBezTo>
                  <a:pt x="683" y="11"/>
                  <a:pt x="683" y="11"/>
                  <a:pt x="683" y="11"/>
                </a:cubicBezTo>
                <a:cubicBezTo>
                  <a:pt x="681" y="11"/>
                  <a:pt x="682" y="10"/>
                  <a:pt x="681" y="9"/>
                </a:cubicBezTo>
                <a:cubicBezTo>
                  <a:pt x="680" y="9"/>
                  <a:pt x="679" y="9"/>
                  <a:pt x="678" y="9"/>
                </a:cubicBezTo>
                <a:cubicBezTo>
                  <a:pt x="678" y="7"/>
                  <a:pt x="678" y="7"/>
                  <a:pt x="678" y="7"/>
                </a:cubicBezTo>
                <a:cubicBezTo>
                  <a:pt x="675" y="6"/>
                  <a:pt x="673" y="7"/>
                  <a:pt x="669" y="6"/>
                </a:cubicBezTo>
                <a:cubicBezTo>
                  <a:pt x="669" y="6"/>
                  <a:pt x="667" y="4"/>
                  <a:pt x="666" y="4"/>
                </a:cubicBezTo>
                <a:cubicBezTo>
                  <a:pt x="662" y="3"/>
                  <a:pt x="654" y="3"/>
                  <a:pt x="653" y="3"/>
                </a:cubicBezTo>
                <a:cubicBezTo>
                  <a:pt x="651" y="4"/>
                  <a:pt x="650" y="8"/>
                  <a:pt x="648" y="9"/>
                </a:cubicBezTo>
                <a:cubicBezTo>
                  <a:pt x="646" y="10"/>
                  <a:pt x="644" y="10"/>
                  <a:pt x="643" y="11"/>
                </a:cubicBezTo>
                <a:cubicBezTo>
                  <a:pt x="642" y="11"/>
                  <a:pt x="641" y="13"/>
                  <a:pt x="640" y="13"/>
                </a:cubicBezTo>
                <a:cubicBezTo>
                  <a:pt x="638" y="14"/>
                  <a:pt x="638" y="12"/>
                  <a:pt x="637" y="13"/>
                </a:cubicBezTo>
                <a:cubicBezTo>
                  <a:pt x="637" y="13"/>
                  <a:pt x="635" y="14"/>
                  <a:pt x="635" y="15"/>
                </a:cubicBezTo>
                <a:cubicBezTo>
                  <a:pt x="631" y="16"/>
                  <a:pt x="630" y="15"/>
                  <a:pt x="627" y="17"/>
                </a:cubicBezTo>
                <a:cubicBezTo>
                  <a:pt x="628" y="16"/>
                  <a:pt x="627" y="15"/>
                  <a:pt x="627" y="15"/>
                </a:cubicBezTo>
                <a:cubicBezTo>
                  <a:pt x="628" y="14"/>
                  <a:pt x="631" y="12"/>
                  <a:pt x="633" y="11"/>
                </a:cubicBezTo>
                <a:cubicBezTo>
                  <a:pt x="634" y="11"/>
                  <a:pt x="636" y="12"/>
                  <a:pt x="638" y="11"/>
                </a:cubicBezTo>
                <a:cubicBezTo>
                  <a:pt x="639" y="11"/>
                  <a:pt x="647" y="7"/>
                  <a:pt x="647" y="6"/>
                </a:cubicBezTo>
                <a:cubicBezTo>
                  <a:pt x="648" y="5"/>
                  <a:pt x="647" y="4"/>
                  <a:pt x="648" y="3"/>
                </a:cubicBezTo>
                <a:cubicBezTo>
                  <a:pt x="647" y="3"/>
                  <a:pt x="645" y="2"/>
                  <a:pt x="644" y="2"/>
                </a:cubicBezTo>
                <a:cubicBezTo>
                  <a:pt x="639" y="0"/>
                  <a:pt x="637" y="2"/>
                  <a:pt x="632" y="3"/>
                </a:cubicBezTo>
                <a:cubicBezTo>
                  <a:pt x="631" y="3"/>
                  <a:pt x="628" y="2"/>
                  <a:pt x="629" y="2"/>
                </a:cubicBezTo>
                <a:cubicBezTo>
                  <a:pt x="628" y="3"/>
                  <a:pt x="628" y="3"/>
                  <a:pt x="628" y="3"/>
                </a:cubicBezTo>
                <a:cubicBezTo>
                  <a:pt x="627" y="3"/>
                  <a:pt x="623" y="3"/>
                  <a:pt x="622" y="2"/>
                </a:cubicBezTo>
                <a:cubicBezTo>
                  <a:pt x="621" y="1"/>
                  <a:pt x="621" y="1"/>
                  <a:pt x="621" y="1"/>
                </a:cubicBezTo>
                <a:cubicBezTo>
                  <a:pt x="621" y="0"/>
                  <a:pt x="620" y="1"/>
                  <a:pt x="618" y="1"/>
                </a:cubicBezTo>
                <a:cubicBezTo>
                  <a:pt x="616" y="1"/>
                  <a:pt x="613" y="0"/>
                  <a:pt x="611" y="0"/>
                </a:cubicBezTo>
                <a:cubicBezTo>
                  <a:pt x="610" y="0"/>
                  <a:pt x="606" y="3"/>
                  <a:pt x="606" y="3"/>
                </a:cubicBezTo>
                <a:cubicBezTo>
                  <a:pt x="606" y="4"/>
                  <a:pt x="606" y="6"/>
                  <a:pt x="606" y="7"/>
                </a:cubicBezTo>
                <a:cubicBezTo>
                  <a:pt x="605" y="6"/>
                  <a:pt x="605" y="5"/>
                  <a:pt x="605" y="5"/>
                </a:cubicBezTo>
                <a:cubicBezTo>
                  <a:pt x="602" y="4"/>
                  <a:pt x="589" y="7"/>
                  <a:pt x="594" y="12"/>
                </a:cubicBezTo>
                <a:cubicBezTo>
                  <a:pt x="592" y="11"/>
                  <a:pt x="590" y="11"/>
                  <a:pt x="588" y="9"/>
                </a:cubicBezTo>
                <a:cubicBezTo>
                  <a:pt x="587" y="9"/>
                  <a:pt x="587" y="7"/>
                  <a:pt x="585" y="7"/>
                </a:cubicBezTo>
                <a:cubicBezTo>
                  <a:pt x="584" y="6"/>
                  <a:pt x="582" y="7"/>
                  <a:pt x="582" y="7"/>
                </a:cubicBezTo>
                <a:cubicBezTo>
                  <a:pt x="575" y="8"/>
                  <a:pt x="566" y="6"/>
                  <a:pt x="561" y="7"/>
                </a:cubicBezTo>
                <a:cubicBezTo>
                  <a:pt x="559" y="7"/>
                  <a:pt x="557" y="9"/>
                  <a:pt x="556" y="9"/>
                </a:cubicBezTo>
                <a:cubicBezTo>
                  <a:pt x="556" y="11"/>
                  <a:pt x="556" y="11"/>
                  <a:pt x="556" y="11"/>
                </a:cubicBezTo>
                <a:cubicBezTo>
                  <a:pt x="556" y="11"/>
                  <a:pt x="557" y="11"/>
                  <a:pt x="558" y="11"/>
                </a:cubicBezTo>
                <a:cubicBezTo>
                  <a:pt x="558" y="12"/>
                  <a:pt x="557" y="13"/>
                  <a:pt x="558" y="13"/>
                </a:cubicBezTo>
                <a:cubicBezTo>
                  <a:pt x="559" y="14"/>
                  <a:pt x="561" y="13"/>
                  <a:pt x="562" y="13"/>
                </a:cubicBezTo>
                <a:cubicBezTo>
                  <a:pt x="562" y="13"/>
                  <a:pt x="563" y="15"/>
                  <a:pt x="563" y="15"/>
                </a:cubicBezTo>
                <a:cubicBezTo>
                  <a:pt x="564" y="15"/>
                  <a:pt x="566" y="16"/>
                  <a:pt x="567" y="17"/>
                </a:cubicBezTo>
                <a:cubicBezTo>
                  <a:pt x="567" y="18"/>
                  <a:pt x="566" y="20"/>
                  <a:pt x="566" y="20"/>
                </a:cubicBezTo>
                <a:cubicBezTo>
                  <a:pt x="564" y="17"/>
                  <a:pt x="563" y="15"/>
                  <a:pt x="560" y="15"/>
                </a:cubicBezTo>
                <a:cubicBezTo>
                  <a:pt x="559" y="14"/>
                  <a:pt x="557" y="15"/>
                  <a:pt x="557" y="15"/>
                </a:cubicBezTo>
                <a:cubicBezTo>
                  <a:pt x="556" y="14"/>
                  <a:pt x="555" y="12"/>
                  <a:pt x="554" y="11"/>
                </a:cubicBezTo>
                <a:cubicBezTo>
                  <a:pt x="554" y="12"/>
                  <a:pt x="553" y="11"/>
                  <a:pt x="552" y="11"/>
                </a:cubicBezTo>
                <a:cubicBezTo>
                  <a:pt x="552" y="11"/>
                  <a:pt x="551" y="13"/>
                  <a:pt x="551" y="13"/>
                </a:cubicBezTo>
                <a:cubicBezTo>
                  <a:pt x="549" y="14"/>
                  <a:pt x="547" y="13"/>
                  <a:pt x="545" y="13"/>
                </a:cubicBezTo>
                <a:cubicBezTo>
                  <a:pt x="544" y="12"/>
                  <a:pt x="544" y="11"/>
                  <a:pt x="543" y="11"/>
                </a:cubicBezTo>
                <a:cubicBezTo>
                  <a:pt x="543" y="11"/>
                  <a:pt x="543" y="13"/>
                  <a:pt x="543" y="13"/>
                </a:cubicBezTo>
                <a:cubicBezTo>
                  <a:pt x="543" y="14"/>
                  <a:pt x="540" y="17"/>
                  <a:pt x="539" y="17"/>
                </a:cubicBezTo>
                <a:cubicBezTo>
                  <a:pt x="538" y="17"/>
                  <a:pt x="537" y="18"/>
                  <a:pt x="536" y="17"/>
                </a:cubicBezTo>
                <a:cubicBezTo>
                  <a:pt x="535" y="17"/>
                  <a:pt x="535" y="15"/>
                  <a:pt x="535" y="15"/>
                </a:cubicBezTo>
                <a:cubicBezTo>
                  <a:pt x="534" y="15"/>
                  <a:pt x="533" y="15"/>
                  <a:pt x="532" y="15"/>
                </a:cubicBezTo>
                <a:cubicBezTo>
                  <a:pt x="532" y="15"/>
                  <a:pt x="531" y="16"/>
                  <a:pt x="531" y="17"/>
                </a:cubicBezTo>
                <a:cubicBezTo>
                  <a:pt x="532" y="18"/>
                  <a:pt x="533" y="19"/>
                  <a:pt x="533" y="19"/>
                </a:cubicBezTo>
                <a:cubicBezTo>
                  <a:pt x="534" y="20"/>
                  <a:pt x="535" y="19"/>
                  <a:pt x="536" y="19"/>
                </a:cubicBezTo>
                <a:cubicBezTo>
                  <a:pt x="536" y="21"/>
                  <a:pt x="536" y="21"/>
                  <a:pt x="536" y="21"/>
                </a:cubicBezTo>
                <a:cubicBezTo>
                  <a:pt x="532" y="19"/>
                  <a:pt x="529" y="17"/>
                  <a:pt x="526" y="17"/>
                </a:cubicBezTo>
                <a:cubicBezTo>
                  <a:pt x="526" y="16"/>
                  <a:pt x="524" y="17"/>
                  <a:pt x="524" y="17"/>
                </a:cubicBezTo>
                <a:cubicBezTo>
                  <a:pt x="523" y="16"/>
                  <a:pt x="522" y="14"/>
                  <a:pt x="521" y="14"/>
                </a:cubicBezTo>
                <a:cubicBezTo>
                  <a:pt x="520" y="14"/>
                  <a:pt x="518" y="14"/>
                  <a:pt x="517" y="14"/>
                </a:cubicBezTo>
                <a:cubicBezTo>
                  <a:pt x="517" y="16"/>
                  <a:pt x="517" y="21"/>
                  <a:pt x="518" y="23"/>
                </a:cubicBezTo>
                <a:cubicBezTo>
                  <a:pt x="519" y="24"/>
                  <a:pt x="521" y="24"/>
                  <a:pt x="521" y="25"/>
                </a:cubicBezTo>
                <a:cubicBezTo>
                  <a:pt x="521" y="25"/>
                  <a:pt x="521" y="26"/>
                  <a:pt x="521" y="27"/>
                </a:cubicBezTo>
                <a:cubicBezTo>
                  <a:pt x="520" y="26"/>
                  <a:pt x="519" y="24"/>
                  <a:pt x="518" y="23"/>
                </a:cubicBezTo>
                <a:cubicBezTo>
                  <a:pt x="517" y="23"/>
                  <a:pt x="517" y="22"/>
                  <a:pt x="516" y="22"/>
                </a:cubicBezTo>
                <a:cubicBezTo>
                  <a:pt x="516" y="23"/>
                  <a:pt x="515" y="21"/>
                  <a:pt x="514" y="21"/>
                </a:cubicBezTo>
                <a:cubicBezTo>
                  <a:pt x="514" y="22"/>
                  <a:pt x="515" y="25"/>
                  <a:pt x="514" y="25"/>
                </a:cubicBezTo>
                <a:cubicBezTo>
                  <a:pt x="513" y="25"/>
                  <a:pt x="513" y="25"/>
                  <a:pt x="513" y="25"/>
                </a:cubicBezTo>
                <a:cubicBezTo>
                  <a:pt x="510" y="21"/>
                  <a:pt x="510" y="19"/>
                  <a:pt x="504" y="18"/>
                </a:cubicBezTo>
                <a:cubicBezTo>
                  <a:pt x="503" y="17"/>
                  <a:pt x="503" y="17"/>
                  <a:pt x="503" y="17"/>
                </a:cubicBezTo>
                <a:cubicBezTo>
                  <a:pt x="500" y="16"/>
                  <a:pt x="498" y="17"/>
                  <a:pt x="495" y="16"/>
                </a:cubicBezTo>
                <a:cubicBezTo>
                  <a:pt x="491" y="15"/>
                  <a:pt x="491" y="15"/>
                  <a:pt x="491" y="15"/>
                </a:cubicBezTo>
                <a:cubicBezTo>
                  <a:pt x="491" y="14"/>
                  <a:pt x="490" y="13"/>
                  <a:pt x="490" y="13"/>
                </a:cubicBezTo>
                <a:cubicBezTo>
                  <a:pt x="490" y="12"/>
                  <a:pt x="490" y="12"/>
                  <a:pt x="490" y="12"/>
                </a:cubicBezTo>
                <a:cubicBezTo>
                  <a:pt x="488" y="11"/>
                  <a:pt x="484" y="12"/>
                  <a:pt x="482" y="12"/>
                </a:cubicBezTo>
                <a:cubicBezTo>
                  <a:pt x="483" y="13"/>
                  <a:pt x="482" y="13"/>
                  <a:pt x="482" y="14"/>
                </a:cubicBezTo>
                <a:cubicBezTo>
                  <a:pt x="482" y="14"/>
                  <a:pt x="485" y="18"/>
                  <a:pt x="486" y="19"/>
                </a:cubicBezTo>
                <a:cubicBezTo>
                  <a:pt x="480" y="17"/>
                  <a:pt x="476" y="19"/>
                  <a:pt x="470" y="18"/>
                </a:cubicBezTo>
                <a:cubicBezTo>
                  <a:pt x="471" y="20"/>
                  <a:pt x="471" y="21"/>
                  <a:pt x="472" y="23"/>
                </a:cubicBezTo>
                <a:cubicBezTo>
                  <a:pt x="474" y="23"/>
                  <a:pt x="474" y="22"/>
                  <a:pt x="476" y="23"/>
                </a:cubicBezTo>
                <a:cubicBezTo>
                  <a:pt x="477" y="23"/>
                  <a:pt x="478" y="25"/>
                  <a:pt x="478" y="25"/>
                </a:cubicBezTo>
                <a:cubicBezTo>
                  <a:pt x="481" y="25"/>
                  <a:pt x="482" y="23"/>
                  <a:pt x="484" y="23"/>
                </a:cubicBezTo>
                <a:cubicBezTo>
                  <a:pt x="485" y="23"/>
                  <a:pt x="487" y="24"/>
                  <a:pt x="489" y="24"/>
                </a:cubicBezTo>
                <a:cubicBezTo>
                  <a:pt x="490" y="24"/>
                  <a:pt x="491" y="22"/>
                  <a:pt x="493" y="23"/>
                </a:cubicBezTo>
                <a:cubicBezTo>
                  <a:pt x="493" y="23"/>
                  <a:pt x="494" y="24"/>
                  <a:pt x="494" y="24"/>
                </a:cubicBezTo>
                <a:cubicBezTo>
                  <a:pt x="494" y="25"/>
                  <a:pt x="494" y="25"/>
                  <a:pt x="494" y="25"/>
                </a:cubicBezTo>
                <a:cubicBezTo>
                  <a:pt x="494" y="26"/>
                  <a:pt x="492" y="25"/>
                  <a:pt x="492" y="25"/>
                </a:cubicBezTo>
                <a:cubicBezTo>
                  <a:pt x="492" y="25"/>
                  <a:pt x="492" y="31"/>
                  <a:pt x="492" y="31"/>
                </a:cubicBezTo>
                <a:cubicBezTo>
                  <a:pt x="491" y="31"/>
                  <a:pt x="491" y="31"/>
                  <a:pt x="490" y="31"/>
                </a:cubicBezTo>
                <a:cubicBezTo>
                  <a:pt x="490" y="29"/>
                  <a:pt x="490" y="28"/>
                  <a:pt x="489" y="26"/>
                </a:cubicBezTo>
                <a:cubicBezTo>
                  <a:pt x="487" y="26"/>
                  <a:pt x="486" y="26"/>
                  <a:pt x="484" y="27"/>
                </a:cubicBezTo>
                <a:cubicBezTo>
                  <a:pt x="483" y="29"/>
                  <a:pt x="483" y="29"/>
                  <a:pt x="483" y="29"/>
                </a:cubicBezTo>
                <a:cubicBezTo>
                  <a:pt x="483" y="29"/>
                  <a:pt x="476" y="26"/>
                  <a:pt x="474" y="25"/>
                </a:cubicBezTo>
                <a:cubicBezTo>
                  <a:pt x="475" y="25"/>
                  <a:pt x="473" y="27"/>
                  <a:pt x="473" y="27"/>
                </a:cubicBezTo>
                <a:cubicBezTo>
                  <a:pt x="474" y="27"/>
                  <a:pt x="475" y="30"/>
                  <a:pt x="474" y="30"/>
                </a:cubicBezTo>
                <a:close/>
                <a:moveTo>
                  <a:pt x="101" y="453"/>
                </a:moveTo>
                <a:cubicBezTo>
                  <a:pt x="102" y="453"/>
                  <a:pt x="102" y="453"/>
                  <a:pt x="102" y="453"/>
                </a:cubicBezTo>
                <a:cubicBezTo>
                  <a:pt x="102" y="452"/>
                  <a:pt x="102" y="452"/>
                  <a:pt x="102" y="452"/>
                </a:cubicBezTo>
                <a:cubicBezTo>
                  <a:pt x="102" y="452"/>
                  <a:pt x="103" y="453"/>
                  <a:pt x="104" y="453"/>
                </a:cubicBezTo>
                <a:cubicBezTo>
                  <a:pt x="103" y="453"/>
                  <a:pt x="104" y="455"/>
                  <a:pt x="104" y="455"/>
                </a:cubicBezTo>
                <a:cubicBezTo>
                  <a:pt x="103" y="456"/>
                  <a:pt x="102" y="455"/>
                  <a:pt x="102" y="455"/>
                </a:cubicBezTo>
                <a:cubicBezTo>
                  <a:pt x="100" y="456"/>
                  <a:pt x="97" y="462"/>
                  <a:pt x="96" y="464"/>
                </a:cubicBezTo>
                <a:cubicBezTo>
                  <a:pt x="97" y="465"/>
                  <a:pt x="99" y="465"/>
                  <a:pt x="100" y="466"/>
                </a:cubicBezTo>
                <a:cubicBezTo>
                  <a:pt x="100" y="467"/>
                  <a:pt x="99" y="467"/>
                  <a:pt x="99" y="467"/>
                </a:cubicBezTo>
                <a:cubicBezTo>
                  <a:pt x="99" y="467"/>
                  <a:pt x="99" y="469"/>
                  <a:pt x="99" y="469"/>
                </a:cubicBezTo>
                <a:cubicBezTo>
                  <a:pt x="99" y="469"/>
                  <a:pt x="101" y="470"/>
                  <a:pt x="101" y="470"/>
                </a:cubicBezTo>
                <a:cubicBezTo>
                  <a:pt x="101" y="471"/>
                  <a:pt x="101" y="471"/>
                  <a:pt x="101" y="471"/>
                </a:cubicBezTo>
                <a:cubicBezTo>
                  <a:pt x="98" y="470"/>
                  <a:pt x="100" y="476"/>
                  <a:pt x="101" y="477"/>
                </a:cubicBezTo>
                <a:cubicBezTo>
                  <a:pt x="104" y="480"/>
                  <a:pt x="104" y="480"/>
                  <a:pt x="104" y="480"/>
                </a:cubicBezTo>
                <a:cubicBezTo>
                  <a:pt x="104" y="479"/>
                  <a:pt x="106" y="480"/>
                  <a:pt x="106" y="479"/>
                </a:cubicBezTo>
                <a:cubicBezTo>
                  <a:pt x="107" y="479"/>
                  <a:pt x="106" y="478"/>
                  <a:pt x="106" y="478"/>
                </a:cubicBezTo>
                <a:cubicBezTo>
                  <a:pt x="108" y="475"/>
                  <a:pt x="108" y="475"/>
                  <a:pt x="108" y="475"/>
                </a:cubicBezTo>
                <a:cubicBezTo>
                  <a:pt x="109" y="474"/>
                  <a:pt x="110" y="476"/>
                  <a:pt x="111" y="475"/>
                </a:cubicBezTo>
                <a:cubicBezTo>
                  <a:pt x="110" y="477"/>
                  <a:pt x="110" y="476"/>
                  <a:pt x="109" y="477"/>
                </a:cubicBezTo>
                <a:cubicBezTo>
                  <a:pt x="109" y="478"/>
                  <a:pt x="110" y="481"/>
                  <a:pt x="110" y="481"/>
                </a:cubicBezTo>
                <a:cubicBezTo>
                  <a:pt x="110" y="481"/>
                  <a:pt x="108" y="481"/>
                  <a:pt x="108" y="481"/>
                </a:cubicBezTo>
                <a:cubicBezTo>
                  <a:pt x="108" y="481"/>
                  <a:pt x="107" y="483"/>
                  <a:pt x="107" y="484"/>
                </a:cubicBezTo>
                <a:cubicBezTo>
                  <a:pt x="108" y="484"/>
                  <a:pt x="109" y="485"/>
                  <a:pt x="110" y="486"/>
                </a:cubicBezTo>
                <a:cubicBezTo>
                  <a:pt x="110" y="489"/>
                  <a:pt x="110" y="489"/>
                  <a:pt x="110" y="489"/>
                </a:cubicBezTo>
                <a:cubicBezTo>
                  <a:pt x="110" y="489"/>
                  <a:pt x="112" y="487"/>
                  <a:pt x="110" y="487"/>
                </a:cubicBezTo>
                <a:cubicBezTo>
                  <a:pt x="111" y="487"/>
                  <a:pt x="112" y="487"/>
                  <a:pt x="113" y="487"/>
                </a:cubicBezTo>
                <a:cubicBezTo>
                  <a:pt x="114" y="487"/>
                  <a:pt x="112" y="486"/>
                  <a:pt x="114" y="485"/>
                </a:cubicBezTo>
                <a:cubicBezTo>
                  <a:pt x="114" y="487"/>
                  <a:pt x="114" y="490"/>
                  <a:pt x="116" y="491"/>
                </a:cubicBezTo>
                <a:cubicBezTo>
                  <a:pt x="116" y="492"/>
                  <a:pt x="118" y="491"/>
                  <a:pt x="120" y="493"/>
                </a:cubicBezTo>
                <a:cubicBezTo>
                  <a:pt x="119" y="495"/>
                  <a:pt x="119" y="495"/>
                  <a:pt x="119" y="495"/>
                </a:cubicBezTo>
                <a:cubicBezTo>
                  <a:pt x="118" y="494"/>
                  <a:pt x="119" y="495"/>
                  <a:pt x="121" y="495"/>
                </a:cubicBezTo>
                <a:cubicBezTo>
                  <a:pt x="120" y="497"/>
                  <a:pt x="121" y="496"/>
                  <a:pt x="120" y="497"/>
                </a:cubicBezTo>
                <a:cubicBezTo>
                  <a:pt x="120" y="498"/>
                  <a:pt x="120" y="499"/>
                  <a:pt x="120" y="500"/>
                </a:cubicBezTo>
                <a:cubicBezTo>
                  <a:pt x="120" y="500"/>
                  <a:pt x="122" y="501"/>
                  <a:pt x="122" y="501"/>
                </a:cubicBezTo>
                <a:cubicBezTo>
                  <a:pt x="122" y="501"/>
                  <a:pt x="121" y="502"/>
                  <a:pt x="120" y="502"/>
                </a:cubicBezTo>
                <a:cubicBezTo>
                  <a:pt x="118" y="502"/>
                  <a:pt x="122" y="502"/>
                  <a:pt x="121" y="503"/>
                </a:cubicBezTo>
                <a:cubicBezTo>
                  <a:pt x="120" y="504"/>
                  <a:pt x="119" y="503"/>
                  <a:pt x="118" y="504"/>
                </a:cubicBezTo>
                <a:cubicBezTo>
                  <a:pt x="117" y="505"/>
                  <a:pt x="119" y="509"/>
                  <a:pt x="119" y="510"/>
                </a:cubicBezTo>
                <a:cubicBezTo>
                  <a:pt x="117" y="510"/>
                  <a:pt x="116" y="510"/>
                  <a:pt x="114" y="509"/>
                </a:cubicBezTo>
                <a:cubicBezTo>
                  <a:pt x="114" y="509"/>
                  <a:pt x="114" y="512"/>
                  <a:pt x="114" y="513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6" y="515"/>
                  <a:pt x="116" y="517"/>
                  <a:pt x="116" y="520"/>
                </a:cubicBezTo>
                <a:cubicBezTo>
                  <a:pt x="117" y="520"/>
                  <a:pt x="117" y="521"/>
                  <a:pt x="118" y="520"/>
                </a:cubicBezTo>
                <a:cubicBezTo>
                  <a:pt x="119" y="520"/>
                  <a:pt x="120" y="518"/>
                  <a:pt x="121" y="518"/>
                </a:cubicBezTo>
                <a:cubicBezTo>
                  <a:pt x="122" y="520"/>
                  <a:pt x="122" y="520"/>
                  <a:pt x="122" y="520"/>
                </a:cubicBezTo>
                <a:cubicBezTo>
                  <a:pt x="124" y="520"/>
                  <a:pt x="127" y="520"/>
                  <a:pt x="130" y="520"/>
                </a:cubicBezTo>
                <a:cubicBezTo>
                  <a:pt x="129" y="523"/>
                  <a:pt x="129" y="525"/>
                  <a:pt x="129" y="526"/>
                </a:cubicBezTo>
                <a:cubicBezTo>
                  <a:pt x="131" y="525"/>
                  <a:pt x="132" y="525"/>
                  <a:pt x="135" y="525"/>
                </a:cubicBezTo>
                <a:cubicBezTo>
                  <a:pt x="135" y="525"/>
                  <a:pt x="135" y="526"/>
                  <a:pt x="135" y="526"/>
                </a:cubicBezTo>
                <a:cubicBezTo>
                  <a:pt x="136" y="527"/>
                  <a:pt x="137" y="526"/>
                  <a:pt x="137" y="526"/>
                </a:cubicBezTo>
                <a:cubicBezTo>
                  <a:pt x="137" y="526"/>
                  <a:pt x="137" y="529"/>
                  <a:pt x="137" y="529"/>
                </a:cubicBezTo>
                <a:cubicBezTo>
                  <a:pt x="139" y="530"/>
                  <a:pt x="141" y="530"/>
                  <a:pt x="143" y="530"/>
                </a:cubicBezTo>
                <a:cubicBezTo>
                  <a:pt x="143" y="534"/>
                  <a:pt x="142" y="535"/>
                  <a:pt x="146" y="537"/>
                </a:cubicBezTo>
                <a:cubicBezTo>
                  <a:pt x="147" y="537"/>
                  <a:pt x="148" y="537"/>
                  <a:pt x="149" y="537"/>
                </a:cubicBezTo>
                <a:cubicBezTo>
                  <a:pt x="149" y="537"/>
                  <a:pt x="149" y="538"/>
                  <a:pt x="149" y="538"/>
                </a:cubicBezTo>
                <a:cubicBezTo>
                  <a:pt x="156" y="538"/>
                  <a:pt x="158" y="539"/>
                  <a:pt x="162" y="540"/>
                </a:cubicBezTo>
                <a:cubicBezTo>
                  <a:pt x="162" y="539"/>
                  <a:pt x="162" y="537"/>
                  <a:pt x="162" y="536"/>
                </a:cubicBezTo>
                <a:cubicBezTo>
                  <a:pt x="162" y="536"/>
                  <a:pt x="160" y="536"/>
                  <a:pt x="159" y="535"/>
                </a:cubicBezTo>
                <a:cubicBezTo>
                  <a:pt x="159" y="535"/>
                  <a:pt x="157" y="532"/>
                  <a:pt x="157" y="532"/>
                </a:cubicBezTo>
                <a:cubicBezTo>
                  <a:pt x="157" y="531"/>
                  <a:pt x="158" y="531"/>
                  <a:pt x="157" y="530"/>
                </a:cubicBezTo>
                <a:cubicBezTo>
                  <a:pt x="156" y="529"/>
                  <a:pt x="151" y="526"/>
                  <a:pt x="149" y="525"/>
                </a:cubicBezTo>
                <a:cubicBezTo>
                  <a:pt x="147" y="524"/>
                  <a:pt x="144" y="525"/>
                  <a:pt x="143" y="523"/>
                </a:cubicBezTo>
                <a:cubicBezTo>
                  <a:pt x="142" y="523"/>
                  <a:pt x="143" y="520"/>
                  <a:pt x="143" y="520"/>
                </a:cubicBezTo>
                <a:cubicBezTo>
                  <a:pt x="143" y="519"/>
                  <a:pt x="141" y="519"/>
                  <a:pt x="140" y="519"/>
                </a:cubicBezTo>
                <a:cubicBezTo>
                  <a:pt x="139" y="519"/>
                  <a:pt x="139" y="515"/>
                  <a:pt x="139" y="517"/>
                </a:cubicBezTo>
                <a:cubicBezTo>
                  <a:pt x="140" y="515"/>
                  <a:pt x="140" y="515"/>
                  <a:pt x="140" y="515"/>
                </a:cubicBezTo>
                <a:cubicBezTo>
                  <a:pt x="139" y="515"/>
                  <a:pt x="139" y="516"/>
                  <a:pt x="138" y="516"/>
                </a:cubicBezTo>
                <a:cubicBezTo>
                  <a:pt x="138" y="516"/>
                  <a:pt x="136" y="514"/>
                  <a:pt x="135" y="514"/>
                </a:cubicBezTo>
                <a:cubicBezTo>
                  <a:pt x="133" y="513"/>
                  <a:pt x="130" y="514"/>
                  <a:pt x="128" y="514"/>
                </a:cubicBezTo>
                <a:cubicBezTo>
                  <a:pt x="125" y="513"/>
                  <a:pt x="121" y="511"/>
                  <a:pt x="119" y="511"/>
                </a:cubicBezTo>
                <a:cubicBezTo>
                  <a:pt x="121" y="510"/>
                  <a:pt x="123" y="508"/>
                  <a:pt x="127" y="508"/>
                </a:cubicBezTo>
                <a:cubicBezTo>
                  <a:pt x="131" y="508"/>
                  <a:pt x="130" y="510"/>
                  <a:pt x="128" y="512"/>
                </a:cubicBezTo>
                <a:cubicBezTo>
                  <a:pt x="129" y="512"/>
                  <a:pt x="129" y="513"/>
                  <a:pt x="130" y="513"/>
                </a:cubicBezTo>
                <a:cubicBezTo>
                  <a:pt x="132" y="514"/>
                  <a:pt x="137" y="512"/>
                  <a:pt x="139" y="511"/>
                </a:cubicBezTo>
                <a:cubicBezTo>
                  <a:pt x="140" y="511"/>
                  <a:pt x="141" y="510"/>
                  <a:pt x="142" y="510"/>
                </a:cubicBezTo>
                <a:cubicBezTo>
                  <a:pt x="143" y="510"/>
                  <a:pt x="142" y="512"/>
                  <a:pt x="142" y="513"/>
                </a:cubicBezTo>
                <a:cubicBezTo>
                  <a:pt x="142" y="513"/>
                  <a:pt x="144" y="513"/>
                  <a:pt x="145" y="514"/>
                </a:cubicBezTo>
                <a:cubicBezTo>
                  <a:pt x="145" y="515"/>
                  <a:pt x="144" y="515"/>
                  <a:pt x="144" y="516"/>
                </a:cubicBezTo>
                <a:cubicBezTo>
                  <a:pt x="147" y="517"/>
                  <a:pt x="148" y="517"/>
                  <a:pt x="151" y="517"/>
                </a:cubicBezTo>
                <a:cubicBezTo>
                  <a:pt x="151" y="518"/>
                  <a:pt x="151" y="518"/>
                  <a:pt x="151" y="518"/>
                </a:cubicBezTo>
                <a:cubicBezTo>
                  <a:pt x="155" y="520"/>
                  <a:pt x="149" y="524"/>
                  <a:pt x="153" y="523"/>
                </a:cubicBezTo>
                <a:cubicBezTo>
                  <a:pt x="154" y="523"/>
                  <a:pt x="155" y="521"/>
                  <a:pt x="155" y="520"/>
                </a:cubicBezTo>
                <a:cubicBezTo>
                  <a:pt x="156" y="520"/>
                  <a:pt x="157" y="521"/>
                  <a:pt x="157" y="520"/>
                </a:cubicBezTo>
                <a:cubicBezTo>
                  <a:pt x="157" y="521"/>
                  <a:pt x="158" y="522"/>
                  <a:pt x="158" y="522"/>
                </a:cubicBezTo>
                <a:cubicBezTo>
                  <a:pt x="157" y="522"/>
                  <a:pt x="157" y="524"/>
                  <a:pt x="157" y="524"/>
                </a:cubicBezTo>
                <a:cubicBezTo>
                  <a:pt x="158" y="525"/>
                  <a:pt x="159" y="525"/>
                  <a:pt x="160" y="526"/>
                </a:cubicBezTo>
                <a:cubicBezTo>
                  <a:pt x="160" y="527"/>
                  <a:pt x="160" y="527"/>
                  <a:pt x="160" y="527"/>
                </a:cubicBezTo>
                <a:cubicBezTo>
                  <a:pt x="161" y="527"/>
                  <a:pt x="161" y="527"/>
                  <a:pt x="162" y="527"/>
                </a:cubicBezTo>
                <a:cubicBezTo>
                  <a:pt x="162" y="528"/>
                  <a:pt x="162" y="529"/>
                  <a:pt x="162" y="530"/>
                </a:cubicBezTo>
                <a:cubicBezTo>
                  <a:pt x="163" y="531"/>
                  <a:pt x="165" y="531"/>
                  <a:pt x="165" y="532"/>
                </a:cubicBezTo>
                <a:cubicBezTo>
                  <a:pt x="403" y="536"/>
                  <a:pt x="403" y="536"/>
                  <a:pt x="403" y="536"/>
                </a:cubicBezTo>
                <a:cubicBezTo>
                  <a:pt x="403" y="536"/>
                  <a:pt x="403" y="531"/>
                  <a:pt x="405" y="531"/>
                </a:cubicBezTo>
                <a:cubicBezTo>
                  <a:pt x="407" y="531"/>
                  <a:pt x="409" y="539"/>
                  <a:pt x="409" y="539"/>
                </a:cubicBezTo>
                <a:cubicBezTo>
                  <a:pt x="409" y="539"/>
                  <a:pt x="410" y="540"/>
                  <a:pt x="413" y="540"/>
                </a:cubicBezTo>
                <a:cubicBezTo>
                  <a:pt x="416" y="540"/>
                  <a:pt x="418" y="544"/>
                  <a:pt x="419" y="542"/>
                </a:cubicBezTo>
                <a:cubicBezTo>
                  <a:pt x="419" y="540"/>
                  <a:pt x="422" y="539"/>
                  <a:pt x="423" y="540"/>
                </a:cubicBezTo>
                <a:cubicBezTo>
                  <a:pt x="425" y="541"/>
                  <a:pt x="427" y="543"/>
                  <a:pt x="430" y="543"/>
                </a:cubicBezTo>
                <a:cubicBezTo>
                  <a:pt x="432" y="543"/>
                  <a:pt x="433" y="544"/>
                  <a:pt x="435" y="544"/>
                </a:cubicBezTo>
                <a:cubicBezTo>
                  <a:pt x="437" y="543"/>
                  <a:pt x="438" y="544"/>
                  <a:pt x="440" y="544"/>
                </a:cubicBezTo>
                <a:cubicBezTo>
                  <a:pt x="442" y="545"/>
                  <a:pt x="443" y="543"/>
                  <a:pt x="445" y="545"/>
                </a:cubicBezTo>
                <a:cubicBezTo>
                  <a:pt x="446" y="546"/>
                  <a:pt x="448" y="546"/>
                  <a:pt x="449" y="547"/>
                </a:cubicBezTo>
                <a:cubicBezTo>
                  <a:pt x="451" y="546"/>
                  <a:pt x="451" y="545"/>
                  <a:pt x="453" y="540"/>
                </a:cubicBezTo>
                <a:cubicBezTo>
                  <a:pt x="454" y="540"/>
                  <a:pt x="454" y="541"/>
                  <a:pt x="456" y="541"/>
                </a:cubicBezTo>
                <a:cubicBezTo>
                  <a:pt x="456" y="541"/>
                  <a:pt x="457" y="539"/>
                  <a:pt x="457" y="539"/>
                </a:cubicBezTo>
                <a:cubicBezTo>
                  <a:pt x="459" y="539"/>
                  <a:pt x="459" y="539"/>
                  <a:pt x="459" y="539"/>
                </a:cubicBezTo>
                <a:cubicBezTo>
                  <a:pt x="459" y="538"/>
                  <a:pt x="458" y="537"/>
                  <a:pt x="459" y="536"/>
                </a:cubicBezTo>
                <a:cubicBezTo>
                  <a:pt x="461" y="536"/>
                  <a:pt x="461" y="536"/>
                  <a:pt x="461" y="536"/>
                </a:cubicBezTo>
                <a:cubicBezTo>
                  <a:pt x="459" y="537"/>
                  <a:pt x="460" y="539"/>
                  <a:pt x="461" y="539"/>
                </a:cubicBezTo>
                <a:cubicBezTo>
                  <a:pt x="461" y="539"/>
                  <a:pt x="462" y="539"/>
                  <a:pt x="462" y="538"/>
                </a:cubicBezTo>
                <a:cubicBezTo>
                  <a:pt x="462" y="537"/>
                  <a:pt x="462" y="537"/>
                  <a:pt x="462" y="537"/>
                </a:cubicBezTo>
                <a:cubicBezTo>
                  <a:pt x="462" y="538"/>
                  <a:pt x="461" y="536"/>
                  <a:pt x="461" y="535"/>
                </a:cubicBezTo>
                <a:cubicBezTo>
                  <a:pt x="463" y="534"/>
                  <a:pt x="463" y="534"/>
                  <a:pt x="463" y="534"/>
                </a:cubicBezTo>
                <a:cubicBezTo>
                  <a:pt x="464" y="534"/>
                  <a:pt x="465" y="535"/>
                  <a:pt x="466" y="535"/>
                </a:cubicBezTo>
                <a:cubicBezTo>
                  <a:pt x="467" y="535"/>
                  <a:pt x="469" y="534"/>
                  <a:pt x="470" y="534"/>
                </a:cubicBezTo>
                <a:cubicBezTo>
                  <a:pt x="471" y="534"/>
                  <a:pt x="470" y="536"/>
                  <a:pt x="472" y="536"/>
                </a:cubicBezTo>
                <a:cubicBezTo>
                  <a:pt x="473" y="536"/>
                  <a:pt x="473" y="535"/>
                  <a:pt x="474" y="534"/>
                </a:cubicBezTo>
                <a:cubicBezTo>
                  <a:pt x="476" y="538"/>
                  <a:pt x="479" y="547"/>
                  <a:pt x="483" y="548"/>
                </a:cubicBezTo>
                <a:cubicBezTo>
                  <a:pt x="485" y="548"/>
                  <a:pt x="486" y="546"/>
                  <a:pt x="488" y="547"/>
                </a:cubicBezTo>
                <a:cubicBezTo>
                  <a:pt x="488" y="547"/>
                  <a:pt x="488" y="548"/>
                  <a:pt x="489" y="548"/>
                </a:cubicBezTo>
                <a:cubicBezTo>
                  <a:pt x="490" y="554"/>
                  <a:pt x="488" y="552"/>
                  <a:pt x="492" y="555"/>
                </a:cubicBezTo>
                <a:cubicBezTo>
                  <a:pt x="492" y="556"/>
                  <a:pt x="492" y="556"/>
                  <a:pt x="491" y="556"/>
                </a:cubicBezTo>
                <a:cubicBezTo>
                  <a:pt x="492" y="560"/>
                  <a:pt x="492" y="562"/>
                  <a:pt x="493" y="566"/>
                </a:cubicBezTo>
                <a:cubicBezTo>
                  <a:pt x="494" y="566"/>
                  <a:pt x="496" y="566"/>
                  <a:pt x="497" y="566"/>
                </a:cubicBezTo>
                <a:cubicBezTo>
                  <a:pt x="498" y="567"/>
                  <a:pt x="500" y="570"/>
                  <a:pt x="502" y="570"/>
                </a:cubicBezTo>
                <a:cubicBezTo>
                  <a:pt x="503" y="571"/>
                  <a:pt x="502" y="570"/>
                  <a:pt x="503" y="570"/>
                </a:cubicBezTo>
                <a:cubicBezTo>
                  <a:pt x="503" y="570"/>
                  <a:pt x="508" y="570"/>
                  <a:pt x="509" y="570"/>
                </a:cubicBezTo>
                <a:cubicBezTo>
                  <a:pt x="510" y="572"/>
                  <a:pt x="510" y="572"/>
                  <a:pt x="510" y="572"/>
                </a:cubicBezTo>
                <a:cubicBezTo>
                  <a:pt x="512" y="572"/>
                  <a:pt x="514" y="571"/>
                  <a:pt x="516" y="572"/>
                </a:cubicBezTo>
                <a:cubicBezTo>
                  <a:pt x="516" y="572"/>
                  <a:pt x="517" y="574"/>
                  <a:pt x="517" y="574"/>
                </a:cubicBezTo>
                <a:cubicBezTo>
                  <a:pt x="521" y="574"/>
                  <a:pt x="522" y="572"/>
                  <a:pt x="525" y="572"/>
                </a:cubicBezTo>
                <a:cubicBezTo>
                  <a:pt x="525" y="574"/>
                  <a:pt x="525" y="574"/>
                  <a:pt x="525" y="574"/>
                </a:cubicBezTo>
                <a:cubicBezTo>
                  <a:pt x="525" y="575"/>
                  <a:pt x="529" y="575"/>
                  <a:pt x="529" y="576"/>
                </a:cubicBezTo>
                <a:cubicBezTo>
                  <a:pt x="529" y="578"/>
                  <a:pt x="529" y="578"/>
                  <a:pt x="529" y="578"/>
                </a:cubicBezTo>
                <a:cubicBezTo>
                  <a:pt x="530" y="578"/>
                  <a:pt x="531" y="577"/>
                  <a:pt x="532" y="578"/>
                </a:cubicBezTo>
                <a:cubicBezTo>
                  <a:pt x="532" y="584"/>
                  <a:pt x="532" y="583"/>
                  <a:pt x="536" y="586"/>
                </a:cubicBezTo>
                <a:cubicBezTo>
                  <a:pt x="536" y="587"/>
                  <a:pt x="536" y="588"/>
                  <a:pt x="536" y="588"/>
                </a:cubicBezTo>
                <a:cubicBezTo>
                  <a:pt x="536" y="588"/>
                  <a:pt x="535" y="590"/>
                  <a:pt x="535" y="590"/>
                </a:cubicBezTo>
                <a:cubicBezTo>
                  <a:pt x="535" y="590"/>
                  <a:pt x="532" y="590"/>
                  <a:pt x="532" y="590"/>
                </a:cubicBezTo>
                <a:cubicBezTo>
                  <a:pt x="533" y="590"/>
                  <a:pt x="532" y="590"/>
                  <a:pt x="532" y="590"/>
                </a:cubicBezTo>
                <a:cubicBezTo>
                  <a:pt x="532" y="591"/>
                  <a:pt x="532" y="592"/>
                  <a:pt x="533" y="592"/>
                </a:cubicBezTo>
                <a:cubicBezTo>
                  <a:pt x="533" y="592"/>
                  <a:pt x="532" y="592"/>
                  <a:pt x="532" y="594"/>
                </a:cubicBezTo>
                <a:cubicBezTo>
                  <a:pt x="532" y="593"/>
                  <a:pt x="530" y="594"/>
                  <a:pt x="530" y="594"/>
                </a:cubicBezTo>
                <a:cubicBezTo>
                  <a:pt x="529" y="593"/>
                  <a:pt x="529" y="592"/>
                  <a:pt x="529" y="592"/>
                </a:cubicBezTo>
                <a:cubicBezTo>
                  <a:pt x="528" y="591"/>
                  <a:pt x="524" y="591"/>
                  <a:pt x="524" y="591"/>
                </a:cubicBezTo>
                <a:cubicBezTo>
                  <a:pt x="524" y="591"/>
                  <a:pt x="524" y="589"/>
                  <a:pt x="524" y="589"/>
                </a:cubicBezTo>
                <a:cubicBezTo>
                  <a:pt x="523" y="589"/>
                  <a:pt x="522" y="588"/>
                  <a:pt x="522" y="588"/>
                </a:cubicBezTo>
                <a:cubicBezTo>
                  <a:pt x="520" y="590"/>
                  <a:pt x="517" y="593"/>
                  <a:pt x="516" y="594"/>
                </a:cubicBezTo>
                <a:cubicBezTo>
                  <a:pt x="514" y="598"/>
                  <a:pt x="517" y="601"/>
                  <a:pt x="516" y="605"/>
                </a:cubicBezTo>
                <a:cubicBezTo>
                  <a:pt x="516" y="605"/>
                  <a:pt x="515" y="607"/>
                  <a:pt x="515" y="608"/>
                </a:cubicBezTo>
                <a:cubicBezTo>
                  <a:pt x="513" y="608"/>
                  <a:pt x="512" y="608"/>
                  <a:pt x="511" y="609"/>
                </a:cubicBezTo>
                <a:cubicBezTo>
                  <a:pt x="511" y="609"/>
                  <a:pt x="510" y="612"/>
                  <a:pt x="510" y="615"/>
                </a:cubicBezTo>
                <a:cubicBezTo>
                  <a:pt x="510" y="617"/>
                  <a:pt x="508" y="618"/>
                  <a:pt x="506" y="619"/>
                </a:cubicBezTo>
                <a:cubicBezTo>
                  <a:pt x="506" y="619"/>
                  <a:pt x="506" y="620"/>
                  <a:pt x="506" y="622"/>
                </a:cubicBezTo>
                <a:cubicBezTo>
                  <a:pt x="511" y="621"/>
                  <a:pt x="511" y="621"/>
                  <a:pt x="514" y="620"/>
                </a:cubicBezTo>
                <a:cubicBezTo>
                  <a:pt x="515" y="619"/>
                  <a:pt x="515" y="617"/>
                  <a:pt x="516" y="617"/>
                </a:cubicBezTo>
                <a:cubicBezTo>
                  <a:pt x="517" y="616"/>
                  <a:pt x="518" y="617"/>
                  <a:pt x="519" y="616"/>
                </a:cubicBezTo>
                <a:cubicBezTo>
                  <a:pt x="519" y="616"/>
                  <a:pt x="520" y="614"/>
                  <a:pt x="521" y="614"/>
                </a:cubicBezTo>
                <a:cubicBezTo>
                  <a:pt x="523" y="613"/>
                  <a:pt x="525" y="614"/>
                  <a:pt x="528" y="613"/>
                </a:cubicBezTo>
                <a:cubicBezTo>
                  <a:pt x="528" y="613"/>
                  <a:pt x="528" y="611"/>
                  <a:pt x="528" y="611"/>
                </a:cubicBezTo>
                <a:cubicBezTo>
                  <a:pt x="531" y="609"/>
                  <a:pt x="534" y="610"/>
                  <a:pt x="537" y="610"/>
                </a:cubicBezTo>
                <a:cubicBezTo>
                  <a:pt x="537" y="610"/>
                  <a:pt x="539" y="607"/>
                  <a:pt x="537" y="606"/>
                </a:cubicBezTo>
                <a:cubicBezTo>
                  <a:pt x="536" y="606"/>
                  <a:pt x="535" y="607"/>
                  <a:pt x="534" y="606"/>
                </a:cubicBezTo>
                <a:cubicBezTo>
                  <a:pt x="534" y="605"/>
                  <a:pt x="534" y="605"/>
                  <a:pt x="534" y="605"/>
                </a:cubicBezTo>
                <a:cubicBezTo>
                  <a:pt x="537" y="603"/>
                  <a:pt x="545" y="598"/>
                  <a:pt x="552" y="600"/>
                </a:cubicBezTo>
                <a:cubicBezTo>
                  <a:pt x="553" y="600"/>
                  <a:pt x="553" y="602"/>
                  <a:pt x="554" y="602"/>
                </a:cubicBezTo>
                <a:cubicBezTo>
                  <a:pt x="554" y="603"/>
                  <a:pt x="556" y="602"/>
                  <a:pt x="556" y="602"/>
                </a:cubicBezTo>
                <a:cubicBezTo>
                  <a:pt x="557" y="601"/>
                  <a:pt x="557" y="600"/>
                  <a:pt x="559" y="600"/>
                </a:cubicBezTo>
                <a:cubicBezTo>
                  <a:pt x="560" y="599"/>
                  <a:pt x="557" y="599"/>
                  <a:pt x="557" y="599"/>
                </a:cubicBezTo>
                <a:cubicBezTo>
                  <a:pt x="556" y="600"/>
                  <a:pt x="556" y="599"/>
                  <a:pt x="555" y="600"/>
                </a:cubicBezTo>
                <a:cubicBezTo>
                  <a:pt x="554" y="600"/>
                  <a:pt x="555" y="598"/>
                  <a:pt x="554" y="598"/>
                </a:cubicBezTo>
                <a:cubicBezTo>
                  <a:pt x="553" y="597"/>
                  <a:pt x="552" y="598"/>
                  <a:pt x="551" y="597"/>
                </a:cubicBezTo>
                <a:cubicBezTo>
                  <a:pt x="551" y="597"/>
                  <a:pt x="550" y="596"/>
                  <a:pt x="550" y="596"/>
                </a:cubicBezTo>
                <a:cubicBezTo>
                  <a:pt x="553" y="595"/>
                  <a:pt x="554" y="595"/>
                  <a:pt x="556" y="595"/>
                </a:cubicBezTo>
                <a:cubicBezTo>
                  <a:pt x="557" y="595"/>
                  <a:pt x="560" y="597"/>
                  <a:pt x="563" y="596"/>
                </a:cubicBezTo>
                <a:cubicBezTo>
                  <a:pt x="564" y="596"/>
                  <a:pt x="565" y="595"/>
                  <a:pt x="566" y="594"/>
                </a:cubicBezTo>
                <a:cubicBezTo>
                  <a:pt x="566" y="594"/>
                  <a:pt x="566" y="593"/>
                  <a:pt x="566" y="593"/>
                </a:cubicBezTo>
                <a:cubicBezTo>
                  <a:pt x="566" y="593"/>
                  <a:pt x="567" y="591"/>
                  <a:pt x="574" y="587"/>
                </a:cubicBezTo>
                <a:cubicBezTo>
                  <a:pt x="578" y="585"/>
                  <a:pt x="579" y="584"/>
                  <a:pt x="581" y="584"/>
                </a:cubicBezTo>
                <a:cubicBezTo>
                  <a:pt x="581" y="583"/>
                  <a:pt x="582" y="582"/>
                  <a:pt x="583" y="582"/>
                </a:cubicBezTo>
                <a:cubicBezTo>
                  <a:pt x="584" y="582"/>
                  <a:pt x="582" y="583"/>
                  <a:pt x="582" y="584"/>
                </a:cubicBezTo>
                <a:cubicBezTo>
                  <a:pt x="582" y="584"/>
                  <a:pt x="583" y="584"/>
                  <a:pt x="583" y="585"/>
                </a:cubicBezTo>
                <a:cubicBezTo>
                  <a:pt x="586" y="585"/>
                  <a:pt x="608" y="582"/>
                  <a:pt x="608" y="582"/>
                </a:cubicBezTo>
                <a:cubicBezTo>
                  <a:pt x="608" y="582"/>
                  <a:pt x="609" y="579"/>
                  <a:pt x="611" y="578"/>
                </a:cubicBezTo>
                <a:cubicBezTo>
                  <a:pt x="613" y="578"/>
                  <a:pt x="619" y="572"/>
                  <a:pt x="619" y="571"/>
                </a:cubicBezTo>
                <a:cubicBezTo>
                  <a:pt x="618" y="569"/>
                  <a:pt x="621" y="564"/>
                  <a:pt x="621" y="564"/>
                </a:cubicBezTo>
                <a:cubicBezTo>
                  <a:pt x="624" y="559"/>
                  <a:pt x="624" y="559"/>
                  <a:pt x="624" y="559"/>
                </a:cubicBezTo>
                <a:cubicBezTo>
                  <a:pt x="624" y="559"/>
                  <a:pt x="626" y="556"/>
                  <a:pt x="627" y="560"/>
                </a:cubicBezTo>
                <a:cubicBezTo>
                  <a:pt x="627" y="564"/>
                  <a:pt x="628" y="557"/>
                  <a:pt x="631" y="558"/>
                </a:cubicBezTo>
                <a:cubicBezTo>
                  <a:pt x="635" y="559"/>
                  <a:pt x="638" y="560"/>
                  <a:pt x="637" y="565"/>
                </a:cubicBezTo>
                <a:cubicBezTo>
                  <a:pt x="637" y="570"/>
                  <a:pt x="637" y="577"/>
                  <a:pt x="637" y="577"/>
                </a:cubicBezTo>
                <a:cubicBezTo>
                  <a:pt x="637" y="577"/>
                  <a:pt x="641" y="576"/>
                  <a:pt x="641" y="578"/>
                </a:cubicBezTo>
                <a:cubicBezTo>
                  <a:pt x="641" y="581"/>
                  <a:pt x="640" y="583"/>
                  <a:pt x="641" y="583"/>
                </a:cubicBezTo>
                <a:cubicBezTo>
                  <a:pt x="642" y="583"/>
                  <a:pt x="643" y="584"/>
                  <a:pt x="643" y="584"/>
                </a:cubicBezTo>
                <a:cubicBezTo>
                  <a:pt x="643" y="584"/>
                  <a:pt x="644" y="584"/>
                  <a:pt x="645" y="584"/>
                </a:cubicBezTo>
                <a:cubicBezTo>
                  <a:pt x="646" y="584"/>
                  <a:pt x="647" y="586"/>
                  <a:pt x="649" y="586"/>
                </a:cubicBezTo>
                <a:cubicBezTo>
                  <a:pt x="649" y="586"/>
                  <a:pt x="651" y="586"/>
                  <a:pt x="650" y="586"/>
                </a:cubicBezTo>
                <a:cubicBezTo>
                  <a:pt x="651" y="585"/>
                  <a:pt x="655" y="585"/>
                  <a:pt x="653" y="584"/>
                </a:cubicBezTo>
                <a:cubicBezTo>
                  <a:pt x="652" y="583"/>
                  <a:pt x="652" y="583"/>
                  <a:pt x="651" y="583"/>
                </a:cubicBezTo>
                <a:cubicBezTo>
                  <a:pt x="651" y="582"/>
                  <a:pt x="651" y="582"/>
                  <a:pt x="651" y="582"/>
                </a:cubicBezTo>
                <a:cubicBezTo>
                  <a:pt x="651" y="581"/>
                  <a:pt x="652" y="581"/>
                  <a:pt x="653" y="581"/>
                </a:cubicBezTo>
                <a:cubicBezTo>
                  <a:pt x="653" y="580"/>
                  <a:pt x="653" y="579"/>
                  <a:pt x="653" y="578"/>
                </a:cubicBezTo>
                <a:cubicBezTo>
                  <a:pt x="653" y="578"/>
                  <a:pt x="654" y="579"/>
                  <a:pt x="655" y="579"/>
                </a:cubicBezTo>
                <a:cubicBezTo>
                  <a:pt x="655" y="580"/>
                  <a:pt x="655" y="580"/>
                  <a:pt x="655" y="580"/>
                </a:cubicBezTo>
                <a:cubicBezTo>
                  <a:pt x="655" y="580"/>
                  <a:pt x="653" y="581"/>
                  <a:pt x="654" y="581"/>
                </a:cubicBezTo>
                <a:cubicBezTo>
                  <a:pt x="653" y="580"/>
                  <a:pt x="654" y="583"/>
                  <a:pt x="655" y="584"/>
                </a:cubicBezTo>
                <a:cubicBezTo>
                  <a:pt x="656" y="584"/>
                  <a:pt x="656" y="584"/>
                  <a:pt x="656" y="584"/>
                </a:cubicBezTo>
                <a:cubicBezTo>
                  <a:pt x="657" y="583"/>
                  <a:pt x="657" y="580"/>
                  <a:pt x="661" y="579"/>
                </a:cubicBezTo>
                <a:cubicBezTo>
                  <a:pt x="661" y="578"/>
                  <a:pt x="661" y="578"/>
                  <a:pt x="661" y="578"/>
                </a:cubicBezTo>
                <a:cubicBezTo>
                  <a:pt x="661" y="578"/>
                  <a:pt x="661" y="576"/>
                  <a:pt x="661" y="576"/>
                </a:cubicBezTo>
                <a:cubicBezTo>
                  <a:pt x="662" y="576"/>
                  <a:pt x="662" y="576"/>
                  <a:pt x="662" y="576"/>
                </a:cubicBezTo>
                <a:cubicBezTo>
                  <a:pt x="662" y="574"/>
                  <a:pt x="662" y="574"/>
                  <a:pt x="662" y="572"/>
                </a:cubicBezTo>
                <a:cubicBezTo>
                  <a:pt x="663" y="572"/>
                  <a:pt x="663" y="574"/>
                  <a:pt x="663" y="574"/>
                </a:cubicBezTo>
                <a:cubicBezTo>
                  <a:pt x="664" y="574"/>
                  <a:pt x="665" y="573"/>
                  <a:pt x="666" y="573"/>
                </a:cubicBezTo>
                <a:cubicBezTo>
                  <a:pt x="666" y="573"/>
                  <a:pt x="666" y="575"/>
                  <a:pt x="666" y="575"/>
                </a:cubicBezTo>
                <a:cubicBezTo>
                  <a:pt x="666" y="575"/>
                  <a:pt x="664" y="576"/>
                  <a:pt x="664" y="576"/>
                </a:cubicBezTo>
                <a:cubicBezTo>
                  <a:pt x="664" y="577"/>
                  <a:pt x="665" y="577"/>
                  <a:pt x="665" y="578"/>
                </a:cubicBezTo>
                <a:cubicBezTo>
                  <a:pt x="664" y="578"/>
                  <a:pt x="663" y="579"/>
                  <a:pt x="663" y="580"/>
                </a:cubicBezTo>
                <a:cubicBezTo>
                  <a:pt x="662" y="581"/>
                  <a:pt x="663" y="582"/>
                  <a:pt x="663" y="582"/>
                </a:cubicBezTo>
                <a:cubicBezTo>
                  <a:pt x="663" y="582"/>
                  <a:pt x="663" y="581"/>
                  <a:pt x="663" y="581"/>
                </a:cubicBezTo>
                <a:cubicBezTo>
                  <a:pt x="667" y="580"/>
                  <a:pt x="673" y="581"/>
                  <a:pt x="676" y="581"/>
                </a:cubicBezTo>
                <a:cubicBezTo>
                  <a:pt x="675" y="581"/>
                  <a:pt x="674" y="581"/>
                  <a:pt x="673" y="582"/>
                </a:cubicBezTo>
                <a:cubicBezTo>
                  <a:pt x="672" y="583"/>
                  <a:pt x="671" y="585"/>
                  <a:pt x="670" y="586"/>
                </a:cubicBezTo>
                <a:cubicBezTo>
                  <a:pt x="669" y="586"/>
                  <a:pt x="668" y="586"/>
                  <a:pt x="667" y="586"/>
                </a:cubicBezTo>
                <a:cubicBezTo>
                  <a:pt x="667" y="586"/>
                  <a:pt x="667" y="584"/>
                  <a:pt x="667" y="584"/>
                </a:cubicBezTo>
                <a:cubicBezTo>
                  <a:pt x="665" y="583"/>
                  <a:pt x="659" y="586"/>
                  <a:pt x="659" y="587"/>
                </a:cubicBezTo>
                <a:cubicBezTo>
                  <a:pt x="658" y="588"/>
                  <a:pt x="659" y="589"/>
                  <a:pt x="658" y="590"/>
                </a:cubicBezTo>
                <a:cubicBezTo>
                  <a:pt x="657" y="591"/>
                  <a:pt x="655" y="590"/>
                  <a:pt x="654" y="591"/>
                </a:cubicBezTo>
                <a:cubicBezTo>
                  <a:pt x="654" y="591"/>
                  <a:pt x="653" y="593"/>
                  <a:pt x="653" y="594"/>
                </a:cubicBezTo>
                <a:cubicBezTo>
                  <a:pt x="649" y="597"/>
                  <a:pt x="650" y="597"/>
                  <a:pt x="651" y="602"/>
                </a:cubicBezTo>
                <a:cubicBezTo>
                  <a:pt x="652" y="602"/>
                  <a:pt x="654" y="601"/>
                  <a:pt x="655" y="602"/>
                </a:cubicBezTo>
                <a:cubicBezTo>
                  <a:pt x="655" y="602"/>
                  <a:pt x="655" y="603"/>
                  <a:pt x="656" y="604"/>
                </a:cubicBezTo>
                <a:cubicBezTo>
                  <a:pt x="657" y="604"/>
                  <a:pt x="657" y="604"/>
                  <a:pt x="657" y="605"/>
                </a:cubicBezTo>
                <a:cubicBezTo>
                  <a:pt x="658" y="605"/>
                  <a:pt x="658" y="605"/>
                  <a:pt x="659" y="606"/>
                </a:cubicBezTo>
                <a:cubicBezTo>
                  <a:pt x="659" y="605"/>
                  <a:pt x="659" y="603"/>
                  <a:pt x="660" y="603"/>
                </a:cubicBezTo>
                <a:cubicBezTo>
                  <a:pt x="661" y="603"/>
                  <a:pt x="661" y="603"/>
                  <a:pt x="661" y="603"/>
                </a:cubicBezTo>
                <a:cubicBezTo>
                  <a:pt x="661" y="605"/>
                  <a:pt x="661" y="605"/>
                  <a:pt x="661" y="605"/>
                </a:cubicBezTo>
                <a:cubicBezTo>
                  <a:pt x="661" y="605"/>
                  <a:pt x="662" y="605"/>
                  <a:pt x="662" y="606"/>
                </a:cubicBezTo>
                <a:cubicBezTo>
                  <a:pt x="663" y="605"/>
                  <a:pt x="663" y="604"/>
                  <a:pt x="665" y="603"/>
                </a:cubicBezTo>
                <a:cubicBezTo>
                  <a:pt x="665" y="603"/>
                  <a:pt x="665" y="601"/>
                  <a:pt x="666" y="601"/>
                </a:cubicBezTo>
                <a:cubicBezTo>
                  <a:pt x="666" y="601"/>
                  <a:pt x="668" y="601"/>
                  <a:pt x="667" y="602"/>
                </a:cubicBezTo>
                <a:cubicBezTo>
                  <a:pt x="669" y="602"/>
                  <a:pt x="669" y="602"/>
                  <a:pt x="669" y="602"/>
                </a:cubicBezTo>
                <a:cubicBezTo>
                  <a:pt x="669" y="601"/>
                  <a:pt x="668" y="600"/>
                  <a:pt x="668" y="600"/>
                </a:cubicBezTo>
                <a:cubicBezTo>
                  <a:pt x="667" y="598"/>
                  <a:pt x="668" y="596"/>
                  <a:pt x="669" y="594"/>
                </a:cubicBezTo>
                <a:cubicBezTo>
                  <a:pt x="669" y="594"/>
                  <a:pt x="670" y="596"/>
                  <a:pt x="671" y="595"/>
                </a:cubicBezTo>
                <a:cubicBezTo>
                  <a:pt x="671" y="595"/>
                  <a:pt x="671" y="593"/>
                  <a:pt x="671" y="592"/>
                </a:cubicBezTo>
                <a:cubicBezTo>
                  <a:pt x="672" y="593"/>
                  <a:pt x="674" y="595"/>
                  <a:pt x="675" y="596"/>
                </a:cubicBezTo>
                <a:cubicBezTo>
                  <a:pt x="675" y="596"/>
                  <a:pt x="676" y="594"/>
                  <a:pt x="675" y="593"/>
                </a:cubicBezTo>
                <a:cubicBezTo>
                  <a:pt x="675" y="593"/>
                  <a:pt x="676" y="592"/>
                  <a:pt x="676" y="592"/>
                </a:cubicBezTo>
                <a:cubicBezTo>
                  <a:pt x="685" y="591"/>
                  <a:pt x="688" y="588"/>
                  <a:pt x="691" y="582"/>
                </a:cubicBezTo>
                <a:cubicBezTo>
                  <a:pt x="692" y="582"/>
                  <a:pt x="693" y="582"/>
                  <a:pt x="693" y="582"/>
                </a:cubicBezTo>
                <a:cubicBezTo>
                  <a:pt x="693" y="581"/>
                  <a:pt x="693" y="580"/>
                  <a:pt x="692" y="580"/>
                </a:cubicBezTo>
                <a:cubicBezTo>
                  <a:pt x="692" y="579"/>
                  <a:pt x="690" y="580"/>
                  <a:pt x="690" y="580"/>
                </a:cubicBezTo>
                <a:cubicBezTo>
                  <a:pt x="690" y="577"/>
                  <a:pt x="690" y="577"/>
                  <a:pt x="690" y="574"/>
                </a:cubicBezTo>
                <a:cubicBezTo>
                  <a:pt x="690" y="575"/>
                  <a:pt x="689" y="574"/>
                  <a:pt x="688" y="574"/>
                </a:cubicBezTo>
                <a:cubicBezTo>
                  <a:pt x="687" y="575"/>
                  <a:pt x="685" y="579"/>
                  <a:pt x="683" y="580"/>
                </a:cubicBezTo>
                <a:cubicBezTo>
                  <a:pt x="683" y="580"/>
                  <a:pt x="681" y="580"/>
                  <a:pt x="681" y="580"/>
                </a:cubicBezTo>
                <a:cubicBezTo>
                  <a:pt x="681" y="579"/>
                  <a:pt x="681" y="578"/>
                  <a:pt x="681" y="578"/>
                </a:cubicBezTo>
                <a:cubicBezTo>
                  <a:pt x="681" y="577"/>
                  <a:pt x="679" y="578"/>
                  <a:pt x="679" y="578"/>
                </a:cubicBezTo>
                <a:cubicBezTo>
                  <a:pt x="678" y="577"/>
                  <a:pt x="676" y="575"/>
                  <a:pt x="675" y="575"/>
                </a:cubicBezTo>
                <a:cubicBezTo>
                  <a:pt x="674" y="575"/>
                  <a:pt x="674" y="575"/>
                  <a:pt x="674" y="575"/>
                </a:cubicBezTo>
                <a:cubicBezTo>
                  <a:pt x="673" y="575"/>
                  <a:pt x="673" y="576"/>
                  <a:pt x="672" y="576"/>
                </a:cubicBezTo>
                <a:cubicBezTo>
                  <a:pt x="671" y="574"/>
                  <a:pt x="671" y="574"/>
                  <a:pt x="671" y="574"/>
                </a:cubicBezTo>
                <a:cubicBezTo>
                  <a:pt x="672" y="574"/>
                  <a:pt x="673" y="574"/>
                  <a:pt x="674" y="574"/>
                </a:cubicBezTo>
                <a:cubicBezTo>
                  <a:pt x="674" y="573"/>
                  <a:pt x="674" y="572"/>
                  <a:pt x="675" y="572"/>
                </a:cubicBezTo>
                <a:cubicBezTo>
                  <a:pt x="672" y="572"/>
                  <a:pt x="670" y="571"/>
                  <a:pt x="667" y="570"/>
                </a:cubicBezTo>
                <a:cubicBezTo>
                  <a:pt x="667" y="570"/>
                  <a:pt x="667" y="568"/>
                  <a:pt x="667" y="568"/>
                </a:cubicBezTo>
                <a:cubicBezTo>
                  <a:pt x="666" y="568"/>
                  <a:pt x="666" y="569"/>
                  <a:pt x="665" y="568"/>
                </a:cubicBezTo>
                <a:cubicBezTo>
                  <a:pt x="666" y="568"/>
                  <a:pt x="666" y="563"/>
                  <a:pt x="665" y="562"/>
                </a:cubicBezTo>
                <a:cubicBezTo>
                  <a:pt x="667" y="562"/>
                  <a:pt x="667" y="562"/>
                  <a:pt x="667" y="562"/>
                </a:cubicBezTo>
                <a:cubicBezTo>
                  <a:pt x="668" y="561"/>
                  <a:pt x="667" y="560"/>
                  <a:pt x="667" y="559"/>
                </a:cubicBezTo>
                <a:cubicBezTo>
                  <a:pt x="666" y="559"/>
                  <a:pt x="663" y="560"/>
                  <a:pt x="663" y="560"/>
                </a:cubicBezTo>
                <a:cubicBezTo>
                  <a:pt x="663" y="560"/>
                  <a:pt x="660" y="559"/>
                  <a:pt x="662" y="559"/>
                </a:cubicBezTo>
                <a:cubicBezTo>
                  <a:pt x="663" y="557"/>
                  <a:pt x="663" y="557"/>
                  <a:pt x="663" y="557"/>
                </a:cubicBezTo>
                <a:cubicBezTo>
                  <a:pt x="663" y="557"/>
                  <a:pt x="664" y="557"/>
                  <a:pt x="665" y="557"/>
                </a:cubicBezTo>
                <a:cubicBezTo>
                  <a:pt x="665" y="556"/>
                  <a:pt x="665" y="556"/>
                  <a:pt x="665" y="556"/>
                </a:cubicBezTo>
                <a:cubicBezTo>
                  <a:pt x="664" y="556"/>
                  <a:pt x="664" y="553"/>
                  <a:pt x="664" y="552"/>
                </a:cubicBezTo>
                <a:cubicBezTo>
                  <a:pt x="666" y="552"/>
                  <a:pt x="666" y="552"/>
                  <a:pt x="666" y="552"/>
                </a:cubicBezTo>
                <a:cubicBezTo>
                  <a:pt x="666" y="550"/>
                  <a:pt x="665" y="551"/>
                  <a:pt x="665" y="549"/>
                </a:cubicBezTo>
                <a:cubicBezTo>
                  <a:pt x="664" y="549"/>
                  <a:pt x="662" y="548"/>
                  <a:pt x="660" y="549"/>
                </a:cubicBezTo>
                <a:cubicBezTo>
                  <a:pt x="659" y="549"/>
                  <a:pt x="659" y="551"/>
                  <a:pt x="658" y="551"/>
                </a:cubicBezTo>
                <a:cubicBezTo>
                  <a:pt x="652" y="553"/>
                  <a:pt x="653" y="549"/>
                  <a:pt x="655" y="549"/>
                </a:cubicBezTo>
                <a:cubicBezTo>
                  <a:pt x="655" y="548"/>
                  <a:pt x="655" y="548"/>
                  <a:pt x="655" y="548"/>
                </a:cubicBezTo>
                <a:cubicBezTo>
                  <a:pt x="654" y="547"/>
                  <a:pt x="654" y="547"/>
                  <a:pt x="653" y="546"/>
                </a:cubicBezTo>
                <a:cubicBezTo>
                  <a:pt x="653" y="545"/>
                  <a:pt x="653" y="545"/>
                  <a:pt x="653" y="545"/>
                </a:cubicBezTo>
                <a:cubicBezTo>
                  <a:pt x="654" y="545"/>
                  <a:pt x="654" y="543"/>
                  <a:pt x="655" y="543"/>
                </a:cubicBezTo>
                <a:cubicBezTo>
                  <a:pt x="655" y="543"/>
                  <a:pt x="656" y="544"/>
                  <a:pt x="656" y="544"/>
                </a:cubicBezTo>
                <a:cubicBezTo>
                  <a:pt x="656" y="545"/>
                  <a:pt x="656" y="546"/>
                  <a:pt x="657" y="547"/>
                </a:cubicBezTo>
                <a:cubicBezTo>
                  <a:pt x="657" y="547"/>
                  <a:pt x="659" y="548"/>
                  <a:pt x="659" y="548"/>
                </a:cubicBezTo>
                <a:cubicBezTo>
                  <a:pt x="659" y="546"/>
                  <a:pt x="659" y="546"/>
                  <a:pt x="659" y="546"/>
                </a:cubicBezTo>
                <a:cubicBezTo>
                  <a:pt x="660" y="546"/>
                  <a:pt x="662" y="546"/>
                  <a:pt x="663" y="546"/>
                </a:cubicBezTo>
                <a:cubicBezTo>
                  <a:pt x="663" y="544"/>
                  <a:pt x="663" y="543"/>
                  <a:pt x="663" y="540"/>
                </a:cubicBezTo>
                <a:cubicBezTo>
                  <a:pt x="664" y="540"/>
                  <a:pt x="666" y="541"/>
                  <a:pt x="667" y="541"/>
                </a:cubicBezTo>
                <a:cubicBezTo>
                  <a:pt x="668" y="538"/>
                  <a:pt x="668" y="537"/>
                  <a:pt x="667" y="533"/>
                </a:cubicBezTo>
                <a:cubicBezTo>
                  <a:pt x="668" y="533"/>
                  <a:pt x="669" y="534"/>
                  <a:pt x="670" y="534"/>
                </a:cubicBezTo>
                <a:cubicBezTo>
                  <a:pt x="670" y="534"/>
                  <a:pt x="670" y="532"/>
                  <a:pt x="670" y="532"/>
                </a:cubicBezTo>
                <a:cubicBezTo>
                  <a:pt x="669" y="531"/>
                  <a:pt x="669" y="531"/>
                  <a:pt x="669" y="530"/>
                </a:cubicBezTo>
                <a:cubicBezTo>
                  <a:pt x="667" y="530"/>
                  <a:pt x="667" y="530"/>
                  <a:pt x="667" y="530"/>
                </a:cubicBezTo>
                <a:cubicBezTo>
                  <a:pt x="667" y="528"/>
                  <a:pt x="667" y="528"/>
                  <a:pt x="667" y="528"/>
                </a:cubicBezTo>
                <a:cubicBezTo>
                  <a:pt x="666" y="528"/>
                  <a:pt x="666" y="528"/>
                  <a:pt x="666" y="528"/>
                </a:cubicBezTo>
                <a:cubicBezTo>
                  <a:pt x="666" y="528"/>
                  <a:pt x="666" y="528"/>
                  <a:pt x="666" y="528"/>
                </a:cubicBezTo>
                <a:cubicBezTo>
                  <a:pt x="663" y="527"/>
                  <a:pt x="660" y="529"/>
                  <a:pt x="658" y="528"/>
                </a:cubicBezTo>
                <a:cubicBezTo>
                  <a:pt x="657" y="528"/>
                  <a:pt x="658" y="526"/>
                  <a:pt x="656" y="526"/>
                </a:cubicBezTo>
                <a:cubicBezTo>
                  <a:pt x="655" y="528"/>
                  <a:pt x="655" y="528"/>
                  <a:pt x="655" y="528"/>
                </a:cubicBezTo>
                <a:cubicBezTo>
                  <a:pt x="651" y="529"/>
                  <a:pt x="648" y="529"/>
                  <a:pt x="645" y="531"/>
                </a:cubicBezTo>
                <a:cubicBezTo>
                  <a:pt x="644" y="531"/>
                  <a:pt x="644" y="533"/>
                  <a:pt x="643" y="533"/>
                </a:cubicBezTo>
                <a:cubicBezTo>
                  <a:pt x="642" y="534"/>
                  <a:pt x="641" y="533"/>
                  <a:pt x="640" y="534"/>
                </a:cubicBezTo>
                <a:cubicBezTo>
                  <a:pt x="640" y="534"/>
                  <a:pt x="639" y="536"/>
                  <a:pt x="639" y="536"/>
                </a:cubicBezTo>
                <a:cubicBezTo>
                  <a:pt x="638" y="536"/>
                  <a:pt x="637" y="535"/>
                  <a:pt x="637" y="536"/>
                </a:cubicBezTo>
                <a:cubicBezTo>
                  <a:pt x="635" y="537"/>
                  <a:pt x="635" y="539"/>
                  <a:pt x="634" y="540"/>
                </a:cubicBezTo>
                <a:cubicBezTo>
                  <a:pt x="633" y="541"/>
                  <a:pt x="629" y="541"/>
                  <a:pt x="628" y="542"/>
                </a:cubicBezTo>
                <a:cubicBezTo>
                  <a:pt x="627" y="543"/>
                  <a:pt x="628" y="546"/>
                  <a:pt x="628" y="546"/>
                </a:cubicBezTo>
                <a:cubicBezTo>
                  <a:pt x="627" y="547"/>
                  <a:pt x="623" y="547"/>
                  <a:pt x="623" y="547"/>
                </a:cubicBezTo>
                <a:cubicBezTo>
                  <a:pt x="622" y="548"/>
                  <a:pt x="622" y="551"/>
                  <a:pt x="622" y="552"/>
                </a:cubicBezTo>
                <a:cubicBezTo>
                  <a:pt x="622" y="552"/>
                  <a:pt x="618" y="557"/>
                  <a:pt x="617" y="557"/>
                </a:cubicBezTo>
                <a:cubicBezTo>
                  <a:pt x="617" y="557"/>
                  <a:pt x="617" y="557"/>
                  <a:pt x="617" y="557"/>
                </a:cubicBezTo>
                <a:cubicBezTo>
                  <a:pt x="617" y="558"/>
                  <a:pt x="617" y="558"/>
                  <a:pt x="617" y="558"/>
                </a:cubicBezTo>
                <a:cubicBezTo>
                  <a:pt x="616" y="558"/>
                  <a:pt x="616" y="557"/>
                  <a:pt x="615" y="558"/>
                </a:cubicBezTo>
                <a:cubicBezTo>
                  <a:pt x="618" y="553"/>
                  <a:pt x="620" y="551"/>
                  <a:pt x="622" y="544"/>
                </a:cubicBezTo>
                <a:cubicBezTo>
                  <a:pt x="621" y="544"/>
                  <a:pt x="620" y="543"/>
                  <a:pt x="619" y="542"/>
                </a:cubicBezTo>
                <a:cubicBezTo>
                  <a:pt x="621" y="542"/>
                  <a:pt x="622" y="543"/>
                  <a:pt x="623" y="542"/>
                </a:cubicBezTo>
                <a:cubicBezTo>
                  <a:pt x="625" y="542"/>
                  <a:pt x="625" y="538"/>
                  <a:pt x="627" y="537"/>
                </a:cubicBezTo>
                <a:cubicBezTo>
                  <a:pt x="627" y="537"/>
                  <a:pt x="628" y="537"/>
                  <a:pt x="629" y="536"/>
                </a:cubicBezTo>
                <a:cubicBezTo>
                  <a:pt x="629" y="536"/>
                  <a:pt x="629" y="535"/>
                  <a:pt x="629" y="534"/>
                </a:cubicBezTo>
                <a:cubicBezTo>
                  <a:pt x="631" y="534"/>
                  <a:pt x="632" y="535"/>
                  <a:pt x="633" y="534"/>
                </a:cubicBezTo>
                <a:cubicBezTo>
                  <a:pt x="633" y="534"/>
                  <a:pt x="633" y="532"/>
                  <a:pt x="634" y="531"/>
                </a:cubicBezTo>
                <a:cubicBezTo>
                  <a:pt x="634" y="530"/>
                  <a:pt x="634" y="530"/>
                  <a:pt x="634" y="530"/>
                </a:cubicBezTo>
                <a:cubicBezTo>
                  <a:pt x="635" y="530"/>
                  <a:pt x="637" y="531"/>
                  <a:pt x="637" y="530"/>
                </a:cubicBezTo>
                <a:cubicBezTo>
                  <a:pt x="638" y="529"/>
                  <a:pt x="637" y="528"/>
                  <a:pt x="638" y="527"/>
                </a:cubicBezTo>
                <a:cubicBezTo>
                  <a:pt x="639" y="526"/>
                  <a:pt x="641" y="527"/>
                  <a:pt x="642" y="526"/>
                </a:cubicBezTo>
                <a:cubicBezTo>
                  <a:pt x="643" y="525"/>
                  <a:pt x="643" y="520"/>
                  <a:pt x="643" y="520"/>
                </a:cubicBezTo>
                <a:cubicBezTo>
                  <a:pt x="645" y="520"/>
                  <a:pt x="645" y="520"/>
                  <a:pt x="645" y="520"/>
                </a:cubicBezTo>
                <a:cubicBezTo>
                  <a:pt x="645" y="518"/>
                  <a:pt x="645" y="518"/>
                  <a:pt x="645" y="518"/>
                </a:cubicBezTo>
                <a:cubicBezTo>
                  <a:pt x="645" y="518"/>
                  <a:pt x="646" y="519"/>
                  <a:pt x="646" y="519"/>
                </a:cubicBezTo>
                <a:cubicBezTo>
                  <a:pt x="647" y="518"/>
                  <a:pt x="647" y="518"/>
                  <a:pt x="649" y="517"/>
                </a:cubicBezTo>
                <a:cubicBezTo>
                  <a:pt x="649" y="516"/>
                  <a:pt x="649" y="516"/>
                  <a:pt x="649" y="516"/>
                </a:cubicBezTo>
                <a:cubicBezTo>
                  <a:pt x="650" y="515"/>
                  <a:pt x="655" y="517"/>
                  <a:pt x="658" y="517"/>
                </a:cubicBezTo>
                <a:cubicBezTo>
                  <a:pt x="658" y="517"/>
                  <a:pt x="658" y="517"/>
                  <a:pt x="658" y="517"/>
                </a:cubicBezTo>
                <a:cubicBezTo>
                  <a:pt x="661" y="517"/>
                  <a:pt x="662" y="517"/>
                  <a:pt x="665" y="517"/>
                </a:cubicBezTo>
                <a:cubicBezTo>
                  <a:pt x="665" y="516"/>
                  <a:pt x="665" y="515"/>
                  <a:pt x="665" y="515"/>
                </a:cubicBezTo>
                <a:cubicBezTo>
                  <a:pt x="667" y="515"/>
                  <a:pt x="668" y="517"/>
                  <a:pt x="669" y="517"/>
                </a:cubicBezTo>
                <a:cubicBezTo>
                  <a:pt x="670" y="517"/>
                  <a:pt x="671" y="516"/>
                  <a:pt x="673" y="516"/>
                </a:cubicBezTo>
                <a:cubicBezTo>
                  <a:pt x="675" y="516"/>
                  <a:pt x="676" y="517"/>
                  <a:pt x="677" y="517"/>
                </a:cubicBezTo>
                <a:cubicBezTo>
                  <a:pt x="677" y="517"/>
                  <a:pt x="678" y="515"/>
                  <a:pt x="679" y="515"/>
                </a:cubicBezTo>
                <a:cubicBezTo>
                  <a:pt x="685" y="514"/>
                  <a:pt x="683" y="518"/>
                  <a:pt x="690" y="515"/>
                </a:cubicBezTo>
                <a:cubicBezTo>
                  <a:pt x="691" y="515"/>
                  <a:pt x="691" y="517"/>
                  <a:pt x="691" y="518"/>
                </a:cubicBezTo>
                <a:cubicBezTo>
                  <a:pt x="693" y="518"/>
                  <a:pt x="694" y="517"/>
                  <a:pt x="694" y="517"/>
                </a:cubicBezTo>
                <a:cubicBezTo>
                  <a:pt x="694" y="519"/>
                  <a:pt x="696" y="517"/>
                  <a:pt x="696" y="517"/>
                </a:cubicBezTo>
                <a:cubicBezTo>
                  <a:pt x="696" y="517"/>
                  <a:pt x="696" y="515"/>
                  <a:pt x="696" y="515"/>
                </a:cubicBezTo>
                <a:cubicBezTo>
                  <a:pt x="696" y="515"/>
                  <a:pt x="697" y="516"/>
                  <a:pt x="698" y="515"/>
                </a:cubicBezTo>
                <a:cubicBezTo>
                  <a:pt x="699" y="516"/>
                  <a:pt x="699" y="518"/>
                  <a:pt x="702" y="517"/>
                </a:cubicBezTo>
                <a:cubicBezTo>
                  <a:pt x="702" y="517"/>
                  <a:pt x="703" y="515"/>
                  <a:pt x="703" y="515"/>
                </a:cubicBezTo>
                <a:cubicBezTo>
                  <a:pt x="706" y="514"/>
                  <a:pt x="706" y="514"/>
                  <a:pt x="708" y="515"/>
                </a:cubicBezTo>
                <a:cubicBezTo>
                  <a:pt x="708" y="514"/>
                  <a:pt x="709" y="513"/>
                  <a:pt x="709" y="513"/>
                </a:cubicBezTo>
                <a:cubicBezTo>
                  <a:pt x="709" y="513"/>
                  <a:pt x="709" y="510"/>
                  <a:pt x="709" y="510"/>
                </a:cubicBezTo>
                <a:cubicBezTo>
                  <a:pt x="709" y="510"/>
                  <a:pt x="714" y="510"/>
                  <a:pt x="715" y="508"/>
                </a:cubicBezTo>
                <a:cubicBezTo>
                  <a:pt x="716" y="506"/>
                  <a:pt x="714" y="506"/>
                  <a:pt x="714" y="505"/>
                </a:cubicBezTo>
                <a:cubicBezTo>
                  <a:pt x="715" y="504"/>
                  <a:pt x="717" y="503"/>
                  <a:pt x="717" y="503"/>
                </a:cubicBezTo>
                <a:cubicBezTo>
                  <a:pt x="717" y="502"/>
                  <a:pt x="717" y="500"/>
                  <a:pt x="717" y="500"/>
                </a:cubicBezTo>
                <a:cubicBezTo>
                  <a:pt x="718" y="499"/>
                  <a:pt x="719" y="500"/>
                  <a:pt x="720" y="499"/>
                </a:cubicBezTo>
                <a:cubicBezTo>
                  <a:pt x="721" y="499"/>
                  <a:pt x="720" y="497"/>
                  <a:pt x="720" y="497"/>
                </a:cubicBezTo>
                <a:cubicBezTo>
                  <a:pt x="722" y="497"/>
                  <a:pt x="720" y="498"/>
                  <a:pt x="721" y="498"/>
                </a:cubicBezTo>
                <a:cubicBezTo>
                  <a:pt x="725" y="499"/>
                  <a:pt x="725" y="495"/>
                  <a:pt x="729" y="496"/>
                </a:cubicBezTo>
                <a:cubicBezTo>
                  <a:pt x="729" y="496"/>
                  <a:pt x="730" y="497"/>
                  <a:pt x="732" y="497"/>
                </a:cubicBezTo>
                <a:cubicBezTo>
                  <a:pt x="734" y="494"/>
                  <a:pt x="734" y="494"/>
                  <a:pt x="734" y="494"/>
                </a:cubicBezTo>
                <a:cubicBezTo>
                  <a:pt x="735" y="493"/>
                  <a:pt x="736" y="494"/>
                  <a:pt x="737" y="493"/>
                </a:cubicBezTo>
                <a:cubicBezTo>
                  <a:pt x="738" y="493"/>
                  <a:pt x="737" y="491"/>
                  <a:pt x="738" y="491"/>
                </a:cubicBezTo>
                <a:cubicBezTo>
                  <a:pt x="738" y="491"/>
                  <a:pt x="739" y="492"/>
                  <a:pt x="740" y="491"/>
                </a:cubicBezTo>
                <a:cubicBezTo>
                  <a:pt x="740" y="490"/>
                  <a:pt x="740" y="490"/>
                  <a:pt x="740" y="490"/>
                </a:cubicBezTo>
                <a:cubicBezTo>
                  <a:pt x="741" y="489"/>
                  <a:pt x="741" y="489"/>
                  <a:pt x="741" y="489"/>
                </a:cubicBezTo>
                <a:cubicBezTo>
                  <a:pt x="743" y="486"/>
                  <a:pt x="742" y="486"/>
                  <a:pt x="740" y="483"/>
                </a:cubicBezTo>
                <a:cubicBezTo>
                  <a:pt x="741" y="483"/>
                  <a:pt x="741" y="483"/>
                  <a:pt x="740" y="483"/>
                </a:cubicBezTo>
                <a:cubicBezTo>
                  <a:pt x="740" y="481"/>
                  <a:pt x="740" y="481"/>
                  <a:pt x="740" y="481"/>
                </a:cubicBezTo>
                <a:cubicBezTo>
                  <a:pt x="742" y="481"/>
                  <a:pt x="742" y="478"/>
                  <a:pt x="742" y="476"/>
                </a:cubicBezTo>
                <a:cubicBezTo>
                  <a:pt x="741" y="476"/>
                  <a:pt x="741" y="475"/>
                  <a:pt x="740" y="475"/>
                </a:cubicBezTo>
                <a:cubicBezTo>
                  <a:pt x="740" y="475"/>
                  <a:pt x="738" y="475"/>
                  <a:pt x="738" y="475"/>
                </a:cubicBezTo>
                <a:cubicBezTo>
                  <a:pt x="738" y="475"/>
                  <a:pt x="738" y="477"/>
                  <a:pt x="738" y="477"/>
                </a:cubicBezTo>
                <a:cubicBezTo>
                  <a:pt x="736" y="477"/>
                  <a:pt x="736" y="477"/>
                  <a:pt x="736" y="477"/>
                </a:cubicBezTo>
                <a:cubicBezTo>
                  <a:pt x="736" y="476"/>
                  <a:pt x="736" y="475"/>
                  <a:pt x="736" y="474"/>
                </a:cubicBezTo>
                <a:cubicBezTo>
                  <a:pt x="735" y="473"/>
                  <a:pt x="732" y="472"/>
                  <a:pt x="731" y="471"/>
                </a:cubicBezTo>
                <a:cubicBezTo>
                  <a:pt x="731" y="471"/>
                  <a:pt x="730" y="469"/>
                  <a:pt x="730" y="469"/>
                </a:cubicBezTo>
                <a:cubicBezTo>
                  <a:pt x="727" y="468"/>
                  <a:pt x="725" y="469"/>
                  <a:pt x="723" y="469"/>
                </a:cubicBezTo>
                <a:cubicBezTo>
                  <a:pt x="724" y="471"/>
                  <a:pt x="724" y="471"/>
                  <a:pt x="724" y="471"/>
                </a:cubicBezTo>
                <a:cubicBezTo>
                  <a:pt x="722" y="472"/>
                  <a:pt x="720" y="471"/>
                  <a:pt x="718" y="471"/>
                </a:cubicBezTo>
                <a:cubicBezTo>
                  <a:pt x="716" y="472"/>
                  <a:pt x="713" y="476"/>
                  <a:pt x="710" y="477"/>
                </a:cubicBezTo>
                <a:cubicBezTo>
                  <a:pt x="709" y="478"/>
                  <a:pt x="708" y="477"/>
                  <a:pt x="706" y="478"/>
                </a:cubicBezTo>
                <a:cubicBezTo>
                  <a:pt x="706" y="478"/>
                  <a:pt x="706" y="481"/>
                  <a:pt x="705" y="481"/>
                </a:cubicBezTo>
                <a:cubicBezTo>
                  <a:pt x="704" y="482"/>
                  <a:pt x="703" y="481"/>
                  <a:pt x="702" y="481"/>
                </a:cubicBezTo>
                <a:cubicBezTo>
                  <a:pt x="702" y="480"/>
                  <a:pt x="702" y="478"/>
                  <a:pt x="701" y="476"/>
                </a:cubicBezTo>
                <a:cubicBezTo>
                  <a:pt x="702" y="476"/>
                  <a:pt x="706" y="476"/>
                  <a:pt x="708" y="476"/>
                </a:cubicBezTo>
                <a:cubicBezTo>
                  <a:pt x="709" y="476"/>
                  <a:pt x="713" y="472"/>
                  <a:pt x="714" y="471"/>
                </a:cubicBezTo>
                <a:cubicBezTo>
                  <a:pt x="714" y="471"/>
                  <a:pt x="715" y="472"/>
                  <a:pt x="716" y="471"/>
                </a:cubicBezTo>
                <a:cubicBezTo>
                  <a:pt x="716" y="471"/>
                  <a:pt x="717" y="470"/>
                  <a:pt x="717" y="469"/>
                </a:cubicBezTo>
                <a:cubicBezTo>
                  <a:pt x="719" y="468"/>
                  <a:pt x="719" y="470"/>
                  <a:pt x="721" y="469"/>
                </a:cubicBezTo>
                <a:cubicBezTo>
                  <a:pt x="722" y="468"/>
                  <a:pt x="722" y="468"/>
                  <a:pt x="722" y="468"/>
                </a:cubicBezTo>
                <a:cubicBezTo>
                  <a:pt x="723" y="467"/>
                  <a:pt x="724" y="468"/>
                  <a:pt x="725" y="467"/>
                </a:cubicBezTo>
                <a:cubicBezTo>
                  <a:pt x="726" y="467"/>
                  <a:pt x="727" y="464"/>
                  <a:pt x="728" y="463"/>
                </a:cubicBezTo>
                <a:cubicBezTo>
                  <a:pt x="728" y="463"/>
                  <a:pt x="727" y="463"/>
                  <a:pt x="726" y="463"/>
                </a:cubicBezTo>
                <a:cubicBezTo>
                  <a:pt x="726" y="463"/>
                  <a:pt x="725" y="462"/>
                  <a:pt x="724" y="462"/>
                </a:cubicBezTo>
                <a:cubicBezTo>
                  <a:pt x="724" y="461"/>
                  <a:pt x="724" y="459"/>
                  <a:pt x="724" y="458"/>
                </a:cubicBezTo>
                <a:cubicBezTo>
                  <a:pt x="723" y="458"/>
                  <a:pt x="722" y="459"/>
                  <a:pt x="722" y="459"/>
                </a:cubicBezTo>
                <a:cubicBezTo>
                  <a:pt x="721" y="460"/>
                  <a:pt x="722" y="461"/>
                  <a:pt x="721" y="462"/>
                </a:cubicBezTo>
                <a:cubicBezTo>
                  <a:pt x="718" y="461"/>
                  <a:pt x="718" y="462"/>
                  <a:pt x="716" y="459"/>
                </a:cubicBezTo>
                <a:cubicBezTo>
                  <a:pt x="715" y="458"/>
                  <a:pt x="715" y="458"/>
                  <a:pt x="715" y="458"/>
                </a:cubicBezTo>
                <a:cubicBezTo>
                  <a:pt x="715" y="457"/>
                  <a:pt x="715" y="456"/>
                  <a:pt x="715" y="455"/>
                </a:cubicBezTo>
                <a:cubicBezTo>
                  <a:pt x="714" y="455"/>
                  <a:pt x="713" y="456"/>
                  <a:pt x="713" y="456"/>
                </a:cubicBezTo>
                <a:cubicBezTo>
                  <a:pt x="712" y="456"/>
                  <a:pt x="713" y="456"/>
                  <a:pt x="712" y="455"/>
                </a:cubicBezTo>
                <a:cubicBezTo>
                  <a:pt x="711" y="456"/>
                  <a:pt x="710" y="456"/>
                  <a:pt x="709" y="457"/>
                </a:cubicBezTo>
                <a:cubicBezTo>
                  <a:pt x="709" y="457"/>
                  <a:pt x="709" y="455"/>
                  <a:pt x="709" y="455"/>
                </a:cubicBezTo>
                <a:cubicBezTo>
                  <a:pt x="706" y="455"/>
                  <a:pt x="706" y="455"/>
                  <a:pt x="702" y="455"/>
                </a:cubicBezTo>
                <a:cubicBezTo>
                  <a:pt x="703" y="454"/>
                  <a:pt x="702" y="451"/>
                  <a:pt x="702" y="451"/>
                </a:cubicBezTo>
                <a:cubicBezTo>
                  <a:pt x="701" y="450"/>
                  <a:pt x="702" y="448"/>
                  <a:pt x="702" y="447"/>
                </a:cubicBezTo>
                <a:cubicBezTo>
                  <a:pt x="701" y="447"/>
                  <a:pt x="700" y="448"/>
                  <a:pt x="700" y="447"/>
                </a:cubicBezTo>
                <a:cubicBezTo>
                  <a:pt x="699" y="447"/>
                  <a:pt x="699" y="445"/>
                  <a:pt x="698" y="445"/>
                </a:cubicBezTo>
                <a:cubicBezTo>
                  <a:pt x="696" y="444"/>
                  <a:pt x="694" y="444"/>
                  <a:pt x="692" y="444"/>
                </a:cubicBezTo>
                <a:cubicBezTo>
                  <a:pt x="692" y="443"/>
                  <a:pt x="692" y="441"/>
                  <a:pt x="692" y="439"/>
                </a:cubicBezTo>
                <a:cubicBezTo>
                  <a:pt x="692" y="439"/>
                  <a:pt x="689" y="440"/>
                  <a:pt x="689" y="439"/>
                </a:cubicBezTo>
                <a:cubicBezTo>
                  <a:pt x="688" y="438"/>
                  <a:pt x="690" y="439"/>
                  <a:pt x="690" y="439"/>
                </a:cubicBezTo>
                <a:cubicBezTo>
                  <a:pt x="691" y="435"/>
                  <a:pt x="687" y="438"/>
                  <a:pt x="686" y="438"/>
                </a:cubicBezTo>
                <a:cubicBezTo>
                  <a:pt x="688" y="434"/>
                  <a:pt x="689" y="434"/>
                  <a:pt x="685" y="433"/>
                </a:cubicBezTo>
                <a:cubicBezTo>
                  <a:pt x="685" y="431"/>
                  <a:pt x="685" y="431"/>
                  <a:pt x="685" y="431"/>
                </a:cubicBezTo>
                <a:cubicBezTo>
                  <a:pt x="687" y="432"/>
                  <a:pt x="689" y="433"/>
                  <a:pt x="691" y="432"/>
                </a:cubicBezTo>
                <a:cubicBezTo>
                  <a:pt x="692" y="432"/>
                  <a:pt x="692" y="431"/>
                  <a:pt x="692" y="431"/>
                </a:cubicBezTo>
                <a:cubicBezTo>
                  <a:pt x="693" y="431"/>
                  <a:pt x="693" y="432"/>
                  <a:pt x="694" y="432"/>
                </a:cubicBezTo>
                <a:cubicBezTo>
                  <a:pt x="694" y="431"/>
                  <a:pt x="693" y="430"/>
                  <a:pt x="694" y="430"/>
                </a:cubicBezTo>
                <a:cubicBezTo>
                  <a:pt x="694" y="429"/>
                  <a:pt x="694" y="427"/>
                  <a:pt x="693" y="427"/>
                </a:cubicBezTo>
                <a:cubicBezTo>
                  <a:pt x="693" y="426"/>
                  <a:pt x="691" y="427"/>
                  <a:pt x="690" y="427"/>
                </a:cubicBezTo>
                <a:cubicBezTo>
                  <a:pt x="689" y="426"/>
                  <a:pt x="689" y="424"/>
                  <a:pt x="688" y="424"/>
                </a:cubicBezTo>
                <a:cubicBezTo>
                  <a:pt x="687" y="424"/>
                  <a:pt x="686" y="425"/>
                  <a:pt x="685" y="424"/>
                </a:cubicBezTo>
                <a:cubicBezTo>
                  <a:pt x="687" y="421"/>
                  <a:pt x="687" y="422"/>
                  <a:pt x="688" y="417"/>
                </a:cubicBezTo>
                <a:cubicBezTo>
                  <a:pt x="687" y="417"/>
                  <a:pt x="687" y="417"/>
                  <a:pt x="686" y="417"/>
                </a:cubicBezTo>
                <a:cubicBezTo>
                  <a:pt x="686" y="417"/>
                  <a:pt x="686" y="415"/>
                  <a:pt x="685" y="415"/>
                </a:cubicBezTo>
                <a:cubicBezTo>
                  <a:pt x="684" y="415"/>
                  <a:pt x="683" y="415"/>
                  <a:pt x="683" y="415"/>
                </a:cubicBezTo>
                <a:cubicBezTo>
                  <a:pt x="683" y="415"/>
                  <a:pt x="683" y="412"/>
                  <a:pt x="683" y="412"/>
                </a:cubicBezTo>
                <a:cubicBezTo>
                  <a:pt x="682" y="412"/>
                  <a:pt x="681" y="412"/>
                  <a:pt x="681" y="412"/>
                </a:cubicBezTo>
                <a:cubicBezTo>
                  <a:pt x="681" y="411"/>
                  <a:pt x="682" y="410"/>
                  <a:pt x="683" y="409"/>
                </a:cubicBezTo>
                <a:cubicBezTo>
                  <a:pt x="683" y="408"/>
                  <a:pt x="682" y="408"/>
                  <a:pt x="683" y="407"/>
                </a:cubicBezTo>
                <a:cubicBezTo>
                  <a:pt x="679" y="408"/>
                  <a:pt x="677" y="407"/>
                  <a:pt x="675" y="407"/>
                </a:cubicBezTo>
                <a:cubicBezTo>
                  <a:pt x="675" y="407"/>
                  <a:pt x="675" y="406"/>
                  <a:pt x="675" y="405"/>
                </a:cubicBezTo>
                <a:cubicBezTo>
                  <a:pt x="676" y="405"/>
                  <a:pt x="678" y="405"/>
                  <a:pt x="679" y="404"/>
                </a:cubicBezTo>
                <a:cubicBezTo>
                  <a:pt x="682" y="401"/>
                  <a:pt x="677" y="402"/>
                  <a:pt x="677" y="400"/>
                </a:cubicBezTo>
                <a:cubicBezTo>
                  <a:pt x="676" y="399"/>
                  <a:pt x="678" y="399"/>
                  <a:pt x="678" y="399"/>
                </a:cubicBezTo>
                <a:cubicBezTo>
                  <a:pt x="678" y="398"/>
                  <a:pt x="678" y="398"/>
                  <a:pt x="678" y="398"/>
                </a:cubicBezTo>
                <a:cubicBezTo>
                  <a:pt x="677" y="397"/>
                  <a:pt x="677" y="398"/>
                  <a:pt x="676" y="398"/>
                </a:cubicBezTo>
                <a:cubicBezTo>
                  <a:pt x="676" y="397"/>
                  <a:pt x="676" y="396"/>
                  <a:pt x="676" y="396"/>
                </a:cubicBezTo>
                <a:cubicBezTo>
                  <a:pt x="674" y="396"/>
                  <a:pt x="675" y="395"/>
                  <a:pt x="674" y="395"/>
                </a:cubicBezTo>
                <a:cubicBezTo>
                  <a:pt x="674" y="395"/>
                  <a:pt x="672" y="396"/>
                  <a:pt x="671" y="396"/>
                </a:cubicBezTo>
                <a:cubicBezTo>
                  <a:pt x="671" y="395"/>
                  <a:pt x="671" y="394"/>
                  <a:pt x="671" y="394"/>
                </a:cubicBezTo>
                <a:cubicBezTo>
                  <a:pt x="670" y="394"/>
                  <a:pt x="670" y="394"/>
                  <a:pt x="670" y="394"/>
                </a:cubicBezTo>
                <a:cubicBezTo>
                  <a:pt x="669" y="391"/>
                  <a:pt x="668" y="389"/>
                  <a:pt x="669" y="386"/>
                </a:cubicBezTo>
                <a:cubicBezTo>
                  <a:pt x="669" y="386"/>
                  <a:pt x="670" y="385"/>
                  <a:pt x="670" y="383"/>
                </a:cubicBezTo>
                <a:cubicBezTo>
                  <a:pt x="670" y="382"/>
                  <a:pt x="669" y="382"/>
                  <a:pt x="668" y="382"/>
                </a:cubicBezTo>
                <a:cubicBezTo>
                  <a:pt x="668" y="379"/>
                  <a:pt x="668" y="379"/>
                  <a:pt x="668" y="376"/>
                </a:cubicBezTo>
                <a:cubicBezTo>
                  <a:pt x="666" y="376"/>
                  <a:pt x="666" y="376"/>
                  <a:pt x="664" y="376"/>
                </a:cubicBezTo>
                <a:cubicBezTo>
                  <a:pt x="663" y="378"/>
                  <a:pt x="664" y="379"/>
                  <a:pt x="663" y="381"/>
                </a:cubicBezTo>
                <a:cubicBezTo>
                  <a:pt x="662" y="381"/>
                  <a:pt x="662" y="381"/>
                  <a:pt x="661" y="382"/>
                </a:cubicBezTo>
                <a:cubicBezTo>
                  <a:pt x="661" y="383"/>
                  <a:pt x="662" y="384"/>
                  <a:pt x="661" y="385"/>
                </a:cubicBezTo>
                <a:cubicBezTo>
                  <a:pt x="661" y="385"/>
                  <a:pt x="659" y="386"/>
                  <a:pt x="659" y="386"/>
                </a:cubicBezTo>
                <a:cubicBezTo>
                  <a:pt x="658" y="389"/>
                  <a:pt x="660" y="389"/>
                  <a:pt x="660" y="390"/>
                </a:cubicBezTo>
                <a:cubicBezTo>
                  <a:pt x="659" y="391"/>
                  <a:pt x="659" y="391"/>
                  <a:pt x="659" y="391"/>
                </a:cubicBezTo>
                <a:cubicBezTo>
                  <a:pt x="657" y="394"/>
                  <a:pt x="656" y="394"/>
                  <a:pt x="654" y="396"/>
                </a:cubicBezTo>
                <a:cubicBezTo>
                  <a:pt x="654" y="397"/>
                  <a:pt x="655" y="400"/>
                  <a:pt x="655" y="400"/>
                </a:cubicBezTo>
                <a:cubicBezTo>
                  <a:pt x="654" y="401"/>
                  <a:pt x="652" y="399"/>
                  <a:pt x="651" y="399"/>
                </a:cubicBezTo>
                <a:cubicBezTo>
                  <a:pt x="651" y="401"/>
                  <a:pt x="649" y="405"/>
                  <a:pt x="647" y="405"/>
                </a:cubicBezTo>
                <a:cubicBezTo>
                  <a:pt x="647" y="406"/>
                  <a:pt x="646" y="405"/>
                  <a:pt x="645" y="405"/>
                </a:cubicBezTo>
                <a:cubicBezTo>
                  <a:pt x="645" y="406"/>
                  <a:pt x="644" y="407"/>
                  <a:pt x="644" y="407"/>
                </a:cubicBezTo>
                <a:cubicBezTo>
                  <a:pt x="643" y="406"/>
                  <a:pt x="642" y="404"/>
                  <a:pt x="641" y="403"/>
                </a:cubicBezTo>
                <a:cubicBezTo>
                  <a:pt x="640" y="403"/>
                  <a:pt x="640" y="403"/>
                  <a:pt x="640" y="403"/>
                </a:cubicBezTo>
                <a:cubicBezTo>
                  <a:pt x="640" y="402"/>
                  <a:pt x="640" y="401"/>
                  <a:pt x="640" y="401"/>
                </a:cubicBezTo>
                <a:cubicBezTo>
                  <a:pt x="640" y="401"/>
                  <a:pt x="638" y="400"/>
                  <a:pt x="638" y="400"/>
                </a:cubicBezTo>
                <a:cubicBezTo>
                  <a:pt x="638" y="401"/>
                  <a:pt x="638" y="401"/>
                  <a:pt x="638" y="401"/>
                </a:cubicBezTo>
                <a:cubicBezTo>
                  <a:pt x="637" y="402"/>
                  <a:pt x="636" y="403"/>
                  <a:pt x="636" y="403"/>
                </a:cubicBezTo>
                <a:cubicBezTo>
                  <a:pt x="635" y="402"/>
                  <a:pt x="634" y="399"/>
                  <a:pt x="634" y="397"/>
                </a:cubicBezTo>
                <a:cubicBezTo>
                  <a:pt x="633" y="397"/>
                  <a:pt x="630" y="396"/>
                  <a:pt x="629" y="396"/>
                </a:cubicBezTo>
                <a:cubicBezTo>
                  <a:pt x="629" y="395"/>
                  <a:pt x="629" y="395"/>
                  <a:pt x="629" y="395"/>
                </a:cubicBezTo>
                <a:cubicBezTo>
                  <a:pt x="627" y="394"/>
                  <a:pt x="627" y="396"/>
                  <a:pt x="626" y="396"/>
                </a:cubicBezTo>
                <a:cubicBezTo>
                  <a:pt x="625" y="395"/>
                  <a:pt x="623" y="393"/>
                  <a:pt x="622" y="393"/>
                </a:cubicBezTo>
                <a:cubicBezTo>
                  <a:pt x="622" y="391"/>
                  <a:pt x="621" y="392"/>
                  <a:pt x="621" y="390"/>
                </a:cubicBezTo>
                <a:cubicBezTo>
                  <a:pt x="621" y="390"/>
                  <a:pt x="623" y="390"/>
                  <a:pt x="623" y="390"/>
                </a:cubicBezTo>
                <a:cubicBezTo>
                  <a:pt x="623" y="388"/>
                  <a:pt x="623" y="385"/>
                  <a:pt x="623" y="384"/>
                </a:cubicBezTo>
                <a:cubicBezTo>
                  <a:pt x="623" y="383"/>
                  <a:pt x="621" y="383"/>
                  <a:pt x="621" y="382"/>
                </a:cubicBezTo>
                <a:cubicBezTo>
                  <a:pt x="621" y="382"/>
                  <a:pt x="620" y="379"/>
                  <a:pt x="621" y="378"/>
                </a:cubicBezTo>
                <a:cubicBezTo>
                  <a:pt x="621" y="378"/>
                  <a:pt x="624" y="378"/>
                  <a:pt x="624" y="378"/>
                </a:cubicBezTo>
                <a:cubicBezTo>
                  <a:pt x="624" y="377"/>
                  <a:pt x="624" y="376"/>
                  <a:pt x="624" y="376"/>
                </a:cubicBezTo>
                <a:cubicBezTo>
                  <a:pt x="619" y="378"/>
                  <a:pt x="626" y="368"/>
                  <a:pt x="627" y="368"/>
                </a:cubicBezTo>
                <a:cubicBezTo>
                  <a:pt x="626" y="368"/>
                  <a:pt x="625" y="367"/>
                  <a:pt x="625" y="368"/>
                </a:cubicBezTo>
                <a:cubicBezTo>
                  <a:pt x="624" y="368"/>
                  <a:pt x="623" y="370"/>
                  <a:pt x="623" y="370"/>
                </a:cubicBezTo>
                <a:cubicBezTo>
                  <a:pt x="623" y="370"/>
                  <a:pt x="622" y="368"/>
                  <a:pt x="621" y="368"/>
                </a:cubicBezTo>
                <a:cubicBezTo>
                  <a:pt x="617" y="367"/>
                  <a:pt x="613" y="369"/>
                  <a:pt x="619" y="365"/>
                </a:cubicBezTo>
                <a:cubicBezTo>
                  <a:pt x="619" y="364"/>
                  <a:pt x="619" y="364"/>
                  <a:pt x="619" y="364"/>
                </a:cubicBezTo>
                <a:cubicBezTo>
                  <a:pt x="615" y="363"/>
                  <a:pt x="611" y="364"/>
                  <a:pt x="606" y="363"/>
                </a:cubicBezTo>
                <a:cubicBezTo>
                  <a:pt x="606" y="363"/>
                  <a:pt x="606" y="360"/>
                  <a:pt x="605" y="359"/>
                </a:cubicBezTo>
                <a:cubicBezTo>
                  <a:pt x="605" y="359"/>
                  <a:pt x="604" y="359"/>
                  <a:pt x="603" y="360"/>
                </a:cubicBezTo>
                <a:cubicBezTo>
                  <a:pt x="603" y="359"/>
                  <a:pt x="603" y="357"/>
                  <a:pt x="603" y="356"/>
                </a:cubicBezTo>
                <a:cubicBezTo>
                  <a:pt x="602" y="355"/>
                  <a:pt x="599" y="355"/>
                  <a:pt x="599" y="354"/>
                </a:cubicBezTo>
                <a:cubicBezTo>
                  <a:pt x="598" y="354"/>
                  <a:pt x="599" y="352"/>
                  <a:pt x="599" y="352"/>
                </a:cubicBezTo>
                <a:cubicBezTo>
                  <a:pt x="598" y="351"/>
                  <a:pt x="597" y="351"/>
                  <a:pt x="597" y="351"/>
                </a:cubicBezTo>
                <a:cubicBezTo>
                  <a:pt x="596" y="351"/>
                  <a:pt x="595" y="349"/>
                  <a:pt x="595" y="348"/>
                </a:cubicBezTo>
                <a:cubicBezTo>
                  <a:pt x="593" y="347"/>
                  <a:pt x="591" y="348"/>
                  <a:pt x="589" y="347"/>
                </a:cubicBezTo>
                <a:cubicBezTo>
                  <a:pt x="589" y="346"/>
                  <a:pt x="589" y="346"/>
                  <a:pt x="589" y="346"/>
                </a:cubicBezTo>
                <a:cubicBezTo>
                  <a:pt x="587" y="346"/>
                  <a:pt x="581" y="352"/>
                  <a:pt x="581" y="352"/>
                </a:cubicBezTo>
                <a:cubicBezTo>
                  <a:pt x="578" y="352"/>
                  <a:pt x="576" y="350"/>
                  <a:pt x="574" y="350"/>
                </a:cubicBezTo>
                <a:cubicBezTo>
                  <a:pt x="571" y="350"/>
                  <a:pt x="569" y="351"/>
                  <a:pt x="566" y="351"/>
                </a:cubicBezTo>
                <a:cubicBezTo>
                  <a:pt x="566" y="351"/>
                  <a:pt x="564" y="349"/>
                  <a:pt x="564" y="349"/>
                </a:cubicBezTo>
                <a:cubicBezTo>
                  <a:pt x="563" y="349"/>
                  <a:pt x="562" y="350"/>
                  <a:pt x="561" y="350"/>
                </a:cubicBezTo>
                <a:cubicBezTo>
                  <a:pt x="558" y="348"/>
                  <a:pt x="558" y="348"/>
                  <a:pt x="558" y="348"/>
                </a:cubicBezTo>
                <a:cubicBezTo>
                  <a:pt x="555" y="348"/>
                  <a:pt x="555" y="350"/>
                  <a:pt x="554" y="350"/>
                </a:cubicBezTo>
                <a:cubicBezTo>
                  <a:pt x="553" y="351"/>
                  <a:pt x="552" y="350"/>
                  <a:pt x="551" y="350"/>
                </a:cubicBezTo>
                <a:cubicBezTo>
                  <a:pt x="551" y="351"/>
                  <a:pt x="550" y="352"/>
                  <a:pt x="550" y="353"/>
                </a:cubicBezTo>
                <a:cubicBezTo>
                  <a:pt x="550" y="354"/>
                  <a:pt x="552" y="355"/>
                  <a:pt x="552" y="356"/>
                </a:cubicBezTo>
                <a:cubicBezTo>
                  <a:pt x="553" y="355"/>
                  <a:pt x="555" y="355"/>
                  <a:pt x="555" y="355"/>
                </a:cubicBezTo>
                <a:cubicBezTo>
                  <a:pt x="555" y="355"/>
                  <a:pt x="555" y="358"/>
                  <a:pt x="555" y="358"/>
                </a:cubicBezTo>
                <a:cubicBezTo>
                  <a:pt x="553" y="358"/>
                  <a:pt x="553" y="358"/>
                  <a:pt x="553" y="358"/>
                </a:cubicBezTo>
                <a:cubicBezTo>
                  <a:pt x="553" y="358"/>
                  <a:pt x="554" y="360"/>
                  <a:pt x="554" y="361"/>
                </a:cubicBezTo>
                <a:cubicBezTo>
                  <a:pt x="553" y="362"/>
                  <a:pt x="550" y="366"/>
                  <a:pt x="549" y="368"/>
                </a:cubicBezTo>
                <a:cubicBezTo>
                  <a:pt x="549" y="368"/>
                  <a:pt x="550" y="369"/>
                  <a:pt x="550" y="370"/>
                </a:cubicBezTo>
                <a:cubicBezTo>
                  <a:pt x="551" y="370"/>
                  <a:pt x="553" y="369"/>
                  <a:pt x="554" y="370"/>
                </a:cubicBezTo>
                <a:cubicBezTo>
                  <a:pt x="553" y="370"/>
                  <a:pt x="552" y="371"/>
                  <a:pt x="551" y="372"/>
                </a:cubicBezTo>
                <a:cubicBezTo>
                  <a:pt x="551" y="373"/>
                  <a:pt x="552" y="378"/>
                  <a:pt x="553" y="378"/>
                </a:cubicBezTo>
                <a:cubicBezTo>
                  <a:pt x="553" y="378"/>
                  <a:pt x="552" y="379"/>
                  <a:pt x="552" y="380"/>
                </a:cubicBezTo>
                <a:cubicBezTo>
                  <a:pt x="552" y="380"/>
                  <a:pt x="555" y="381"/>
                  <a:pt x="555" y="381"/>
                </a:cubicBezTo>
                <a:cubicBezTo>
                  <a:pt x="555" y="381"/>
                  <a:pt x="554" y="383"/>
                  <a:pt x="555" y="384"/>
                </a:cubicBezTo>
                <a:cubicBezTo>
                  <a:pt x="554" y="384"/>
                  <a:pt x="554" y="384"/>
                  <a:pt x="554" y="384"/>
                </a:cubicBezTo>
                <a:cubicBezTo>
                  <a:pt x="553" y="385"/>
                  <a:pt x="554" y="386"/>
                  <a:pt x="553" y="386"/>
                </a:cubicBezTo>
                <a:cubicBezTo>
                  <a:pt x="550" y="386"/>
                  <a:pt x="550" y="386"/>
                  <a:pt x="550" y="386"/>
                </a:cubicBezTo>
                <a:cubicBezTo>
                  <a:pt x="550" y="386"/>
                  <a:pt x="550" y="388"/>
                  <a:pt x="551" y="388"/>
                </a:cubicBezTo>
                <a:cubicBezTo>
                  <a:pt x="551" y="389"/>
                  <a:pt x="551" y="390"/>
                  <a:pt x="551" y="391"/>
                </a:cubicBezTo>
                <a:cubicBezTo>
                  <a:pt x="544" y="392"/>
                  <a:pt x="544" y="393"/>
                  <a:pt x="542" y="399"/>
                </a:cubicBezTo>
                <a:cubicBezTo>
                  <a:pt x="543" y="399"/>
                  <a:pt x="542" y="400"/>
                  <a:pt x="543" y="400"/>
                </a:cubicBezTo>
                <a:cubicBezTo>
                  <a:pt x="545" y="401"/>
                  <a:pt x="546" y="400"/>
                  <a:pt x="547" y="401"/>
                </a:cubicBezTo>
                <a:cubicBezTo>
                  <a:pt x="548" y="402"/>
                  <a:pt x="548" y="404"/>
                  <a:pt x="549" y="405"/>
                </a:cubicBezTo>
                <a:cubicBezTo>
                  <a:pt x="550" y="405"/>
                  <a:pt x="551" y="405"/>
                  <a:pt x="552" y="405"/>
                </a:cubicBezTo>
                <a:cubicBezTo>
                  <a:pt x="553" y="406"/>
                  <a:pt x="553" y="408"/>
                  <a:pt x="553" y="409"/>
                </a:cubicBezTo>
                <a:cubicBezTo>
                  <a:pt x="553" y="409"/>
                  <a:pt x="554" y="409"/>
                  <a:pt x="554" y="409"/>
                </a:cubicBezTo>
                <a:cubicBezTo>
                  <a:pt x="555" y="411"/>
                  <a:pt x="554" y="412"/>
                  <a:pt x="555" y="413"/>
                </a:cubicBezTo>
                <a:cubicBezTo>
                  <a:pt x="555" y="414"/>
                  <a:pt x="557" y="414"/>
                  <a:pt x="557" y="415"/>
                </a:cubicBezTo>
                <a:cubicBezTo>
                  <a:pt x="558" y="417"/>
                  <a:pt x="557" y="420"/>
                  <a:pt x="559" y="422"/>
                </a:cubicBezTo>
                <a:cubicBezTo>
                  <a:pt x="560" y="423"/>
                  <a:pt x="562" y="424"/>
                  <a:pt x="563" y="425"/>
                </a:cubicBezTo>
                <a:cubicBezTo>
                  <a:pt x="561" y="429"/>
                  <a:pt x="560" y="431"/>
                  <a:pt x="560" y="437"/>
                </a:cubicBezTo>
                <a:cubicBezTo>
                  <a:pt x="562" y="437"/>
                  <a:pt x="562" y="437"/>
                  <a:pt x="562" y="437"/>
                </a:cubicBezTo>
                <a:cubicBezTo>
                  <a:pt x="562" y="430"/>
                  <a:pt x="563" y="434"/>
                  <a:pt x="564" y="438"/>
                </a:cubicBezTo>
                <a:cubicBezTo>
                  <a:pt x="563" y="438"/>
                  <a:pt x="562" y="438"/>
                  <a:pt x="560" y="439"/>
                </a:cubicBezTo>
                <a:cubicBezTo>
                  <a:pt x="559" y="440"/>
                  <a:pt x="559" y="441"/>
                  <a:pt x="559" y="442"/>
                </a:cubicBezTo>
                <a:cubicBezTo>
                  <a:pt x="558" y="443"/>
                  <a:pt x="556" y="444"/>
                  <a:pt x="555" y="445"/>
                </a:cubicBezTo>
                <a:cubicBezTo>
                  <a:pt x="554" y="447"/>
                  <a:pt x="554" y="448"/>
                  <a:pt x="554" y="449"/>
                </a:cubicBezTo>
                <a:cubicBezTo>
                  <a:pt x="553" y="450"/>
                  <a:pt x="550" y="451"/>
                  <a:pt x="549" y="452"/>
                </a:cubicBezTo>
                <a:cubicBezTo>
                  <a:pt x="549" y="452"/>
                  <a:pt x="548" y="454"/>
                  <a:pt x="548" y="454"/>
                </a:cubicBezTo>
                <a:cubicBezTo>
                  <a:pt x="547" y="455"/>
                  <a:pt x="546" y="454"/>
                  <a:pt x="545" y="455"/>
                </a:cubicBezTo>
                <a:cubicBezTo>
                  <a:pt x="544" y="455"/>
                  <a:pt x="544" y="456"/>
                  <a:pt x="544" y="457"/>
                </a:cubicBezTo>
                <a:cubicBezTo>
                  <a:pt x="542" y="458"/>
                  <a:pt x="540" y="457"/>
                  <a:pt x="538" y="459"/>
                </a:cubicBezTo>
                <a:cubicBezTo>
                  <a:pt x="538" y="459"/>
                  <a:pt x="538" y="459"/>
                  <a:pt x="538" y="459"/>
                </a:cubicBezTo>
                <a:cubicBezTo>
                  <a:pt x="537" y="461"/>
                  <a:pt x="537" y="467"/>
                  <a:pt x="538" y="468"/>
                </a:cubicBezTo>
                <a:cubicBezTo>
                  <a:pt x="542" y="471"/>
                  <a:pt x="542" y="471"/>
                  <a:pt x="542" y="471"/>
                </a:cubicBezTo>
                <a:cubicBezTo>
                  <a:pt x="543" y="475"/>
                  <a:pt x="541" y="480"/>
                  <a:pt x="542" y="484"/>
                </a:cubicBezTo>
                <a:cubicBezTo>
                  <a:pt x="542" y="484"/>
                  <a:pt x="543" y="485"/>
                  <a:pt x="543" y="485"/>
                </a:cubicBezTo>
                <a:cubicBezTo>
                  <a:pt x="544" y="487"/>
                  <a:pt x="541" y="487"/>
                  <a:pt x="544" y="489"/>
                </a:cubicBezTo>
                <a:cubicBezTo>
                  <a:pt x="544" y="489"/>
                  <a:pt x="546" y="490"/>
                  <a:pt x="544" y="490"/>
                </a:cubicBezTo>
                <a:cubicBezTo>
                  <a:pt x="541" y="496"/>
                  <a:pt x="541" y="496"/>
                  <a:pt x="541" y="496"/>
                </a:cubicBezTo>
                <a:cubicBezTo>
                  <a:pt x="541" y="497"/>
                  <a:pt x="541" y="499"/>
                  <a:pt x="542" y="499"/>
                </a:cubicBezTo>
                <a:cubicBezTo>
                  <a:pt x="542" y="500"/>
                  <a:pt x="542" y="500"/>
                  <a:pt x="542" y="500"/>
                </a:cubicBezTo>
                <a:cubicBezTo>
                  <a:pt x="540" y="501"/>
                  <a:pt x="539" y="499"/>
                  <a:pt x="538" y="500"/>
                </a:cubicBezTo>
                <a:cubicBezTo>
                  <a:pt x="537" y="500"/>
                  <a:pt x="537" y="502"/>
                  <a:pt x="536" y="502"/>
                </a:cubicBezTo>
                <a:cubicBezTo>
                  <a:pt x="535" y="503"/>
                  <a:pt x="536" y="502"/>
                  <a:pt x="536" y="504"/>
                </a:cubicBezTo>
                <a:cubicBezTo>
                  <a:pt x="532" y="503"/>
                  <a:pt x="530" y="504"/>
                  <a:pt x="527" y="503"/>
                </a:cubicBezTo>
                <a:cubicBezTo>
                  <a:pt x="527" y="502"/>
                  <a:pt x="527" y="502"/>
                  <a:pt x="528" y="502"/>
                </a:cubicBezTo>
                <a:cubicBezTo>
                  <a:pt x="528" y="501"/>
                  <a:pt x="525" y="498"/>
                  <a:pt x="524" y="498"/>
                </a:cubicBezTo>
                <a:cubicBezTo>
                  <a:pt x="524" y="498"/>
                  <a:pt x="518" y="493"/>
                  <a:pt x="518" y="493"/>
                </a:cubicBezTo>
                <a:cubicBezTo>
                  <a:pt x="518" y="492"/>
                  <a:pt x="520" y="492"/>
                  <a:pt x="520" y="491"/>
                </a:cubicBezTo>
                <a:cubicBezTo>
                  <a:pt x="520" y="490"/>
                  <a:pt x="517" y="484"/>
                  <a:pt x="516" y="484"/>
                </a:cubicBezTo>
                <a:cubicBezTo>
                  <a:pt x="515" y="484"/>
                  <a:pt x="514" y="484"/>
                  <a:pt x="514" y="484"/>
                </a:cubicBezTo>
                <a:cubicBezTo>
                  <a:pt x="514" y="482"/>
                  <a:pt x="515" y="471"/>
                  <a:pt x="514" y="469"/>
                </a:cubicBezTo>
                <a:cubicBezTo>
                  <a:pt x="514" y="468"/>
                  <a:pt x="512" y="467"/>
                  <a:pt x="512" y="467"/>
                </a:cubicBezTo>
                <a:cubicBezTo>
                  <a:pt x="512" y="465"/>
                  <a:pt x="514" y="462"/>
                  <a:pt x="514" y="461"/>
                </a:cubicBezTo>
                <a:cubicBezTo>
                  <a:pt x="515" y="459"/>
                  <a:pt x="514" y="457"/>
                  <a:pt x="514" y="455"/>
                </a:cubicBezTo>
                <a:cubicBezTo>
                  <a:pt x="513" y="454"/>
                  <a:pt x="508" y="452"/>
                  <a:pt x="508" y="452"/>
                </a:cubicBezTo>
                <a:cubicBezTo>
                  <a:pt x="506" y="452"/>
                  <a:pt x="506" y="453"/>
                  <a:pt x="504" y="453"/>
                </a:cubicBezTo>
                <a:cubicBezTo>
                  <a:pt x="504" y="453"/>
                  <a:pt x="502" y="451"/>
                  <a:pt x="502" y="451"/>
                </a:cubicBezTo>
                <a:cubicBezTo>
                  <a:pt x="498" y="450"/>
                  <a:pt x="495" y="452"/>
                  <a:pt x="491" y="451"/>
                </a:cubicBezTo>
                <a:cubicBezTo>
                  <a:pt x="491" y="451"/>
                  <a:pt x="489" y="450"/>
                  <a:pt x="488" y="449"/>
                </a:cubicBezTo>
                <a:cubicBezTo>
                  <a:pt x="488" y="448"/>
                  <a:pt x="488" y="448"/>
                  <a:pt x="488" y="448"/>
                </a:cubicBezTo>
                <a:cubicBezTo>
                  <a:pt x="486" y="447"/>
                  <a:pt x="485" y="448"/>
                  <a:pt x="483" y="447"/>
                </a:cubicBezTo>
                <a:cubicBezTo>
                  <a:pt x="483" y="447"/>
                  <a:pt x="482" y="445"/>
                  <a:pt x="482" y="445"/>
                </a:cubicBezTo>
                <a:cubicBezTo>
                  <a:pt x="480" y="444"/>
                  <a:pt x="479" y="446"/>
                  <a:pt x="476" y="445"/>
                </a:cubicBezTo>
                <a:cubicBezTo>
                  <a:pt x="474" y="444"/>
                  <a:pt x="473" y="441"/>
                  <a:pt x="472" y="441"/>
                </a:cubicBezTo>
                <a:cubicBezTo>
                  <a:pt x="470" y="440"/>
                  <a:pt x="469" y="441"/>
                  <a:pt x="466" y="441"/>
                </a:cubicBezTo>
                <a:cubicBezTo>
                  <a:pt x="466" y="439"/>
                  <a:pt x="467" y="438"/>
                  <a:pt x="466" y="437"/>
                </a:cubicBezTo>
                <a:cubicBezTo>
                  <a:pt x="466" y="436"/>
                  <a:pt x="464" y="435"/>
                  <a:pt x="464" y="433"/>
                </a:cubicBezTo>
                <a:cubicBezTo>
                  <a:pt x="464" y="433"/>
                  <a:pt x="464" y="432"/>
                  <a:pt x="464" y="431"/>
                </a:cubicBezTo>
                <a:cubicBezTo>
                  <a:pt x="463" y="430"/>
                  <a:pt x="460" y="431"/>
                  <a:pt x="459" y="431"/>
                </a:cubicBezTo>
                <a:cubicBezTo>
                  <a:pt x="458" y="430"/>
                  <a:pt x="457" y="428"/>
                  <a:pt x="456" y="427"/>
                </a:cubicBezTo>
                <a:cubicBezTo>
                  <a:pt x="455" y="427"/>
                  <a:pt x="454" y="428"/>
                  <a:pt x="453" y="427"/>
                </a:cubicBezTo>
                <a:cubicBezTo>
                  <a:pt x="451" y="427"/>
                  <a:pt x="449" y="425"/>
                  <a:pt x="448" y="424"/>
                </a:cubicBezTo>
                <a:cubicBezTo>
                  <a:pt x="447" y="424"/>
                  <a:pt x="445" y="424"/>
                  <a:pt x="445" y="424"/>
                </a:cubicBezTo>
                <a:cubicBezTo>
                  <a:pt x="443" y="424"/>
                  <a:pt x="441" y="420"/>
                  <a:pt x="440" y="420"/>
                </a:cubicBezTo>
                <a:cubicBezTo>
                  <a:pt x="436" y="419"/>
                  <a:pt x="430" y="423"/>
                  <a:pt x="427" y="423"/>
                </a:cubicBezTo>
                <a:cubicBezTo>
                  <a:pt x="427" y="421"/>
                  <a:pt x="427" y="418"/>
                  <a:pt x="426" y="415"/>
                </a:cubicBezTo>
                <a:cubicBezTo>
                  <a:pt x="426" y="415"/>
                  <a:pt x="424" y="413"/>
                  <a:pt x="423" y="412"/>
                </a:cubicBezTo>
                <a:cubicBezTo>
                  <a:pt x="423" y="411"/>
                  <a:pt x="424" y="409"/>
                  <a:pt x="423" y="408"/>
                </a:cubicBezTo>
                <a:cubicBezTo>
                  <a:pt x="423" y="408"/>
                  <a:pt x="421" y="407"/>
                  <a:pt x="421" y="407"/>
                </a:cubicBezTo>
                <a:cubicBezTo>
                  <a:pt x="421" y="406"/>
                  <a:pt x="421" y="405"/>
                  <a:pt x="421" y="405"/>
                </a:cubicBezTo>
                <a:cubicBezTo>
                  <a:pt x="421" y="403"/>
                  <a:pt x="419" y="401"/>
                  <a:pt x="418" y="399"/>
                </a:cubicBezTo>
                <a:cubicBezTo>
                  <a:pt x="413" y="400"/>
                  <a:pt x="406" y="401"/>
                  <a:pt x="405" y="398"/>
                </a:cubicBezTo>
                <a:cubicBezTo>
                  <a:pt x="404" y="396"/>
                  <a:pt x="405" y="393"/>
                  <a:pt x="404" y="391"/>
                </a:cubicBezTo>
                <a:cubicBezTo>
                  <a:pt x="404" y="391"/>
                  <a:pt x="401" y="388"/>
                  <a:pt x="401" y="388"/>
                </a:cubicBezTo>
                <a:cubicBezTo>
                  <a:pt x="402" y="388"/>
                  <a:pt x="403" y="387"/>
                  <a:pt x="403" y="387"/>
                </a:cubicBezTo>
                <a:cubicBezTo>
                  <a:pt x="404" y="385"/>
                  <a:pt x="403" y="383"/>
                  <a:pt x="403" y="381"/>
                </a:cubicBezTo>
                <a:cubicBezTo>
                  <a:pt x="404" y="380"/>
                  <a:pt x="407" y="377"/>
                  <a:pt x="407" y="377"/>
                </a:cubicBezTo>
                <a:cubicBezTo>
                  <a:pt x="408" y="376"/>
                  <a:pt x="407" y="375"/>
                  <a:pt x="407" y="374"/>
                </a:cubicBezTo>
                <a:cubicBezTo>
                  <a:pt x="406" y="374"/>
                  <a:pt x="406" y="374"/>
                  <a:pt x="405" y="374"/>
                </a:cubicBezTo>
                <a:cubicBezTo>
                  <a:pt x="406" y="373"/>
                  <a:pt x="406" y="372"/>
                  <a:pt x="406" y="372"/>
                </a:cubicBezTo>
                <a:cubicBezTo>
                  <a:pt x="408" y="372"/>
                  <a:pt x="410" y="372"/>
                  <a:pt x="412" y="372"/>
                </a:cubicBezTo>
                <a:cubicBezTo>
                  <a:pt x="412" y="370"/>
                  <a:pt x="410" y="369"/>
                  <a:pt x="411" y="367"/>
                </a:cubicBezTo>
                <a:cubicBezTo>
                  <a:pt x="411" y="366"/>
                  <a:pt x="417" y="362"/>
                  <a:pt x="417" y="362"/>
                </a:cubicBezTo>
                <a:cubicBezTo>
                  <a:pt x="417" y="362"/>
                  <a:pt x="416" y="360"/>
                  <a:pt x="417" y="360"/>
                </a:cubicBezTo>
                <a:cubicBezTo>
                  <a:pt x="417" y="359"/>
                  <a:pt x="421" y="359"/>
                  <a:pt x="421" y="359"/>
                </a:cubicBezTo>
                <a:cubicBezTo>
                  <a:pt x="421" y="357"/>
                  <a:pt x="422" y="356"/>
                  <a:pt x="422" y="353"/>
                </a:cubicBezTo>
                <a:cubicBezTo>
                  <a:pt x="422" y="353"/>
                  <a:pt x="424" y="353"/>
                  <a:pt x="425" y="353"/>
                </a:cubicBezTo>
                <a:cubicBezTo>
                  <a:pt x="425" y="353"/>
                  <a:pt x="425" y="351"/>
                  <a:pt x="425" y="350"/>
                </a:cubicBezTo>
                <a:cubicBezTo>
                  <a:pt x="425" y="350"/>
                  <a:pt x="427" y="350"/>
                  <a:pt x="426" y="351"/>
                </a:cubicBezTo>
                <a:cubicBezTo>
                  <a:pt x="427" y="351"/>
                  <a:pt x="429" y="351"/>
                  <a:pt x="430" y="351"/>
                </a:cubicBezTo>
                <a:cubicBezTo>
                  <a:pt x="429" y="351"/>
                  <a:pt x="430" y="349"/>
                  <a:pt x="428" y="350"/>
                </a:cubicBezTo>
                <a:cubicBezTo>
                  <a:pt x="428" y="349"/>
                  <a:pt x="427" y="348"/>
                  <a:pt x="427" y="348"/>
                </a:cubicBezTo>
                <a:cubicBezTo>
                  <a:pt x="428" y="348"/>
                  <a:pt x="430" y="348"/>
                  <a:pt x="431" y="348"/>
                </a:cubicBezTo>
                <a:cubicBezTo>
                  <a:pt x="431" y="348"/>
                  <a:pt x="433" y="345"/>
                  <a:pt x="430" y="346"/>
                </a:cubicBezTo>
                <a:cubicBezTo>
                  <a:pt x="430" y="344"/>
                  <a:pt x="430" y="344"/>
                  <a:pt x="430" y="344"/>
                </a:cubicBezTo>
                <a:cubicBezTo>
                  <a:pt x="435" y="346"/>
                  <a:pt x="436" y="346"/>
                  <a:pt x="441" y="344"/>
                </a:cubicBezTo>
                <a:cubicBezTo>
                  <a:pt x="441" y="343"/>
                  <a:pt x="442" y="344"/>
                  <a:pt x="443" y="343"/>
                </a:cubicBezTo>
                <a:cubicBezTo>
                  <a:pt x="443" y="343"/>
                  <a:pt x="443" y="341"/>
                  <a:pt x="443" y="341"/>
                </a:cubicBezTo>
                <a:cubicBezTo>
                  <a:pt x="443" y="341"/>
                  <a:pt x="443" y="339"/>
                  <a:pt x="443" y="338"/>
                </a:cubicBezTo>
                <a:cubicBezTo>
                  <a:pt x="442" y="338"/>
                  <a:pt x="440" y="338"/>
                  <a:pt x="440" y="338"/>
                </a:cubicBezTo>
                <a:cubicBezTo>
                  <a:pt x="439" y="337"/>
                  <a:pt x="440" y="335"/>
                  <a:pt x="440" y="334"/>
                </a:cubicBezTo>
                <a:cubicBezTo>
                  <a:pt x="438" y="333"/>
                  <a:pt x="443" y="334"/>
                  <a:pt x="444" y="334"/>
                </a:cubicBezTo>
                <a:cubicBezTo>
                  <a:pt x="445" y="332"/>
                  <a:pt x="445" y="332"/>
                  <a:pt x="445" y="332"/>
                </a:cubicBezTo>
                <a:cubicBezTo>
                  <a:pt x="446" y="332"/>
                  <a:pt x="446" y="332"/>
                  <a:pt x="446" y="332"/>
                </a:cubicBezTo>
                <a:cubicBezTo>
                  <a:pt x="446" y="331"/>
                  <a:pt x="446" y="330"/>
                  <a:pt x="447" y="329"/>
                </a:cubicBezTo>
                <a:cubicBezTo>
                  <a:pt x="444" y="328"/>
                  <a:pt x="445" y="327"/>
                  <a:pt x="446" y="324"/>
                </a:cubicBezTo>
                <a:cubicBezTo>
                  <a:pt x="447" y="324"/>
                  <a:pt x="448" y="324"/>
                  <a:pt x="451" y="324"/>
                </a:cubicBezTo>
                <a:cubicBezTo>
                  <a:pt x="451" y="323"/>
                  <a:pt x="450" y="321"/>
                  <a:pt x="451" y="321"/>
                </a:cubicBezTo>
                <a:cubicBezTo>
                  <a:pt x="452" y="321"/>
                  <a:pt x="459" y="323"/>
                  <a:pt x="459" y="323"/>
                </a:cubicBezTo>
                <a:cubicBezTo>
                  <a:pt x="460" y="323"/>
                  <a:pt x="459" y="325"/>
                  <a:pt x="461" y="325"/>
                </a:cubicBezTo>
                <a:cubicBezTo>
                  <a:pt x="461" y="323"/>
                  <a:pt x="461" y="323"/>
                  <a:pt x="461" y="323"/>
                </a:cubicBezTo>
                <a:cubicBezTo>
                  <a:pt x="462" y="322"/>
                  <a:pt x="464" y="323"/>
                  <a:pt x="465" y="322"/>
                </a:cubicBezTo>
                <a:cubicBezTo>
                  <a:pt x="466" y="322"/>
                  <a:pt x="468" y="320"/>
                  <a:pt x="469" y="320"/>
                </a:cubicBezTo>
                <a:cubicBezTo>
                  <a:pt x="468" y="314"/>
                  <a:pt x="469" y="312"/>
                  <a:pt x="472" y="310"/>
                </a:cubicBezTo>
                <a:cubicBezTo>
                  <a:pt x="468" y="309"/>
                  <a:pt x="465" y="307"/>
                  <a:pt x="461" y="307"/>
                </a:cubicBezTo>
                <a:cubicBezTo>
                  <a:pt x="455" y="307"/>
                  <a:pt x="447" y="308"/>
                  <a:pt x="443" y="308"/>
                </a:cubicBezTo>
                <a:cubicBezTo>
                  <a:pt x="443" y="308"/>
                  <a:pt x="443" y="306"/>
                  <a:pt x="443" y="306"/>
                </a:cubicBezTo>
                <a:cubicBezTo>
                  <a:pt x="445" y="306"/>
                  <a:pt x="446" y="307"/>
                  <a:pt x="447" y="306"/>
                </a:cubicBezTo>
                <a:cubicBezTo>
                  <a:pt x="448" y="306"/>
                  <a:pt x="451" y="305"/>
                  <a:pt x="452" y="305"/>
                </a:cubicBezTo>
                <a:cubicBezTo>
                  <a:pt x="452" y="304"/>
                  <a:pt x="452" y="304"/>
                  <a:pt x="452" y="304"/>
                </a:cubicBezTo>
                <a:cubicBezTo>
                  <a:pt x="451" y="304"/>
                  <a:pt x="449" y="303"/>
                  <a:pt x="451" y="303"/>
                </a:cubicBezTo>
                <a:cubicBezTo>
                  <a:pt x="451" y="302"/>
                  <a:pt x="451" y="301"/>
                  <a:pt x="451" y="300"/>
                </a:cubicBezTo>
                <a:cubicBezTo>
                  <a:pt x="453" y="301"/>
                  <a:pt x="455" y="303"/>
                  <a:pt x="458" y="302"/>
                </a:cubicBezTo>
                <a:cubicBezTo>
                  <a:pt x="459" y="302"/>
                  <a:pt x="458" y="301"/>
                  <a:pt x="461" y="301"/>
                </a:cubicBezTo>
                <a:cubicBezTo>
                  <a:pt x="461" y="301"/>
                  <a:pt x="463" y="303"/>
                  <a:pt x="464" y="303"/>
                </a:cubicBezTo>
                <a:cubicBezTo>
                  <a:pt x="465" y="303"/>
                  <a:pt x="466" y="302"/>
                  <a:pt x="467" y="302"/>
                </a:cubicBezTo>
                <a:cubicBezTo>
                  <a:pt x="468" y="303"/>
                  <a:pt x="472" y="307"/>
                  <a:pt x="474" y="308"/>
                </a:cubicBezTo>
                <a:cubicBezTo>
                  <a:pt x="474" y="308"/>
                  <a:pt x="475" y="307"/>
                  <a:pt x="476" y="307"/>
                </a:cubicBezTo>
                <a:cubicBezTo>
                  <a:pt x="476" y="306"/>
                  <a:pt x="475" y="306"/>
                  <a:pt x="476" y="304"/>
                </a:cubicBezTo>
                <a:cubicBezTo>
                  <a:pt x="477" y="302"/>
                  <a:pt x="480" y="302"/>
                  <a:pt x="479" y="297"/>
                </a:cubicBezTo>
                <a:cubicBezTo>
                  <a:pt x="479" y="296"/>
                  <a:pt x="476" y="294"/>
                  <a:pt x="476" y="294"/>
                </a:cubicBezTo>
                <a:cubicBezTo>
                  <a:pt x="477" y="294"/>
                  <a:pt x="484" y="292"/>
                  <a:pt x="484" y="292"/>
                </a:cubicBezTo>
                <a:cubicBezTo>
                  <a:pt x="484" y="292"/>
                  <a:pt x="490" y="297"/>
                  <a:pt x="490" y="298"/>
                </a:cubicBezTo>
                <a:cubicBezTo>
                  <a:pt x="490" y="298"/>
                  <a:pt x="493" y="298"/>
                  <a:pt x="494" y="298"/>
                </a:cubicBezTo>
                <a:cubicBezTo>
                  <a:pt x="494" y="297"/>
                  <a:pt x="494" y="297"/>
                  <a:pt x="494" y="297"/>
                </a:cubicBezTo>
                <a:cubicBezTo>
                  <a:pt x="496" y="297"/>
                  <a:pt x="497" y="296"/>
                  <a:pt x="499" y="296"/>
                </a:cubicBezTo>
                <a:cubicBezTo>
                  <a:pt x="499" y="296"/>
                  <a:pt x="498" y="295"/>
                  <a:pt x="498" y="294"/>
                </a:cubicBezTo>
                <a:cubicBezTo>
                  <a:pt x="498" y="294"/>
                  <a:pt x="497" y="295"/>
                  <a:pt x="496" y="294"/>
                </a:cubicBezTo>
                <a:cubicBezTo>
                  <a:pt x="496" y="293"/>
                  <a:pt x="496" y="293"/>
                  <a:pt x="496" y="293"/>
                </a:cubicBezTo>
                <a:cubicBezTo>
                  <a:pt x="496" y="292"/>
                  <a:pt x="495" y="293"/>
                  <a:pt x="494" y="292"/>
                </a:cubicBezTo>
                <a:cubicBezTo>
                  <a:pt x="494" y="292"/>
                  <a:pt x="493" y="291"/>
                  <a:pt x="493" y="290"/>
                </a:cubicBezTo>
                <a:cubicBezTo>
                  <a:pt x="492" y="289"/>
                  <a:pt x="492" y="290"/>
                  <a:pt x="492" y="288"/>
                </a:cubicBezTo>
                <a:cubicBezTo>
                  <a:pt x="491" y="288"/>
                  <a:pt x="490" y="289"/>
                  <a:pt x="489" y="288"/>
                </a:cubicBezTo>
                <a:cubicBezTo>
                  <a:pt x="490" y="288"/>
                  <a:pt x="488" y="289"/>
                  <a:pt x="491" y="286"/>
                </a:cubicBezTo>
                <a:cubicBezTo>
                  <a:pt x="490" y="286"/>
                  <a:pt x="492" y="286"/>
                  <a:pt x="492" y="286"/>
                </a:cubicBezTo>
                <a:cubicBezTo>
                  <a:pt x="493" y="286"/>
                  <a:pt x="493" y="288"/>
                  <a:pt x="494" y="288"/>
                </a:cubicBezTo>
                <a:cubicBezTo>
                  <a:pt x="495" y="288"/>
                  <a:pt x="495" y="287"/>
                  <a:pt x="496" y="287"/>
                </a:cubicBezTo>
                <a:cubicBezTo>
                  <a:pt x="497" y="288"/>
                  <a:pt x="496" y="290"/>
                  <a:pt x="497" y="291"/>
                </a:cubicBezTo>
                <a:cubicBezTo>
                  <a:pt x="498" y="292"/>
                  <a:pt x="499" y="291"/>
                  <a:pt x="500" y="292"/>
                </a:cubicBezTo>
                <a:cubicBezTo>
                  <a:pt x="501" y="292"/>
                  <a:pt x="501" y="294"/>
                  <a:pt x="502" y="294"/>
                </a:cubicBezTo>
                <a:cubicBezTo>
                  <a:pt x="503" y="294"/>
                  <a:pt x="503" y="294"/>
                  <a:pt x="503" y="294"/>
                </a:cubicBezTo>
                <a:cubicBezTo>
                  <a:pt x="503" y="294"/>
                  <a:pt x="507" y="289"/>
                  <a:pt x="508" y="288"/>
                </a:cubicBezTo>
                <a:cubicBezTo>
                  <a:pt x="508" y="288"/>
                  <a:pt x="508" y="288"/>
                  <a:pt x="508" y="288"/>
                </a:cubicBezTo>
                <a:cubicBezTo>
                  <a:pt x="509" y="287"/>
                  <a:pt x="511" y="288"/>
                  <a:pt x="512" y="287"/>
                </a:cubicBezTo>
                <a:cubicBezTo>
                  <a:pt x="513" y="287"/>
                  <a:pt x="516" y="284"/>
                  <a:pt x="518" y="283"/>
                </a:cubicBezTo>
                <a:cubicBezTo>
                  <a:pt x="520" y="282"/>
                  <a:pt x="520" y="284"/>
                  <a:pt x="522" y="283"/>
                </a:cubicBezTo>
                <a:cubicBezTo>
                  <a:pt x="524" y="282"/>
                  <a:pt x="527" y="278"/>
                  <a:pt x="526" y="275"/>
                </a:cubicBezTo>
                <a:cubicBezTo>
                  <a:pt x="525" y="273"/>
                  <a:pt x="525" y="273"/>
                  <a:pt x="525" y="273"/>
                </a:cubicBezTo>
                <a:cubicBezTo>
                  <a:pt x="523" y="269"/>
                  <a:pt x="523" y="272"/>
                  <a:pt x="520" y="271"/>
                </a:cubicBezTo>
                <a:cubicBezTo>
                  <a:pt x="519" y="270"/>
                  <a:pt x="516" y="265"/>
                  <a:pt x="516" y="264"/>
                </a:cubicBezTo>
                <a:cubicBezTo>
                  <a:pt x="517" y="263"/>
                  <a:pt x="514" y="260"/>
                  <a:pt x="516" y="258"/>
                </a:cubicBezTo>
                <a:cubicBezTo>
                  <a:pt x="517" y="257"/>
                  <a:pt x="519" y="257"/>
                  <a:pt x="520" y="257"/>
                </a:cubicBezTo>
                <a:cubicBezTo>
                  <a:pt x="521" y="254"/>
                  <a:pt x="521" y="254"/>
                  <a:pt x="521" y="254"/>
                </a:cubicBezTo>
                <a:cubicBezTo>
                  <a:pt x="520" y="254"/>
                  <a:pt x="518" y="254"/>
                  <a:pt x="518" y="254"/>
                </a:cubicBezTo>
                <a:cubicBezTo>
                  <a:pt x="518" y="253"/>
                  <a:pt x="517" y="254"/>
                  <a:pt x="517" y="252"/>
                </a:cubicBezTo>
                <a:cubicBezTo>
                  <a:pt x="517" y="252"/>
                  <a:pt x="526" y="244"/>
                  <a:pt x="521" y="243"/>
                </a:cubicBezTo>
                <a:cubicBezTo>
                  <a:pt x="520" y="242"/>
                  <a:pt x="516" y="244"/>
                  <a:pt x="514" y="244"/>
                </a:cubicBezTo>
                <a:cubicBezTo>
                  <a:pt x="513" y="242"/>
                  <a:pt x="511" y="239"/>
                  <a:pt x="514" y="239"/>
                </a:cubicBezTo>
                <a:cubicBezTo>
                  <a:pt x="512" y="238"/>
                  <a:pt x="511" y="238"/>
                  <a:pt x="510" y="237"/>
                </a:cubicBezTo>
                <a:cubicBezTo>
                  <a:pt x="510" y="236"/>
                  <a:pt x="511" y="236"/>
                  <a:pt x="510" y="235"/>
                </a:cubicBezTo>
                <a:cubicBezTo>
                  <a:pt x="508" y="234"/>
                  <a:pt x="506" y="234"/>
                  <a:pt x="504" y="234"/>
                </a:cubicBezTo>
                <a:cubicBezTo>
                  <a:pt x="503" y="235"/>
                  <a:pt x="503" y="236"/>
                  <a:pt x="502" y="236"/>
                </a:cubicBezTo>
                <a:cubicBezTo>
                  <a:pt x="502" y="236"/>
                  <a:pt x="500" y="234"/>
                  <a:pt x="500" y="234"/>
                </a:cubicBezTo>
                <a:cubicBezTo>
                  <a:pt x="496" y="232"/>
                  <a:pt x="493" y="233"/>
                  <a:pt x="488" y="233"/>
                </a:cubicBezTo>
                <a:cubicBezTo>
                  <a:pt x="488" y="234"/>
                  <a:pt x="490" y="234"/>
                  <a:pt x="490" y="235"/>
                </a:cubicBezTo>
                <a:cubicBezTo>
                  <a:pt x="490" y="235"/>
                  <a:pt x="489" y="241"/>
                  <a:pt x="490" y="244"/>
                </a:cubicBezTo>
                <a:cubicBezTo>
                  <a:pt x="492" y="245"/>
                  <a:pt x="492" y="245"/>
                  <a:pt x="492" y="245"/>
                </a:cubicBezTo>
                <a:cubicBezTo>
                  <a:pt x="493" y="246"/>
                  <a:pt x="494" y="247"/>
                  <a:pt x="494" y="247"/>
                </a:cubicBezTo>
                <a:cubicBezTo>
                  <a:pt x="493" y="247"/>
                  <a:pt x="493" y="249"/>
                  <a:pt x="493" y="249"/>
                </a:cubicBezTo>
                <a:cubicBezTo>
                  <a:pt x="493" y="250"/>
                  <a:pt x="494" y="250"/>
                  <a:pt x="494" y="251"/>
                </a:cubicBezTo>
                <a:cubicBezTo>
                  <a:pt x="494" y="251"/>
                  <a:pt x="493" y="250"/>
                  <a:pt x="492" y="251"/>
                </a:cubicBezTo>
                <a:cubicBezTo>
                  <a:pt x="492" y="252"/>
                  <a:pt x="492" y="252"/>
                  <a:pt x="492" y="252"/>
                </a:cubicBezTo>
                <a:cubicBezTo>
                  <a:pt x="494" y="252"/>
                  <a:pt x="492" y="253"/>
                  <a:pt x="492" y="253"/>
                </a:cubicBezTo>
                <a:cubicBezTo>
                  <a:pt x="492" y="253"/>
                  <a:pt x="489" y="253"/>
                  <a:pt x="488" y="253"/>
                </a:cubicBezTo>
                <a:cubicBezTo>
                  <a:pt x="487" y="255"/>
                  <a:pt x="487" y="258"/>
                  <a:pt x="486" y="260"/>
                </a:cubicBezTo>
                <a:cubicBezTo>
                  <a:pt x="486" y="260"/>
                  <a:pt x="485" y="261"/>
                  <a:pt x="485" y="261"/>
                </a:cubicBezTo>
                <a:cubicBezTo>
                  <a:pt x="485" y="262"/>
                  <a:pt x="486" y="262"/>
                  <a:pt x="486" y="263"/>
                </a:cubicBezTo>
                <a:cubicBezTo>
                  <a:pt x="486" y="263"/>
                  <a:pt x="484" y="264"/>
                  <a:pt x="484" y="264"/>
                </a:cubicBezTo>
                <a:cubicBezTo>
                  <a:pt x="483" y="264"/>
                  <a:pt x="483" y="266"/>
                  <a:pt x="483" y="267"/>
                </a:cubicBezTo>
                <a:cubicBezTo>
                  <a:pt x="482" y="268"/>
                  <a:pt x="478" y="270"/>
                  <a:pt x="479" y="274"/>
                </a:cubicBezTo>
                <a:cubicBezTo>
                  <a:pt x="479" y="274"/>
                  <a:pt x="480" y="275"/>
                  <a:pt x="480" y="276"/>
                </a:cubicBezTo>
                <a:cubicBezTo>
                  <a:pt x="478" y="277"/>
                  <a:pt x="477" y="277"/>
                  <a:pt x="474" y="278"/>
                </a:cubicBezTo>
                <a:cubicBezTo>
                  <a:pt x="475" y="278"/>
                  <a:pt x="475" y="280"/>
                  <a:pt x="475" y="281"/>
                </a:cubicBezTo>
                <a:cubicBezTo>
                  <a:pt x="473" y="281"/>
                  <a:pt x="473" y="279"/>
                  <a:pt x="472" y="279"/>
                </a:cubicBezTo>
                <a:cubicBezTo>
                  <a:pt x="471" y="279"/>
                  <a:pt x="471" y="279"/>
                  <a:pt x="469" y="280"/>
                </a:cubicBezTo>
                <a:cubicBezTo>
                  <a:pt x="468" y="278"/>
                  <a:pt x="467" y="274"/>
                  <a:pt x="466" y="273"/>
                </a:cubicBezTo>
                <a:cubicBezTo>
                  <a:pt x="465" y="272"/>
                  <a:pt x="463" y="272"/>
                  <a:pt x="463" y="272"/>
                </a:cubicBezTo>
                <a:cubicBezTo>
                  <a:pt x="462" y="271"/>
                  <a:pt x="459" y="265"/>
                  <a:pt x="459" y="264"/>
                </a:cubicBezTo>
                <a:cubicBezTo>
                  <a:pt x="460" y="263"/>
                  <a:pt x="460" y="261"/>
                  <a:pt x="462" y="261"/>
                </a:cubicBezTo>
                <a:cubicBezTo>
                  <a:pt x="463" y="261"/>
                  <a:pt x="463" y="261"/>
                  <a:pt x="463" y="261"/>
                </a:cubicBezTo>
                <a:cubicBezTo>
                  <a:pt x="463" y="259"/>
                  <a:pt x="462" y="257"/>
                  <a:pt x="463" y="255"/>
                </a:cubicBezTo>
                <a:cubicBezTo>
                  <a:pt x="463" y="255"/>
                  <a:pt x="464" y="254"/>
                  <a:pt x="464" y="253"/>
                </a:cubicBezTo>
                <a:cubicBezTo>
                  <a:pt x="466" y="251"/>
                  <a:pt x="466" y="251"/>
                  <a:pt x="466" y="251"/>
                </a:cubicBezTo>
                <a:cubicBezTo>
                  <a:pt x="466" y="250"/>
                  <a:pt x="465" y="248"/>
                  <a:pt x="465" y="248"/>
                </a:cubicBezTo>
                <a:cubicBezTo>
                  <a:pt x="464" y="246"/>
                  <a:pt x="463" y="243"/>
                  <a:pt x="462" y="241"/>
                </a:cubicBezTo>
                <a:cubicBezTo>
                  <a:pt x="460" y="242"/>
                  <a:pt x="455" y="243"/>
                  <a:pt x="454" y="245"/>
                </a:cubicBezTo>
                <a:cubicBezTo>
                  <a:pt x="453" y="246"/>
                  <a:pt x="453" y="250"/>
                  <a:pt x="453" y="251"/>
                </a:cubicBezTo>
                <a:cubicBezTo>
                  <a:pt x="454" y="251"/>
                  <a:pt x="453" y="255"/>
                  <a:pt x="453" y="257"/>
                </a:cubicBezTo>
                <a:cubicBezTo>
                  <a:pt x="452" y="257"/>
                  <a:pt x="452" y="256"/>
                  <a:pt x="451" y="257"/>
                </a:cubicBezTo>
                <a:cubicBezTo>
                  <a:pt x="449" y="258"/>
                  <a:pt x="449" y="258"/>
                  <a:pt x="449" y="258"/>
                </a:cubicBezTo>
                <a:cubicBezTo>
                  <a:pt x="448" y="264"/>
                  <a:pt x="451" y="262"/>
                  <a:pt x="445" y="262"/>
                </a:cubicBezTo>
                <a:cubicBezTo>
                  <a:pt x="445" y="261"/>
                  <a:pt x="445" y="261"/>
                  <a:pt x="445" y="261"/>
                </a:cubicBezTo>
                <a:cubicBezTo>
                  <a:pt x="445" y="261"/>
                  <a:pt x="446" y="259"/>
                  <a:pt x="446" y="258"/>
                </a:cubicBezTo>
                <a:cubicBezTo>
                  <a:pt x="446" y="257"/>
                  <a:pt x="444" y="254"/>
                  <a:pt x="444" y="253"/>
                </a:cubicBezTo>
                <a:cubicBezTo>
                  <a:pt x="443" y="252"/>
                  <a:pt x="443" y="252"/>
                  <a:pt x="442" y="251"/>
                </a:cubicBezTo>
                <a:cubicBezTo>
                  <a:pt x="445" y="251"/>
                  <a:pt x="441" y="246"/>
                  <a:pt x="441" y="246"/>
                </a:cubicBezTo>
                <a:cubicBezTo>
                  <a:pt x="440" y="246"/>
                  <a:pt x="440" y="244"/>
                  <a:pt x="440" y="242"/>
                </a:cubicBezTo>
                <a:cubicBezTo>
                  <a:pt x="437" y="242"/>
                  <a:pt x="434" y="242"/>
                  <a:pt x="431" y="241"/>
                </a:cubicBezTo>
                <a:cubicBezTo>
                  <a:pt x="431" y="240"/>
                  <a:pt x="430" y="238"/>
                  <a:pt x="429" y="238"/>
                </a:cubicBezTo>
                <a:cubicBezTo>
                  <a:pt x="429" y="238"/>
                  <a:pt x="427" y="238"/>
                  <a:pt x="427" y="237"/>
                </a:cubicBezTo>
                <a:cubicBezTo>
                  <a:pt x="426" y="237"/>
                  <a:pt x="426" y="236"/>
                  <a:pt x="426" y="235"/>
                </a:cubicBezTo>
                <a:cubicBezTo>
                  <a:pt x="425" y="235"/>
                  <a:pt x="425" y="235"/>
                  <a:pt x="425" y="235"/>
                </a:cubicBezTo>
                <a:cubicBezTo>
                  <a:pt x="426" y="235"/>
                  <a:pt x="427" y="233"/>
                  <a:pt x="427" y="233"/>
                </a:cubicBezTo>
                <a:cubicBezTo>
                  <a:pt x="428" y="232"/>
                  <a:pt x="429" y="233"/>
                  <a:pt x="429" y="233"/>
                </a:cubicBezTo>
                <a:cubicBezTo>
                  <a:pt x="429" y="233"/>
                  <a:pt x="432" y="230"/>
                  <a:pt x="433" y="230"/>
                </a:cubicBezTo>
                <a:cubicBezTo>
                  <a:pt x="433" y="230"/>
                  <a:pt x="433" y="227"/>
                  <a:pt x="433" y="227"/>
                </a:cubicBezTo>
                <a:cubicBezTo>
                  <a:pt x="433" y="227"/>
                  <a:pt x="430" y="227"/>
                  <a:pt x="431" y="227"/>
                </a:cubicBezTo>
                <a:cubicBezTo>
                  <a:pt x="430" y="228"/>
                  <a:pt x="429" y="228"/>
                  <a:pt x="428" y="229"/>
                </a:cubicBezTo>
                <a:cubicBezTo>
                  <a:pt x="429" y="227"/>
                  <a:pt x="429" y="225"/>
                  <a:pt x="430" y="223"/>
                </a:cubicBezTo>
                <a:cubicBezTo>
                  <a:pt x="430" y="223"/>
                  <a:pt x="431" y="223"/>
                  <a:pt x="431" y="223"/>
                </a:cubicBezTo>
                <a:cubicBezTo>
                  <a:pt x="433" y="225"/>
                  <a:pt x="433" y="225"/>
                  <a:pt x="433" y="225"/>
                </a:cubicBezTo>
                <a:cubicBezTo>
                  <a:pt x="434" y="225"/>
                  <a:pt x="436" y="225"/>
                  <a:pt x="437" y="225"/>
                </a:cubicBezTo>
                <a:cubicBezTo>
                  <a:pt x="437" y="220"/>
                  <a:pt x="437" y="220"/>
                  <a:pt x="437" y="220"/>
                </a:cubicBezTo>
                <a:cubicBezTo>
                  <a:pt x="436" y="220"/>
                  <a:pt x="435" y="220"/>
                  <a:pt x="435" y="221"/>
                </a:cubicBezTo>
                <a:cubicBezTo>
                  <a:pt x="433" y="217"/>
                  <a:pt x="433" y="217"/>
                  <a:pt x="433" y="217"/>
                </a:cubicBezTo>
                <a:cubicBezTo>
                  <a:pt x="431" y="216"/>
                  <a:pt x="430" y="217"/>
                  <a:pt x="429" y="217"/>
                </a:cubicBezTo>
                <a:cubicBezTo>
                  <a:pt x="428" y="216"/>
                  <a:pt x="426" y="213"/>
                  <a:pt x="425" y="212"/>
                </a:cubicBezTo>
                <a:cubicBezTo>
                  <a:pt x="423" y="212"/>
                  <a:pt x="422" y="212"/>
                  <a:pt x="421" y="212"/>
                </a:cubicBezTo>
                <a:cubicBezTo>
                  <a:pt x="421" y="211"/>
                  <a:pt x="421" y="211"/>
                  <a:pt x="421" y="211"/>
                </a:cubicBezTo>
                <a:cubicBezTo>
                  <a:pt x="419" y="211"/>
                  <a:pt x="418" y="209"/>
                  <a:pt x="417" y="209"/>
                </a:cubicBezTo>
                <a:cubicBezTo>
                  <a:pt x="417" y="209"/>
                  <a:pt x="416" y="209"/>
                  <a:pt x="415" y="209"/>
                </a:cubicBezTo>
                <a:cubicBezTo>
                  <a:pt x="415" y="207"/>
                  <a:pt x="415" y="207"/>
                  <a:pt x="415" y="207"/>
                </a:cubicBezTo>
                <a:cubicBezTo>
                  <a:pt x="411" y="203"/>
                  <a:pt x="411" y="203"/>
                  <a:pt x="411" y="203"/>
                </a:cubicBezTo>
                <a:cubicBezTo>
                  <a:pt x="410" y="204"/>
                  <a:pt x="410" y="204"/>
                  <a:pt x="409" y="204"/>
                </a:cubicBezTo>
                <a:cubicBezTo>
                  <a:pt x="409" y="204"/>
                  <a:pt x="409" y="202"/>
                  <a:pt x="409" y="201"/>
                </a:cubicBezTo>
                <a:cubicBezTo>
                  <a:pt x="407" y="201"/>
                  <a:pt x="408" y="203"/>
                  <a:pt x="406" y="202"/>
                </a:cubicBezTo>
                <a:cubicBezTo>
                  <a:pt x="406" y="202"/>
                  <a:pt x="406" y="200"/>
                  <a:pt x="406" y="199"/>
                </a:cubicBezTo>
                <a:cubicBezTo>
                  <a:pt x="407" y="199"/>
                  <a:pt x="408" y="199"/>
                  <a:pt x="409" y="199"/>
                </a:cubicBezTo>
                <a:cubicBezTo>
                  <a:pt x="408" y="199"/>
                  <a:pt x="409" y="198"/>
                  <a:pt x="409" y="198"/>
                </a:cubicBezTo>
                <a:cubicBezTo>
                  <a:pt x="410" y="198"/>
                  <a:pt x="408" y="197"/>
                  <a:pt x="408" y="197"/>
                </a:cubicBezTo>
                <a:cubicBezTo>
                  <a:pt x="408" y="197"/>
                  <a:pt x="409" y="195"/>
                  <a:pt x="409" y="195"/>
                </a:cubicBezTo>
                <a:cubicBezTo>
                  <a:pt x="410" y="194"/>
                  <a:pt x="411" y="194"/>
                  <a:pt x="413" y="193"/>
                </a:cubicBezTo>
                <a:cubicBezTo>
                  <a:pt x="413" y="193"/>
                  <a:pt x="413" y="193"/>
                  <a:pt x="413" y="193"/>
                </a:cubicBezTo>
                <a:cubicBezTo>
                  <a:pt x="414" y="192"/>
                  <a:pt x="410" y="190"/>
                  <a:pt x="409" y="189"/>
                </a:cubicBezTo>
                <a:cubicBezTo>
                  <a:pt x="410" y="189"/>
                  <a:pt x="409" y="187"/>
                  <a:pt x="409" y="187"/>
                </a:cubicBezTo>
                <a:cubicBezTo>
                  <a:pt x="409" y="187"/>
                  <a:pt x="411" y="187"/>
                  <a:pt x="410" y="186"/>
                </a:cubicBezTo>
                <a:cubicBezTo>
                  <a:pt x="411" y="186"/>
                  <a:pt x="411" y="185"/>
                  <a:pt x="411" y="185"/>
                </a:cubicBezTo>
                <a:cubicBezTo>
                  <a:pt x="414" y="184"/>
                  <a:pt x="417" y="185"/>
                  <a:pt x="420" y="185"/>
                </a:cubicBezTo>
                <a:cubicBezTo>
                  <a:pt x="423" y="185"/>
                  <a:pt x="431" y="183"/>
                  <a:pt x="434" y="182"/>
                </a:cubicBezTo>
                <a:cubicBezTo>
                  <a:pt x="436" y="181"/>
                  <a:pt x="436" y="178"/>
                  <a:pt x="438" y="177"/>
                </a:cubicBezTo>
                <a:cubicBezTo>
                  <a:pt x="439" y="176"/>
                  <a:pt x="440" y="176"/>
                  <a:pt x="441" y="175"/>
                </a:cubicBezTo>
                <a:cubicBezTo>
                  <a:pt x="441" y="174"/>
                  <a:pt x="440" y="173"/>
                  <a:pt x="441" y="172"/>
                </a:cubicBezTo>
                <a:cubicBezTo>
                  <a:pt x="441" y="172"/>
                  <a:pt x="442" y="172"/>
                  <a:pt x="442" y="171"/>
                </a:cubicBezTo>
                <a:cubicBezTo>
                  <a:pt x="443" y="170"/>
                  <a:pt x="443" y="168"/>
                  <a:pt x="444" y="166"/>
                </a:cubicBezTo>
                <a:cubicBezTo>
                  <a:pt x="438" y="165"/>
                  <a:pt x="436" y="164"/>
                  <a:pt x="430" y="164"/>
                </a:cubicBezTo>
                <a:cubicBezTo>
                  <a:pt x="429" y="165"/>
                  <a:pt x="430" y="165"/>
                  <a:pt x="429" y="166"/>
                </a:cubicBezTo>
                <a:cubicBezTo>
                  <a:pt x="428" y="165"/>
                  <a:pt x="428" y="163"/>
                  <a:pt x="427" y="163"/>
                </a:cubicBezTo>
                <a:cubicBezTo>
                  <a:pt x="425" y="161"/>
                  <a:pt x="416" y="160"/>
                  <a:pt x="412" y="160"/>
                </a:cubicBezTo>
                <a:cubicBezTo>
                  <a:pt x="411" y="161"/>
                  <a:pt x="410" y="163"/>
                  <a:pt x="409" y="165"/>
                </a:cubicBezTo>
                <a:cubicBezTo>
                  <a:pt x="408" y="164"/>
                  <a:pt x="408" y="164"/>
                  <a:pt x="407" y="163"/>
                </a:cubicBezTo>
                <a:cubicBezTo>
                  <a:pt x="404" y="163"/>
                  <a:pt x="402" y="163"/>
                  <a:pt x="399" y="164"/>
                </a:cubicBezTo>
                <a:cubicBezTo>
                  <a:pt x="401" y="170"/>
                  <a:pt x="401" y="168"/>
                  <a:pt x="397" y="168"/>
                </a:cubicBezTo>
                <a:cubicBezTo>
                  <a:pt x="397" y="168"/>
                  <a:pt x="397" y="171"/>
                  <a:pt x="397" y="171"/>
                </a:cubicBezTo>
                <a:cubicBezTo>
                  <a:pt x="398" y="172"/>
                  <a:pt x="398" y="172"/>
                  <a:pt x="398" y="172"/>
                </a:cubicBezTo>
                <a:cubicBezTo>
                  <a:pt x="398" y="172"/>
                  <a:pt x="397" y="173"/>
                  <a:pt x="397" y="174"/>
                </a:cubicBezTo>
                <a:cubicBezTo>
                  <a:pt x="397" y="175"/>
                  <a:pt x="399" y="177"/>
                  <a:pt x="399" y="177"/>
                </a:cubicBezTo>
                <a:cubicBezTo>
                  <a:pt x="400" y="179"/>
                  <a:pt x="399" y="180"/>
                  <a:pt x="400" y="183"/>
                </a:cubicBezTo>
                <a:cubicBezTo>
                  <a:pt x="401" y="183"/>
                  <a:pt x="401" y="183"/>
                  <a:pt x="401" y="183"/>
                </a:cubicBezTo>
                <a:cubicBezTo>
                  <a:pt x="402" y="184"/>
                  <a:pt x="401" y="185"/>
                  <a:pt x="401" y="186"/>
                </a:cubicBezTo>
                <a:cubicBezTo>
                  <a:pt x="400" y="187"/>
                  <a:pt x="400" y="187"/>
                  <a:pt x="399" y="188"/>
                </a:cubicBezTo>
                <a:cubicBezTo>
                  <a:pt x="400" y="189"/>
                  <a:pt x="402" y="190"/>
                  <a:pt x="403" y="191"/>
                </a:cubicBezTo>
                <a:cubicBezTo>
                  <a:pt x="403" y="192"/>
                  <a:pt x="401" y="199"/>
                  <a:pt x="403" y="199"/>
                </a:cubicBezTo>
                <a:cubicBezTo>
                  <a:pt x="403" y="199"/>
                  <a:pt x="401" y="200"/>
                  <a:pt x="402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8" y="202"/>
                  <a:pt x="397" y="204"/>
                  <a:pt x="397" y="205"/>
                </a:cubicBezTo>
                <a:cubicBezTo>
                  <a:pt x="399" y="206"/>
                  <a:pt x="400" y="207"/>
                  <a:pt x="401" y="209"/>
                </a:cubicBezTo>
                <a:cubicBezTo>
                  <a:pt x="401" y="209"/>
                  <a:pt x="400" y="210"/>
                  <a:pt x="399" y="209"/>
                </a:cubicBezTo>
                <a:cubicBezTo>
                  <a:pt x="399" y="209"/>
                  <a:pt x="397" y="208"/>
                  <a:pt x="397" y="207"/>
                </a:cubicBezTo>
                <a:cubicBezTo>
                  <a:pt x="397" y="207"/>
                  <a:pt x="395" y="207"/>
                  <a:pt x="395" y="207"/>
                </a:cubicBezTo>
                <a:cubicBezTo>
                  <a:pt x="394" y="208"/>
                  <a:pt x="395" y="209"/>
                  <a:pt x="395" y="210"/>
                </a:cubicBezTo>
                <a:cubicBezTo>
                  <a:pt x="395" y="210"/>
                  <a:pt x="393" y="211"/>
                  <a:pt x="393" y="211"/>
                </a:cubicBezTo>
                <a:cubicBezTo>
                  <a:pt x="392" y="211"/>
                  <a:pt x="393" y="213"/>
                  <a:pt x="392" y="213"/>
                </a:cubicBezTo>
                <a:cubicBezTo>
                  <a:pt x="392" y="212"/>
                  <a:pt x="393" y="215"/>
                  <a:pt x="393" y="215"/>
                </a:cubicBezTo>
                <a:cubicBezTo>
                  <a:pt x="392" y="215"/>
                  <a:pt x="392" y="215"/>
                  <a:pt x="392" y="215"/>
                </a:cubicBezTo>
                <a:cubicBezTo>
                  <a:pt x="393" y="220"/>
                  <a:pt x="392" y="219"/>
                  <a:pt x="395" y="222"/>
                </a:cubicBezTo>
                <a:cubicBezTo>
                  <a:pt x="393" y="222"/>
                  <a:pt x="392" y="222"/>
                  <a:pt x="389" y="223"/>
                </a:cubicBezTo>
                <a:cubicBezTo>
                  <a:pt x="390" y="224"/>
                  <a:pt x="389" y="226"/>
                  <a:pt x="391" y="225"/>
                </a:cubicBezTo>
                <a:cubicBezTo>
                  <a:pt x="390" y="227"/>
                  <a:pt x="390" y="227"/>
                  <a:pt x="390" y="227"/>
                </a:cubicBezTo>
                <a:cubicBezTo>
                  <a:pt x="393" y="230"/>
                  <a:pt x="393" y="230"/>
                  <a:pt x="393" y="230"/>
                </a:cubicBezTo>
                <a:cubicBezTo>
                  <a:pt x="394" y="230"/>
                  <a:pt x="395" y="230"/>
                  <a:pt x="396" y="230"/>
                </a:cubicBezTo>
                <a:cubicBezTo>
                  <a:pt x="397" y="230"/>
                  <a:pt x="396" y="232"/>
                  <a:pt x="396" y="232"/>
                </a:cubicBezTo>
                <a:cubicBezTo>
                  <a:pt x="396" y="232"/>
                  <a:pt x="394" y="233"/>
                  <a:pt x="394" y="233"/>
                </a:cubicBezTo>
                <a:cubicBezTo>
                  <a:pt x="394" y="235"/>
                  <a:pt x="393" y="238"/>
                  <a:pt x="395" y="237"/>
                </a:cubicBezTo>
                <a:cubicBezTo>
                  <a:pt x="395" y="237"/>
                  <a:pt x="397" y="235"/>
                  <a:pt x="396" y="235"/>
                </a:cubicBezTo>
                <a:cubicBezTo>
                  <a:pt x="398" y="236"/>
                  <a:pt x="396" y="236"/>
                  <a:pt x="397" y="237"/>
                </a:cubicBezTo>
                <a:cubicBezTo>
                  <a:pt x="397" y="237"/>
                  <a:pt x="400" y="236"/>
                  <a:pt x="399" y="235"/>
                </a:cubicBezTo>
                <a:cubicBezTo>
                  <a:pt x="399" y="234"/>
                  <a:pt x="398" y="233"/>
                  <a:pt x="399" y="232"/>
                </a:cubicBezTo>
                <a:cubicBezTo>
                  <a:pt x="400" y="231"/>
                  <a:pt x="400" y="231"/>
                  <a:pt x="400" y="231"/>
                </a:cubicBezTo>
                <a:cubicBezTo>
                  <a:pt x="405" y="233"/>
                  <a:pt x="407" y="236"/>
                  <a:pt x="409" y="240"/>
                </a:cubicBezTo>
                <a:cubicBezTo>
                  <a:pt x="411" y="239"/>
                  <a:pt x="412" y="240"/>
                  <a:pt x="414" y="239"/>
                </a:cubicBezTo>
                <a:cubicBezTo>
                  <a:pt x="416" y="238"/>
                  <a:pt x="418" y="235"/>
                  <a:pt x="421" y="235"/>
                </a:cubicBezTo>
                <a:cubicBezTo>
                  <a:pt x="422" y="234"/>
                  <a:pt x="422" y="235"/>
                  <a:pt x="423" y="235"/>
                </a:cubicBezTo>
                <a:cubicBezTo>
                  <a:pt x="423" y="235"/>
                  <a:pt x="423" y="237"/>
                  <a:pt x="423" y="237"/>
                </a:cubicBezTo>
                <a:cubicBezTo>
                  <a:pt x="422" y="237"/>
                  <a:pt x="420" y="237"/>
                  <a:pt x="419" y="237"/>
                </a:cubicBezTo>
                <a:cubicBezTo>
                  <a:pt x="418" y="237"/>
                  <a:pt x="417" y="238"/>
                  <a:pt x="417" y="239"/>
                </a:cubicBezTo>
                <a:cubicBezTo>
                  <a:pt x="416" y="241"/>
                  <a:pt x="417" y="243"/>
                  <a:pt x="417" y="245"/>
                </a:cubicBezTo>
                <a:cubicBezTo>
                  <a:pt x="415" y="245"/>
                  <a:pt x="411" y="243"/>
                  <a:pt x="410" y="243"/>
                </a:cubicBezTo>
                <a:cubicBezTo>
                  <a:pt x="409" y="243"/>
                  <a:pt x="408" y="245"/>
                  <a:pt x="407" y="245"/>
                </a:cubicBezTo>
                <a:cubicBezTo>
                  <a:pt x="407" y="246"/>
                  <a:pt x="408" y="247"/>
                  <a:pt x="407" y="247"/>
                </a:cubicBezTo>
                <a:cubicBezTo>
                  <a:pt x="407" y="247"/>
                  <a:pt x="409" y="250"/>
                  <a:pt x="409" y="250"/>
                </a:cubicBezTo>
                <a:cubicBezTo>
                  <a:pt x="407" y="251"/>
                  <a:pt x="406" y="256"/>
                  <a:pt x="411" y="255"/>
                </a:cubicBezTo>
                <a:cubicBezTo>
                  <a:pt x="412" y="255"/>
                  <a:pt x="414" y="252"/>
                  <a:pt x="415" y="252"/>
                </a:cubicBezTo>
                <a:cubicBezTo>
                  <a:pt x="414" y="254"/>
                  <a:pt x="414" y="254"/>
                  <a:pt x="415" y="255"/>
                </a:cubicBezTo>
                <a:cubicBezTo>
                  <a:pt x="415" y="256"/>
                  <a:pt x="415" y="255"/>
                  <a:pt x="415" y="257"/>
                </a:cubicBezTo>
                <a:cubicBezTo>
                  <a:pt x="414" y="257"/>
                  <a:pt x="411" y="259"/>
                  <a:pt x="409" y="259"/>
                </a:cubicBezTo>
                <a:cubicBezTo>
                  <a:pt x="409" y="259"/>
                  <a:pt x="407" y="259"/>
                  <a:pt x="407" y="259"/>
                </a:cubicBezTo>
                <a:cubicBezTo>
                  <a:pt x="404" y="260"/>
                  <a:pt x="404" y="265"/>
                  <a:pt x="401" y="267"/>
                </a:cubicBezTo>
                <a:cubicBezTo>
                  <a:pt x="401" y="267"/>
                  <a:pt x="398" y="266"/>
                  <a:pt x="397" y="266"/>
                </a:cubicBezTo>
                <a:cubicBezTo>
                  <a:pt x="397" y="267"/>
                  <a:pt x="397" y="267"/>
                  <a:pt x="397" y="267"/>
                </a:cubicBezTo>
                <a:cubicBezTo>
                  <a:pt x="398" y="267"/>
                  <a:pt x="398" y="267"/>
                  <a:pt x="398" y="268"/>
                </a:cubicBezTo>
                <a:cubicBezTo>
                  <a:pt x="398" y="268"/>
                  <a:pt x="396" y="269"/>
                  <a:pt x="396" y="269"/>
                </a:cubicBezTo>
                <a:cubicBezTo>
                  <a:pt x="396" y="270"/>
                  <a:pt x="396" y="271"/>
                  <a:pt x="396" y="272"/>
                </a:cubicBezTo>
                <a:cubicBezTo>
                  <a:pt x="396" y="272"/>
                  <a:pt x="393" y="273"/>
                  <a:pt x="393" y="273"/>
                </a:cubicBezTo>
                <a:cubicBezTo>
                  <a:pt x="393" y="275"/>
                  <a:pt x="393" y="275"/>
                  <a:pt x="393" y="275"/>
                </a:cubicBezTo>
                <a:cubicBezTo>
                  <a:pt x="394" y="275"/>
                  <a:pt x="396" y="275"/>
                  <a:pt x="397" y="276"/>
                </a:cubicBezTo>
                <a:cubicBezTo>
                  <a:pt x="397" y="277"/>
                  <a:pt x="396" y="278"/>
                  <a:pt x="396" y="279"/>
                </a:cubicBezTo>
                <a:cubicBezTo>
                  <a:pt x="397" y="280"/>
                  <a:pt x="398" y="280"/>
                  <a:pt x="400" y="281"/>
                </a:cubicBezTo>
                <a:cubicBezTo>
                  <a:pt x="400" y="282"/>
                  <a:pt x="400" y="282"/>
                  <a:pt x="400" y="282"/>
                </a:cubicBezTo>
                <a:cubicBezTo>
                  <a:pt x="399" y="282"/>
                  <a:pt x="399" y="282"/>
                  <a:pt x="399" y="282"/>
                </a:cubicBezTo>
                <a:cubicBezTo>
                  <a:pt x="398" y="283"/>
                  <a:pt x="398" y="283"/>
                  <a:pt x="398" y="283"/>
                </a:cubicBezTo>
                <a:cubicBezTo>
                  <a:pt x="397" y="283"/>
                  <a:pt x="393" y="280"/>
                  <a:pt x="391" y="280"/>
                </a:cubicBezTo>
                <a:cubicBezTo>
                  <a:pt x="392" y="280"/>
                  <a:pt x="392" y="278"/>
                  <a:pt x="391" y="278"/>
                </a:cubicBezTo>
                <a:cubicBezTo>
                  <a:pt x="391" y="278"/>
                  <a:pt x="390" y="278"/>
                  <a:pt x="389" y="278"/>
                </a:cubicBezTo>
                <a:cubicBezTo>
                  <a:pt x="388" y="277"/>
                  <a:pt x="386" y="275"/>
                  <a:pt x="385" y="274"/>
                </a:cubicBezTo>
                <a:cubicBezTo>
                  <a:pt x="387" y="271"/>
                  <a:pt x="387" y="268"/>
                  <a:pt x="388" y="263"/>
                </a:cubicBezTo>
                <a:cubicBezTo>
                  <a:pt x="388" y="263"/>
                  <a:pt x="386" y="264"/>
                  <a:pt x="387" y="265"/>
                </a:cubicBezTo>
                <a:cubicBezTo>
                  <a:pt x="386" y="265"/>
                  <a:pt x="386" y="263"/>
                  <a:pt x="387" y="263"/>
                </a:cubicBezTo>
                <a:cubicBezTo>
                  <a:pt x="386" y="260"/>
                  <a:pt x="386" y="260"/>
                  <a:pt x="386" y="260"/>
                </a:cubicBezTo>
                <a:cubicBezTo>
                  <a:pt x="386" y="261"/>
                  <a:pt x="384" y="261"/>
                  <a:pt x="384" y="262"/>
                </a:cubicBezTo>
                <a:cubicBezTo>
                  <a:pt x="384" y="263"/>
                  <a:pt x="384" y="263"/>
                  <a:pt x="384" y="263"/>
                </a:cubicBezTo>
                <a:cubicBezTo>
                  <a:pt x="384" y="263"/>
                  <a:pt x="379" y="262"/>
                  <a:pt x="381" y="262"/>
                </a:cubicBezTo>
                <a:cubicBezTo>
                  <a:pt x="381" y="262"/>
                  <a:pt x="380" y="261"/>
                  <a:pt x="379" y="261"/>
                </a:cubicBezTo>
                <a:cubicBezTo>
                  <a:pt x="379" y="259"/>
                  <a:pt x="379" y="259"/>
                  <a:pt x="379" y="259"/>
                </a:cubicBezTo>
                <a:cubicBezTo>
                  <a:pt x="379" y="259"/>
                  <a:pt x="378" y="259"/>
                  <a:pt x="377" y="259"/>
                </a:cubicBezTo>
                <a:cubicBezTo>
                  <a:pt x="376" y="259"/>
                  <a:pt x="374" y="257"/>
                  <a:pt x="373" y="256"/>
                </a:cubicBezTo>
                <a:cubicBezTo>
                  <a:pt x="372" y="256"/>
                  <a:pt x="372" y="259"/>
                  <a:pt x="373" y="259"/>
                </a:cubicBezTo>
                <a:cubicBezTo>
                  <a:pt x="373" y="259"/>
                  <a:pt x="371" y="259"/>
                  <a:pt x="371" y="259"/>
                </a:cubicBezTo>
                <a:cubicBezTo>
                  <a:pt x="371" y="261"/>
                  <a:pt x="371" y="266"/>
                  <a:pt x="373" y="267"/>
                </a:cubicBezTo>
                <a:cubicBezTo>
                  <a:pt x="373" y="268"/>
                  <a:pt x="372" y="268"/>
                  <a:pt x="372" y="269"/>
                </a:cubicBezTo>
                <a:cubicBezTo>
                  <a:pt x="371" y="269"/>
                  <a:pt x="371" y="268"/>
                  <a:pt x="369" y="268"/>
                </a:cubicBezTo>
                <a:cubicBezTo>
                  <a:pt x="368" y="268"/>
                  <a:pt x="368" y="270"/>
                  <a:pt x="367" y="271"/>
                </a:cubicBezTo>
                <a:cubicBezTo>
                  <a:pt x="366" y="271"/>
                  <a:pt x="364" y="269"/>
                  <a:pt x="363" y="269"/>
                </a:cubicBezTo>
                <a:cubicBezTo>
                  <a:pt x="353" y="268"/>
                  <a:pt x="351" y="266"/>
                  <a:pt x="344" y="272"/>
                </a:cubicBezTo>
                <a:cubicBezTo>
                  <a:pt x="344" y="271"/>
                  <a:pt x="344" y="271"/>
                  <a:pt x="344" y="271"/>
                </a:cubicBezTo>
                <a:cubicBezTo>
                  <a:pt x="343" y="271"/>
                  <a:pt x="342" y="269"/>
                  <a:pt x="342" y="269"/>
                </a:cubicBezTo>
                <a:cubicBezTo>
                  <a:pt x="341" y="268"/>
                  <a:pt x="341" y="269"/>
                  <a:pt x="340" y="270"/>
                </a:cubicBezTo>
                <a:cubicBezTo>
                  <a:pt x="340" y="270"/>
                  <a:pt x="339" y="270"/>
                  <a:pt x="338" y="270"/>
                </a:cubicBezTo>
                <a:cubicBezTo>
                  <a:pt x="338" y="268"/>
                  <a:pt x="338" y="268"/>
                  <a:pt x="338" y="268"/>
                </a:cubicBezTo>
                <a:cubicBezTo>
                  <a:pt x="336" y="267"/>
                  <a:pt x="334" y="268"/>
                  <a:pt x="333" y="268"/>
                </a:cubicBezTo>
                <a:cubicBezTo>
                  <a:pt x="332" y="268"/>
                  <a:pt x="333" y="266"/>
                  <a:pt x="332" y="266"/>
                </a:cubicBezTo>
                <a:cubicBezTo>
                  <a:pt x="332" y="265"/>
                  <a:pt x="331" y="266"/>
                  <a:pt x="330" y="266"/>
                </a:cubicBezTo>
                <a:cubicBezTo>
                  <a:pt x="329" y="266"/>
                  <a:pt x="330" y="264"/>
                  <a:pt x="330" y="263"/>
                </a:cubicBezTo>
                <a:cubicBezTo>
                  <a:pt x="328" y="263"/>
                  <a:pt x="329" y="264"/>
                  <a:pt x="328" y="264"/>
                </a:cubicBezTo>
                <a:cubicBezTo>
                  <a:pt x="327" y="263"/>
                  <a:pt x="327" y="263"/>
                  <a:pt x="327" y="263"/>
                </a:cubicBezTo>
                <a:cubicBezTo>
                  <a:pt x="325" y="263"/>
                  <a:pt x="326" y="264"/>
                  <a:pt x="326" y="265"/>
                </a:cubicBezTo>
                <a:cubicBezTo>
                  <a:pt x="324" y="265"/>
                  <a:pt x="321" y="265"/>
                  <a:pt x="319" y="265"/>
                </a:cubicBezTo>
                <a:cubicBezTo>
                  <a:pt x="321" y="261"/>
                  <a:pt x="321" y="263"/>
                  <a:pt x="319" y="259"/>
                </a:cubicBezTo>
                <a:cubicBezTo>
                  <a:pt x="317" y="261"/>
                  <a:pt x="314" y="264"/>
                  <a:pt x="312" y="261"/>
                </a:cubicBezTo>
                <a:cubicBezTo>
                  <a:pt x="310" y="260"/>
                  <a:pt x="312" y="252"/>
                  <a:pt x="308" y="251"/>
                </a:cubicBezTo>
                <a:cubicBezTo>
                  <a:pt x="304" y="248"/>
                  <a:pt x="302" y="251"/>
                  <a:pt x="298" y="251"/>
                </a:cubicBezTo>
                <a:cubicBezTo>
                  <a:pt x="298" y="251"/>
                  <a:pt x="296" y="250"/>
                  <a:pt x="295" y="250"/>
                </a:cubicBezTo>
                <a:cubicBezTo>
                  <a:pt x="294" y="250"/>
                  <a:pt x="293" y="252"/>
                  <a:pt x="292" y="252"/>
                </a:cubicBezTo>
                <a:cubicBezTo>
                  <a:pt x="291" y="252"/>
                  <a:pt x="287" y="251"/>
                  <a:pt x="285" y="251"/>
                </a:cubicBezTo>
                <a:cubicBezTo>
                  <a:pt x="285" y="252"/>
                  <a:pt x="284" y="258"/>
                  <a:pt x="283" y="259"/>
                </a:cubicBezTo>
                <a:cubicBezTo>
                  <a:pt x="283" y="260"/>
                  <a:pt x="281" y="260"/>
                  <a:pt x="281" y="260"/>
                </a:cubicBezTo>
                <a:cubicBezTo>
                  <a:pt x="280" y="261"/>
                  <a:pt x="281" y="262"/>
                  <a:pt x="280" y="263"/>
                </a:cubicBezTo>
                <a:cubicBezTo>
                  <a:pt x="282" y="262"/>
                  <a:pt x="281" y="263"/>
                  <a:pt x="282" y="263"/>
                </a:cubicBezTo>
                <a:cubicBezTo>
                  <a:pt x="283" y="263"/>
                  <a:pt x="283" y="262"/>
                  <a:pt x="284" y="262"/>
                </a:cubicBezTo>
                <a:cubicBezTo>
                  <a:pt x="285" y="262"/>
                  <a:pt x="286" y="263"/>
                  <a:pt x="286" y="263"/>
                </a:cubicBezTo>
                <a:cubicBezTo>
                  <a:pt x="286" y="263"/>
                  <a:pt x="287" y="262"/>
                  <a:pt x="287" y="261"/>
                </a:cubicBezTo>
                <a:cubicBezTo>
                  <a:pt x="286" y="262"/>
                  <a:pt x="286" y="260"/>
                  <a:pt x="286" y="260"/>
                </a:cubicBezTo>
                <a:cubicBezTo>
                  <a:pt x="286" y="260"/>
                  <a:pt x="288" y="259"/>
                  <a:pt x="288" y="259"/>
                </a:cubicBezTo>
                <a:cubicBezTo>
                  <a:pt x="289" y="260"/>
                  <a:pt x="290" y="260"/>
                  <a:pt x="291" y="261"/>
                </a:cubicBezTo>
                <a:cubicBezTo>
                  <a:pt x="295" y="256"/>
                  <a:pt x="294" y="258"/>
                  <a:pt x="301" y="257"/>
                </a:cubicBezTo>
                <a:cubicBezTo>
                  <a:pt x="301" y="257"/>
                  <a:pt x="301" y="255"/>
                  <a:pt x="302" y="255"/>
                </a:cubicBezTo>
                <a:cubicBezTo>
                  <a:pt x="300" y="255"/>
                  <a:pt x="300" y="252"/>
                  <a:pt x="303" y="253"/>
                </a:cubicBezTo>
                <a:cubicBezTo>
                  <a:pt x="303" y="253"/>
                  <a:pt x="305" y="255"/>
                  <a:pt x="305" y="255"/>
                </a:cubicBezTo>
                <a:cubicBezTo>
                  <a:pt x="308" y="258"/>
                  <a:pt x="304" y="257"/>
                  <a:pt x="302" y="257"/>
                </a:cubicBezTo>
                <a:cubicBezTo>
                  <a:pt x="301" y="258"/>
                  <a:pt x="301" y="259"/>
                  <a:pt x="301" y="259"/>
                </a:cubicBezTo>
                <a:cubicBezTo>
                  <a:pt x="300" y="260"/>
                  <a:pt x="299" y="259"/>
                  <a:pt x="298" y="259"/>
                </a:cubicBezTo>
                <a:cubicBezTo>
                  <a:pt x="297" y="259"/>
                  <a:pt x="296" y="261"/>
                  <a:pt x="295" y="262"/>
                </a:cubicBezTo>
                <a:cubicBezTo>
                  <a:pt x="295" y="263"/>
                  <a:pt x="295" y="263"/>
                  <a:pt x="295" y="263"/>
                </a:cubicBezTo>
                <a:cubicBezTo>
                  <a:pt x="294" y="264"/>
                  <a:pt x="292" y="263"/>
                  <a:pt x="291" y="264"/>
                </a:cubicBezTo>
                <a:cubicBezTo>
                  <a:pt x="290" y="264"/>
                  <a:pt x="290" y="266"/>
                  <a:pt x="289" y="267"/>
                </a:cubicBezTo>
                <a:cubicBezTo>
                  <a:pt x="288" y="267"/>
                  <a:pt x="287" y="266"/>
                  <a:pt x="286" y="267"/>
                </a:cubicBezTo>
                <a:cubicBezTo>
                  <a:pt x="286" y="267"/>
                  <a:pt x="286" y="268"/>
                  <a:pt x="286" y="269"/>
                </a:cubicBezTo>
                <a:cubicBezTo>
                  <a:pt x="286" y="269"/>
                  <a:pt x="284" y="269"/>
                  <a:pt x="284" y="270"/>
                </a:cubicBezTo>
                <a:cubicBezTo>
                  <a:pt x="284" y="272"/>
                  <a:pt x="285" y="274"/>
                  <a:pt x="286" y="275"/>
                </a:cubicBezTo>
                <a:cubicBezTo>
                  <a:pt x="286" y="275"/>
                  <a:pt x="286" y="275"/>
                  <a:pt x="286" y="275"/>
                </a:cubicBezTo>
                <a:cubicBezTo>
                  <a:pt x="287" y="277"/>
                  <a:pt x="285" y="278"/>
                  <a:pt x="285" y="279"/>
                </a:cubicBezTo>
                <a:cubicBezTo>
                  <a:pt x="286" y="280"/>
                  <a:pt x="288" y="280"/>
                  <a:pt x="288" y="281"/>
                </a:cubicBezTo>
                <a:cubicBezTo>
                  <a:pt x="289" y="282"/>
                  <a:pt x="288" y="283"/>
                  <a:pt x="288" y="283"/>
                </a:cubicBezTo>
                <a:cubicBezTo>
                  <a:pt x="288" y="283"/>
                  <a:pt x="286" y="283"/>
                  <a:pt x="286" y="283"/>
                </a:cubicBezTo>
                <a:cubicBezTo>
                  <a:pt x="286" y="284"/>
                  <a:pt x="285" y="286"/>
                  <a:pt x="285" y="287"/>
                </a:cubicBezTo>
                <a:cubicBezTo>
                  <a:pt x="280" y="283"/>
                  <a:pt x="280" y="279"/>
                  <a:pt x="279" y="271"/>
                </a:cubicBezTo>
                <a:cubicBezTo>
                  <a:pt x="279" y="273"/>
                  <a:pt x="278" y="275"/>
                  <a:pt x="278" y="278"/>
                </a:cubicBezTo>
                <a:cubicBezTo>
                  <a:pt x="276" y="279"/>
                  <a:pt x="276" y="279"/>
                  <a:pt x="276" y="279"/>
                </a:cubicBezTo>
                <a:cubicBezTo>
                  <a:pt x="276" y="279"/>
                  <a:pt x="275" y="275"/>
                  <a:pt x="275" y="275"/>
                </a:cubicBezTo>
                <a:cubicBezTo>
                  <a:pt x="276" y="275"/>
                  <a:pt x="276" y="273"/>
                  <a:pt x="276" y="273"/>
                </a:cubicBezTo>
                <a:cubicBezTo>
                  <a:pt x="276" y="273"/>
                  <a:pt x="275" y="271"/>
                  <a:pt x="274" y="269"/>
                </a:cubicBezTo>
                <a:cubicBezTo>
                  <a:pt x="274" y="269"/>
                  <a:pt x="272" y="269"/>
                  <a:pt x="272" y="269"/>
                </a:cubicBezTo>
                <a:cubicBezTo>
                  <a:pt x="269" y="268"/>
                  <a:pt x="268" y="267"/>
                  <a:pt x="266" y="264"/>
                </a:cubicBezTo>
                <a:cubicBezTo>
                  <a:pt x="265" y="265"/>
                  <a:pt x="264" y="264"/>
                  <a:pt x="262" y="265"/>
                </a:cubicBezTo>
                <a:cubicBezTo>
                  <a:pt x="262" y="266"/>
                  <a:pt x="261" y="268"/>
                  <a:pt x="260" y="268"/>
                </a:cubicBezTo>
                <a:cubicBezTo>
                  <a:pt x="259" y="268"/>
                  <a:pt x="257" y="268"/>
                  <a:pt x="256" y="268"/>
                </a:cubicBezTo>
                <a:cubicBezTo>
                  <a:pt x="255" y="268"/>
                  <a:pt x="252" y="270"/>
                  <a:pt x="251" y="270"/>
                </a:cubicBezTo>
                <a:cubicBezTo>
                  <a:pt x="250" y="270"/>
                  <a:pt x="250" y="269"/>
                  <a:pt x="249" y="269"/>
                </a:cubicBezTo>
                <a:cubicBezTo>
                  <a:pt x="247" y="271"/>
                  <a:pt x="247" y="271"/>
                  <a:pt x="247" y="271"/>
                </a:cubicBezTo>
                <a:cubicBezTo>
                  <a:pt x="241" y="272"/>
                  <a:pt x="234" y="272"/>
                  <a:pt x="229" y="270"/>
                </a:cubicBezTo>
                <a:cubicBezTo>
                  <a:pt x="229" y="265"/>
                  <a:pt x="228" y="265"/>
                  <a:pt x="231" y="263"/>
                </a:cubicBezTo>
                <a:cubicBezTo>
                  <a:pt x="231" y="263"/>
                  <a:pt x="231" y="261"/>
                  <a:pt x="231" y="261"/>
                </a:cubicBezTo>
                <a:cubicBezTo>
                  <a:pt x="233" y="261"/>
                  <a:pt x="235" y="261"/>
                  <a:pt x="237" y="261"/>
                </a:cubicBezTo>
                <a:cubicBezTo>
                  <a:pt x="238" y="259"/>
                  <a:pt x="238" y="259"/>
                  <a:pt x="238" y="259"/>
                </a:cubicBezTo>
                <a:cubicBezTo>
                  <a:pt x="237" y="259"/>
                  <a:pt x="237" y="259"/>
                  <a:pt x="237" y="259"/>
                </a:cubicBezTo>
                <a:cubicBezTo>
                  <a:pt x="235" y="258"/>
                  <a:pt x="236" y="257"/>
                  <a:pt x="235" y="255"/>
                </a:cubicBezTo>
                <a:cubicBezTo>
                  <a:pt x="231" y="252"/>
                  <a:pt x="231" y="252"/>
                  <a:pt x="231" y="252"/>
                </a:cubicBezTo>
                <a:cubicBezTo>
                  <a:pt x="230" y="252"/>
                  <a:pt x="230" y="253"/>
                  <a:pt x="229" y="253"/>
                </a:cubicBezTo>
                <a:cubicBezTo>
                  <a:pt x="228" y="252"/>
                  <a:pt x="227" y="250"/>
                  <a:pt x="227" y="250"/>
                </a:cubicBezTo>
                <a:cubicBezTo>
                  <a:pt x="225" y="250"/>
                  <a:pt x="224" y="250"/>
                  <a:pt x="224" y="251"/>
                </a:cubicBezTo>
                <a:cubicBezTo>
                  <a:pt x="222" y="251"/>
                  <a:pt x="222" y="251"/>
                  <a:pt x="220" y="251"/>
                </a:cubicBezTo>
                <a:cubicBezTo>
                  <a:pt x="220" y="251"/>
                  <a:pt x="221" y="253"/>
                  <a:pt x="222" y="253"/>
                </a:cubicBezTo>
                <a:cubicBezTo>
                  <a:pt x="222" y="253"/>
                  <a:pt x="224" y="254"/>
                  <a:pt x="221" y="255"/>
                </a:cubicBezTo>
                <a:cubicBezTo>
                  <a:pt x="221" y="255"/>
                  <a:pt x="218" y="254"/>
                  <a:pt x="217" y="254"/>
                </a:cubicBezTo>
                <a:cubicBezTo>
                  <a:pt x="217" y="253"/>
                  <a:pt x="217" y="253"/>
                  <a:pt x="217" y="253"/>
                </a:cubicBezTo>
                <a:cubicBezTo>
                  <a:pt x="215" y="252"/>
                  <a:pt x="213" y="253"/>
                  <a:pt x="211" y="252"/>
                </a:cubicBezTo>
                <a:cubicBezTo>
                  <a:pt x="210" y="252"/>
                  <a:pt x="208" y="249"/>
                  <a:pt x="207" y="249"/>
                </a:cubicBezTo>
                <a:cubicBezTo>
                  <a:pt x="207" y="248"/>
                  <a:pt x="202" y="249"/>
                  <a:pt x="200" y="248"/>
                </a:cubicBezTo>
                <a:cubicBezTo>
                  <a:pt x="199" y="245"/>
                  <a:pt x="199" y="245"/>
                  <a:pt x="199" y="245"/>
                </a:cubicBezTo>
                <a:cubicBezTo>
                  <a:pt x="194" y="245"/>
                  <a:pt x="188" y="243"/>
                  <a:pt x="185" y="241"/>
                </a:cubicBezTo>
                <a:cubicBezTo>
                  <a:pt x="184" y="240"/>
                  <a:pt x="184" y="238"/>
                  <a:pt x="183" y="238"/>
                </a:cubicBezTo>
                <a:cubicBezTo>
                  <a:pt x="182" y="238"/>
                  <a:pt x="181" y="238"/>
                  <a:pt x="180" y="238"/>
                </a:cubicBezTo>
                <a:cubicBezTo>
                  <a:pt x="178" y="238"/>
                  <a:pt x="175" y="235"/>
                  <a:pt x="173" y="235"/>
                </a:cubicBezTo>
                <a:cubicBezTo>
                  <a:pt x="169" y="234"/>
                  <a:pt x="167" y="235"/>
                  <a:pt x="163" y="235"/>
                </a:cubicBezTo>
                <a:cubicBezTo>
                  <a:pt x="163" y="235"/>
                  <a:pt x="163" y="237"/>
                  <a:pt x="163" y="237"/>
                </a:cubicBezTo>
                <a:cubicBezTo>
                  <a:pt x="161" y="239"/>
                  <a:pt x="159" y="240"/>
                  <a:pt x="157" y="241"/>
                </a:cubicBezTo>
                <a:cubicBezTo>
                  <a:pt x="155" y="237"/>
                  <a:pt x="154" y="236"/>
                  <a:pt x="153" y="231"/>
                </a:cubicBezTo>
                <a:cubicBezTo>
                  <a:pt x="155" y="230"/>
                  <a:pt x="154" y="231"/>
                  <a:pt x="155" y="229"/>
                </a:cubicBezTo>
                <a:cubicBezTo>
                  <a:pt x="155" y="229"/>
                  <a:pt x="153" y="229"/>
                  <a:pt x="153" y="229"/>
                </a:cubicBezTo>
                <a:cubicBezTo>
                  <a:pt x="152" y="231"/>
                  <a:pt x="150" y="232"/>
                  <a:pt x="152" y="234"/>
                </a:cubicBezTo>
                <a:cubicBezTo>
                  <a:pt x="149" y="234"/>
                  <a:pt x="151" y="236"/>
                  <a:pt x="151" y="239"/>
                </a:cubicBezTo>
                <a:cubicBezTo>
                  <a:pt x="151" y="239"/>
                  <a:pt x="149" y="240"/>
                  <a:pt x="149" y="240"/>
                </a:cubicBezTo>
                <a:cubicBezTo>
                  <a:pt x="149" y="241"/>
                  <a:pt x="151" y="241"/>
                  <a:pt x="150" y="243"/>
                </a:cubicBezTo>
                <a:cubicBezTo>
                  <a:pt x="150" y="243"/>
                  <a:pt x="148" y="243"/>
                  <a:pt x="147" y="243"/>
                </a:cubicBezTo>
                <a:cubicBezTo>
                  <a:pt x="144" y="239"/>
                  <a:pt x="141" y="237"/>
                  <a:pt x="137" y="233"/>
                </a:cubicBezTo>
                <a:cubicBezTo>
                  <a:pt x="136" y="233"/>
                  <a:pt x="136" y="231"/>
                  <a:pt x="135" y="231"/>
                </a:cubicBezTo>
                <a:cubicBezTo>
                  <a:pt x="135" y="231"/>
                  <a:pt x="134" y="232"/>
                  <a:pt x="134" y="231"/>
                </a:cubicBezTo>
                <a:cubicBezTo>
                  <a:pt x="133" y="230"/>
                  <a:pt x="133" y="228"/>
                  <a:pt x="132" y="227"/>
                </a:cubicBezTo>
                <a:cubicBezTo>
                  <a:pt x="131" y="227"/>
                  <a:pt x="130" y="227"/>
                  <a:pt x="129" y="227"/>
                </a:cubicBezTo>
                <a:cubicBezTo>
                  <a:pt x="122" y="221"/>
                  <a:pt x="122" y="221"/>
                  <a:pt x="122" y="221"/>
                </a:cubicBezTo>
                <a:cubicBezTo>
                  <a:pt x="121" y="220"/>
                  <a:pt x="121" y="218"/>
                  <a:pt x="120" y="217"/>
                </a:cubicBezTo>
                <a:cubicBezTo>
                  <a:pt x="119" y="215"/>
                  <a:pt x="116" y="214"/>
                  <a:pt x="114" y="213"/>
                </a:cubicBezTo>
                <a:cubicBezTo>
                  <a:pt x="112" y="215"/>
                  <a:pt x="111" y="215"/>
                  <a:pt x="112" y="219"/>
                </a:cubicBezTo>
                <a:cubicBezTo>
                  <a:pt x="112" y="220"/>
                  <a:pt x="114" y="219"/>
                  <a:pt x="114" y="221"/>
                </a:cubicBezTo>
                <a:cubicBezTo>
                  <a:pt x="113" y="223"/>
                  <a:pt x="109" y="229"/>
                  <a:pt x="108" y="231"/>
                </a:cubicBezTo>
                <a:cubicBezTo>
                  <a:pt x="106" y="231"/>
                  <a:pt x="98" y="232"/>
                  <a:pt x="96" y="234"/>
                </a:cubicBezTo>
                <a:cubicBezTo>
                  <a:pt x="95" y="236"/>
                  <a:pt x="96" y="238"/>
                  <a:pt x="95" y="239"/>
                </a:cubicBezTo>
                <a:cubicBezTo>
                  <a:pt x="95" y="240"/>
                  <a:pt x="89" y="242"/>
                  <a:pt x="88" y="242"/>
                </a:cubicBezTo>
                <a:cubicBezTo>
                  <a:pt x="88" y="241"/>
                  <a:pt x="88" y="239"/>
                  <a:pt x="88" y="239"/>
                </a:cubicBezTo>
                <a:cubicBezTo>
                  <a:pt x="87" y="239"/>
                  <a:pt x="86" y="240"/>
                  <a:pt x="86" y="239"/>
                </a:cubicBezTo>
                <a:cubicBezTo>
                  <a:pt x="85" y="241"/>
                  <a:pt x="85" y="239"/>
                  <a:pt x="84" y="240"/>
                </a:cubicBezTo>
                <a:cubicBezTo>
                  <a:pt x="84" y="241"/>
                  <a:pt x="84" y="241"/>
                  <a:pt x="84" y="241"/>
                </a:cubicBezTo>
                <a:cubicBezTo>
                  <a:pt x="85" y="241"/>
                  <a:pt x="85" y="242"/>
                  <a:pt x="85" y="243"/>
                </a:cubicBezTo>
                <a:cubicBezTo>
                  <a:pt x="84" y="243"/>
                  <a:pt x="83" y="243"/>
                  <a:pt x="82" y="243"/>
                </a:cubicBezTo>
                <a:cubicBezTo>
                  <a:pt x="82" y="243"/>
                  <a:pt x="82" y="244"/>
                  <a:pt x="82" y="245"/>
                </a:cubicBezTo>
                <a:cubicBezTo>
                  <a:pt x="82" y="245"/>
                  <a:pt x="80" y="245"/>
                  <a:pt x="81" y="244"/>
                </a:cubicBezTo>
                <a:cubicBezTo>
                  <a:pt x="80" y="244"/>
                  <a:pt x="80" y="244"/>
                  <a:pt x="80" y="244"/>
                </a:cubicBezTo>
                <a:cubicBezTo>
                  <a:pt x="79" y="244"/>
                  <a:pt x="79" y="247"/>
                  <a:pt x="79" y="247"/>
                </a:cubicBezTo>
                <a:cubicBezTo>
                  <a:pt x="79" y="248"/>
                  <a:pt x="77" y="248"/>
                  <a:pt x="77" y="249"/>
                </a:cubicBezTo>
                <a:cubicBezTo>
                  <a:pt x="76" y="250"/>
                  <a:pt x="77" y="251"/>
                  <a:pt x="78" y="252"/>
                </a:cubicBezTo>
                <a:cubicBezTo>
                  <a:pt x="75" y="253"/>
                  <a:pt x="74" y="253"/>
                  <a:pt x="72" y="253"/>
                </a:cubicBezTo>
                <a:cubicBezTo>
                  <a:pt x="73" y="248"/>
                  <a:pt x="71" y="250"/>
                  <a:pt x="76" y="247"/>
                </a:cubicBezTo>
                <a:cubicBezTo>
                  <a:pt x="75" y="246"/>
                  <a:pt x="75" y="244"/>
                  <a:pt x="75" y="243"/>
                </a:cubicBezTo>
                <a:cubicBezTo>
                  <a:pt x="76" y="242"/>
                  <a:pt x="78" y="242"/>
                  <a:pt x="79" y="241"/>
                </a:cubicBezTo>
                <a:cubicBezTo>
                  <a:pt x="79" y="240"/>
                  <a:pt x="80" y="237"/>
                  <a:pt x="80" y="237"/>
                </a:cubicBezTo>
                <a:cubicBezTo>
                  <a:pt x="84" y="236"/>
                  <a:pt x="88" y="234"/>
                  <a:pt x="91" y="234"/>
                </a:cubicBezTo>
                <a:cubicBezTo>
                  <a:pt x="93" y="234"/>
                  <a:pt x="93" y="235"/>
                  <a:pt x="95" y="234"/>
                </a:cubicBezTo>
                <a:cubicBezTo>
                  <a:pt x="95" y="234"/>
                  <a:pt x="98" y="230"/>
                  <a:pt x="98" y="229"/>
                </a:cubicBezTo>
                <a:cubicBezTo>
                  <a:pt x="102" y="227"/>
                  <a:pt x="102" y="227"/>
                  <a:pt x="102" y="227"/>
                </a:cubicBezTo>
                <a:cubicBezTo>
                  <a:pt x="102" y="226"/>
                  <a:pt x="101" y="225"/>
                  <a:pt x="102" y="224"/>
                </a:cubicBezTo>
                <a:cubicBezTo>
                  <a:pt x="97" y="224"/>
                  <a:pt x="95" y="224"/>
                  <a:pt x="91" y="223"/>
                </a:cubicBezTo>
                <a:cubicBezTo>
                  <a:pt x="90" y="226"/>
                  <a:pt x="89" y="228"/>
                  <a:pt x="88" y="231"/>
                </a:cubicBezTo>
                <a:cubicBezTo>
                  <a:pt x="85" y="230"/>
                  <a:pt x="84" y="230"/>
                  <a:pt x="82" y="230"/>
                </a:cubicBezTo>
                <a:cubicBezTo>
                  <a:pt x="82" y="230"/>
                  <a:pt x="81" y="231"/>
                  <a:pt x="81" y="231"/>
                </a:cubicBezTo>
                <a:cubicBezTo>
                  <a:pt x="80" y="232"/>
                  <a:pt x="78" y="231"/>
                  <a:pt x="77" y="231"/>
                </a:cubicBezTo>
                <a:cubicBezTo>
                  <a:pt x="76" y="233"/>
                  <a:pt x="76" y="233"/>
                  <a:pt x="76" y="233"/>
                </a:cubicBezTo>
                <a:cubicBezTo>
                  <a:pt x="75" y="233"/>
                  <a:pt x="74" y="232"/>
                  <a:pt x="73" y="233"/>
                </a:cubicBezTo>
                <a:cubicBezTo>
                  <a:pt x="72" y="234"/>
                  <a:pt x="72" y="237"/>
                  <a:pt x="72" y="238"/>
                </a:cubicBezTo>
                <a:cubicBezTo>
                  <a:pt x="70" y="239"/>
                  <a:pt x="68" y="239"/>
                  <a:pt x="66" y="239"/>
                </a:cubicBezTo>
                <a:cubicBezTo>
                  <a:pt x="65" y="239"/>
                  <a:pt x="66" y="237"/>
                  <a:pt x="66" y="237"/>
                </a:cubicBezTo>
                <a:cubicBezTo>
                  <a:pt x="65" y="236"/>
                  <a:pt x="61" y="235"/>
                  <a:pt x="61" y="235"/>
                </a:cubicBezTo>
                <a:cubicBezTo>
                  <a:pt x="60" y="233"/>
                  <a:pt x="61" y="233"/>
                  <a:pt x="60" y="233"/>
                </a:cubicBezTo>
                <a:cubicBezTo>
                  <a:pt x="60" y="234"/>
                  <a:pt x="61" y="237"/>
                  <a:pt x="60" y="237"/>
                </a:cubicBezTo>
                <a:cubicBezTo>
                  <a:pt x="60" y="238"/>
                  <a:pt x="59" y="238"/>
                  <a:pt x="58" y="239"/>
                </a:cubicBezTo>
                <a:cubicBezTo>
                  <a:pt x="58" y="239"/>
                  <a:pt x="59" y="240"/>
                  <a:pt x="58" y="241"/>
                </a:cubicBezTo>
                <a:cubicBezTo>
                  <a:pt x="57" y="240"/>
                  <a:pt x="57" y="240"/>
                  <a:pt x="55" y="240"/>
                </a:cubicBezTo>
                <a:cubicBezTo>
                  <a:pt x="55" y="241"/>
                  <a:pt x="55" y="244"/>
                  <a:pt x="55" y="244"/>
                </a:cubicBezTo>
                <a:cubicBezTo>
                  <a:pt x="54" y="244"/>
                  <a:pt x="54" y="244"/>
                  <a:pt x="53" y="244"/>
                </a:cubicBezTo>
                <a:cubicBezTo>
                  <a:pt x="52" y="244"/>
                  <a:pt x="53" y="243"/>
                  <a:pt x="52" y="242"/>
                </a:cubicBezTo>
                <a:cubicBezTo>
                  <a:pt x="47" y="242"/>
                  <a:pt x="47" y="242"/>
                  <a:pt x="47" y="242"/>
                </a:cubicBezTo>
                <a:cubicBezTo>
                  <a:pt x="47" y="243"/>
                  <a:pt x="47" y="244"/>
                  <a:pt x="47" y="245"/>
                </a:cubicBezTo>
                <a:cubicBezTo>
                  <a:pt x="52" y="247"/>
                  <a:pt x="53" y="248"/>
                  <a:pt x="53" y="253"/>
                </a:cubicBezTo>
                <a:cubicBezTo>
                  <a:pt x="52" y="253"/>
                  <a:pt x="52" y="253"/>
                  <a:pt x="52" y="253"/>
                </a:cubicBezTo>
                <a:cubicBezTo>
                  <a:pt x="50" y="251"/>
                  <a:pt x="50" y="249"/>
                  <a:pt x="48" y="247"/>
                </a:cubicBezTo>
                <a:cubicBezTo>
                  <a:pt x="47" y="247"/>
                  <a:pt x="38" y="243"/>
                  <a:pt x="38" y="243"/>
                </a:cubicBezTo>
                <a:cubicBezTo>
                  <a:pt x="37" y="242"/>
                  <a:pt x="36" y="243"/>
                  <a:pt x="35" y="243"/>
                </a:cubicBezTo>
                <a:cubicBezTo>
                  <a:pt x="34" y="242"/>
                  <a:pt x="33" y="240"/>
                  <a:pt x="32" y="239"/>
                </a:cubicBezTo>
                <a:cubicBezTo>
                  <a:pt x="31" y="239"/>
                  <a:pt x="30" y="240"/>
                  <a:pt x="28" y="239"/>
                </a:cubicBezTo>
                <a:cubicBezTo>
                  <a:pt x="28" y="239"/>
                  <a:pt x="26" y="236"/>
                  <a:pt x="25" y="236"/>
                </a:cubicBezTo>
                <a:cubicBezTo>
                  <a:pt x="24" y="236"/>
                  <a:pt x="23" y="236"/>
                  <a:pt x="22" y="236"/>
                </a:cubicBezTo>
                <a:cubicBezTo>
                  <a:pt x="21" y="235"/>
                  <a:pt x="20" y="232"/>
                  <a:pt x="18" y="232"/>
                </a:cubicBezTo>
                <a:cubicBezTo>
                  <a:pt x="14" y="231"/>
                  <a:pt x="10" y="234"/>
                  <a:pt x="7" y="233"/>
                </a:cubicBezTo>
                <a:cubicBezTo>
                  <a:pt x="7" y="232"/>
                  <a:pt x="7" y="232"/>
                  <a:pt x="7" y="232"/>
                </a:cubicBezTo>
                <a:cubicBezTo>
                  <a:pt x="4" y="231"/>
                  <a:pt x="2" y="232"/>
                  <a:pt x="0" y="231"/>
                </a:cubicBezTo>
                <a:cubicBezTo>
                  <a:pt x="3" y="370"/>
                  <a:pt x="3" y="370"/>
                  <a:pt x="3" y="370"/>
                </a:cubicBezTo>
                <a:cubicBezTo>
                  <a:pt x="3" y="370"/>
                  <a:pt x="9" y="367"/>
                  <a:pt x="11" y="368"/>
                </a:cubicBezTo>
                <a:cubicBezTo>
                  <a:pt x="12" y="369"/>
                  <a:pt x="15" y="371"/>
                  <a:pt x="16" y="370"/>
                </a:cubicBezTo>
                <a:cubicBezTo>
                  <a:pt x="22" y="364"/>
                  <a:pt x="19" y="370"/>
                  <a:pt x="20" y="373"/>
                </a:cubicBezTo>
                <a:cubicBezTo>
                  <a:pt x="21" y="376"/>
                  <a:pt x="21" y="376"/>
                  <a:pt x="23" y="379"/>
                </a:cubicBezTo>
                <a:cubicBezTo>
                  <a:pt x="25" y="382"/>
                  <a:pt x="31" y="385"/>
                  <a:pt x="33" y="388"/>
                </a:cubicBezTo>
                <a:cubicBezTo>
                  <a:pt x="35" y="391"/>
                  <a:pt x="32" y="395"/>
                  <a:pt x="37" y="390"/>
                </a:cubicBezTo>
                <a:cubicBezTo>
                  <a:pt x="40" y="388"/>
                  <a:pt x="43" y="389"/>
                  <a:pt x="44" y="386"/>
                </a:cubicBezTo>
                <a:cubicBezTo>
                  <a:pt x="45" y="383"/>
                  <a:pt x="42" y="381"/>
                  <a:pt x="44" y="381"/>
                </a:cubicBezTo>
                <a:cubicBezTo>
                  <a:pt x="47" y="381"/>
                  <a:pt x="50" y="378"/>
                  <a:pt x="52" y="381"/>
                </a:cubicBezTo>
                <a:cubicBezTo>
                  <a:pt x="53" y="384"/>
                  <a:pt x="58" y="383"/>
                  <a:pt x="58" y="386"/>
                </a:cubicBezTo>
                <a:cubicBezTo>
                  <a:pt x="58" y="388"/>
                  <a:pt x="58" y="390"/>
                  <a:pt x="61" y="390"/>
                </a:cubicBezTo>
                <a:cubicBezTo>
                  <a:pt x="65" y="391"/>
                  <a:pt x="67" y="395"/>
                  <a:pt x="69" y="397"/>
                </a:cubicBezTo>
                <a:cubicBezTo>
                  <a:pt x="70" y="400"/>
                  <a:pt x="77" y="406"/>
                  <a:pt x="79" y="409"/>
                </a:cubicBezTo>
                <a:cubicBezTo>
                  <a:pt x="81" y="412"/>
                  <a:pt x="81" y="416"/>
                  <a:pt x="85" y="418"/>
                </a:cubicBezTo>
                <a:cubicBezTo>
                  <a:pt x="88" y="420"/>
                  <a:pt x="87" y="423"/>
                  <a:pt x="91" y="425"/>
                </a:cubicBezTo>
                <a:cubicBezTo>
                  <a:pt x="94" y="427"/>
                  <a:pt x="97" y="422"/>
                  <a:pt x="97" y="425"/>
                </a:cubicBezTo>
                <a:cubicBezTo>
                  <a:pt x="97" y="428"/>
                  <a:pt x="98" y="430"/>
                  <a:pt x="99" y="433"/>
                </a:cubicBezTo>
                <a:cubicBezTo>
                  <a:pt x="100" y="436"/>
                  <a:pt x="100" y="434"/>
                  <a:pt x="102" y="435"/>
                </a:cubicBezTo>
                <a:cubicBezTo>
                  <a:pt x="104" y="437"/>
                  <a:pt x="103" y="441"/>
                  <a:pt x="105" y="441"/>
                </a:cubicBezTo>
                <a:cubicBezTo>
                  <a:pt x="107" y="441"/>
                  <a:pt x="103" y="443"/>
                  <a:pt x="104" y="445"/>
                </a:cubicBezTo>
                <a:cubicBezTo>
                  <a:pt x="104" y="447"/>
                  <a:pt x="104" y="448"/>
                  <a:pt x="104" y="449"/>
                </a:cubicBezTo>
                <a:cubicBezTo>
                  <a:pt x="103" y="450"/>
                  <a:pt x="101" y="453"/>
                  <a:pt x="101" y="453"/>
                </a:cubicBezTo>
                <a:close/>
                <a:moveTo>
                  <a:pt x="506" y="620"/>
                </a:moveTo>
                <a:cubicBezTo>
                  <a:pt x="506" y="620"/>
                  <a:pt x="506" y="620"/>
                  <a:pt x="506" y="619"/>
                </a:cubicBezTo>
                <a:cubicBezTo>
                  <a:pt x="505" y="620"/>
                  <a:pt x="505" y="621"/>
                  <a:pt x="505" y="621"/>
                </a:cubicBezTo>
                <a:lnTo>
                  <a:pt x="506" y="620"/>
                </a:lnTo>
                <a:close/>
                <a:moveTo>
                  <a:pt x="656" y="29"/>
                </a:moveTo>
                <a:cubicBezTo>
                  <a:pt x="657" y="29"/>
                  <a:pt x="657" y="30"/>
                  <a:pt x="657" y="31"/>
                </a:cubicBezTo>
                <a:cubicBezTo>
                  <a:pt x="653" y="30"/>
                  <a:pt x="653" y="29"/>
                  <a:pt x="656" y="29"/>
                </a:cubicBezTo>
                <a:close/>
                <a:moveTo>
                  <a:pt x="386" y="265"/>
                </a:moveTo>
                <a:cubicBezTo>
                  <a:pt x="386" y="266"/>
                  <a:pt x="386" y="266"/>
                  <a:pt x="386" y="266"/>
                </a:cubicBezTo>
                <a:cubicBezTo>
                  <a:pt x="384" y="266"/>
                  <a:pt x="385" y="265"/>
                  <a:pt x="386" y="265"/>
                </a:cubicBezTo>
                <a:close/>
                <a:moveTo>
                  <a:pt x="94" y="241"/>
                </a:moveTo>
                <a:cubicBezTo>
                  <a:pt x="95" y="241"/>
                  <a:pt x="94" y="242"/>
                  <a:pt x="94" y="242"/>
                </a:cubicBezTo>
                <a:cubicBezTo>
                  <a:pt x="94" y="241"/>
                  <a:pt x="93" y="240"/>
                  <a:pt x="94" y="241"/>
                </a:cubicBezTo>
                <a:close/>
                <a:moveTo>
                  <a:pt x="147" y="518"/>
                </a:moveTo>
                <a:cubicBezTo>
                  <a:pt x="147" y="520"/>
                  <a:pt x="147" y="521"/>
                  <a:pt x="147" y="522"/>
                </a:cubicBezTo>
                <a:cubicBezTo>
                  <a:pt x="148" y="522"/>
                  <a:pt x="148" y="523"/>
                  <a:pt x="149" y="523"/>
                </a:cubicBezTo>
                <a:cubicBezTo>
                  <a:pt x="155" y="525"/>
                  <a:pt x="147" y="518"/>
                  <a:pt x="147" y="518"/>
                </a:cubicBezTo>
                <a:close/>
                <a:moveTo>
                  <a:pt x="113" y="492"/>
                </a:moveTo>
                <a:cubicBezTo>
                  <a:pt x="112" y="492"/>
                  <a:pt x="114" y="494"/>
                  <a:pt x="114" y="494"/>
                </a:cubicBezTo>
                <a:cubicBezTo>
                  <a:pt x="114" y="494"/>
                  <a:pt x="115" y="491"/>
                  <a:pt x="113" y="492"/>
                </a:cubicBezTo>
                <a:close/>
                <a:moveTo>
                  <a:pt x="111" y="472"/>
                </a:moveTo>
                <a:cubicBezTo>
                  <a:pt x="112" y="472"/>
                  <a:pt x="110" y="473"/>
                  <a:pt x="110" y="473"/>
                </a:cubicBezTo>
                <a:cubicBezTo>
                  <a:pt x="110" y="473"/>
                  <a:pt x="110" y="471"/>
                  <a:pt x="111" y="472"/>
                </a:cubicBezTo>
                <a:close/>
                <a:moveTo>
                  <a:pt x="453" y="542"/>
                </a:moveTo>
                <a:cubicBezTo>
                  <a:pt x="452" y="543"/>
                  <a:pt x="454" y="544"/>
                  <a:pt x="454" y="544"/>
                </a:cubicBezTo>
                <a:cubicBezTo>
                  <a:pt x="454" y="544"/>
                  <a:pt x="456" y="542"/>
                  <a:pt x="453" y="542"/>
                </a:cubicBezTo>
                <a:close/>
                <a:moveTo>
                  <a:pt x="464" y="536"/>
                </a:moveTo>
                <a:cubicBezTo>
                  <a:pt x="464" y="536"/>
                  <a:pt x="463" y="537"/>
                  <a:pt x="463" y="537"/>
                </a:cubicBezTo>
                <a:cubicBezTo>
                  <a:pt x="465" y="537"/>
                  <a:pt x="466" y="536"/>
                  <a:pt x="464" y="536"/>
                </a:cubicBezTo>
                <a:close/>
                <a:moveTo>
                  <a:pt x="638" y="573"/>
                </a:moveTo>
                <a:cubicBezTo>
                  <a:pt x="639" y="573"/>
                  <a:pt x="637" y="574"/>
                  <a:pt x="637" y="574"/>
                </a:cubicBezTo>
                <a:cubicBezTo>
                  <a:pt x="637" y="574"/>
                  <a:pt x="637" y="572"/>
                  <a:pt x="638" y="573"/>
                </a:cubicBezTo>
                <a:close/>
                <a:moveTo>
                  <a:pt x="693" y="583"/>
                </a:moveTo>
                <a:cubicBezTo>
                  <a:pt x="693" y="584"/>
                  <a:pt x="693" y="584"/>
                  <a:pt x="693" y="584"/>
                </a:cubicBezTo>
                <a:cubicBezTo>
                  <a:pt x="694" y="584"/>
                  <a:pt x="694" y="584"/>
                  <a:pt x="694" y="584"/>
                </a:cubicBezTo>
                <a:cubicBezTo>
                  <a:pt x="694" y="584"/>
                  <a:pt x="695" y="583"/>
                  <a:pt x="693" y="583"/>
                </a:cubicBezTo>
                <a:close/>
                <a:moveTo>
                  <a:pt x="613" y="559"/>
                </a:moveTo>
                <a:cubicBezTo>
                  <a:pt x="617" y="558"/>
                  <a:pt x="612" y="562"/>
                  <a:pt x="611" y="562"/>
                </a:cubicBezTo>
                <a:cubicBezTo>
                  <a:pt x="607" y="564"/>
                  <a:pt x="612" y="559"/>
                  <a:pt x="613" y="559"/>
                </a:cubicBezTo>
                <a:close/>
                <a:moveTo>
                  <a:pt x="667" y="520"/>
                </a:moveTo>
                <a:cubicBezTo>
                  <a:pt x="667" y="521"/>
                  <a:pt x="667" y="523"/>
                  <a:pt x="667" y="524"/>
                </a:cubicBezTo>
                <a:cubicBezTo>
                  <a:pt x="668" y="524"/>
                  <a:pt x="669" y="524"/>
                  <a:pt x="671" y="524"/>
                </a:cubicBezTo>
                <a:cubicBezTo>
                  <a:pt x="674" y="527"/>
                  <a:pt x="674" y="527"/>
                  <a:pt x="674" y="527"/>
                </a:cubicBezTo>
                <a:cubicBezTo>
                  <a:pt x="674" y="528"/>
                  <a:pt x="674" y="529"/>
                  <a:pt x="674" y="529"/>
                </a:cubicBezTo>
                <a:cubicBezTo>
                  <a:pt x="675" y="530"/>
                  <a:pt x="677" y="530"/>
                  <a:pt x="679" y="530"/>
                </a:cubicBezTo>
                <a:cubicBezTo>
                  <a:pt x="681" y="531"/>
                  <a:pt x="683" y="533"/>
                  <a:pt x="685" y="534"/>
                </a:cubicBezTo>
                <a:cubicBezTo>
                  <a:pt x="686" y="534"/>
                  <a:pt x="687" y="534"/>
                  <a:pt x="689" y="534"/>
                </a:cubicBezTo>
                <a:cubicBezTo>
                  <a:pt x="689" y="533"/>
                  <a:pt x="690" y="533"/>
                  <a:pt x="690" y="532"/>
                </a:cubicBezTo>
                <a:cubicBezTo>
                  <a:pt x="686" y="529"/>
                  <a:pt x="686" y="529"/>
                  <a:pt x="686" y="529"/>
                </a:cubicBezTo>
                <a:cubicBezTo>
                  <a:pt x="686" y="529"/>
                  <a:pt x="685" y="529"/>
                  <a:pt x="685" y="529"/>
                </a:cubicBezTo>
                <a:cubicBezTo>
                  <a:pt x="683" y="528"/>
                  <a:pt x="682" y="525"/>
                  <a:pt x="681" y="524"/>
                </a:cubicBezTo>
                <a:cubicBezTo>
                  <a:pt x="681" y="524"/>
                  <a:pt x="679" y="525"/>
                  <a:pt x="679" y="524"/>
                </a:cubicBezTo>
                <a:cubicBezTo>
                  <a:pt x="676" y="524"/>
                  <a:pt x="674" y="522"/>
                  <a:pt x="672" y="521"/>
                </a:cubicBezTo>
                <a:cubicBezTo>
                  <a:pt x="670" y="521"/>
                  <a:pt x="669" y="521"/>
                  <a:pt x="667" y="520"/>
                </a:cubicBezTo>
                <a:close/>
                <a:moveTo>
                  <a:pt x="538" y="591"/>
                </a:moveTo>
                <a:cubicBezTo>
                  <a:pt x="538" y="592"/>
                  <a:pt x="539" y="593"/>
                  <a:pt x="539" y="593"/>
                </a:cubicBezTo>
                <a:cubicBezTo>
                  <a:pt x="538" y="596"/>
                  <a:pt x="538" y="596"/>
                  <a:pt x="538" y="596"/>
                </a:cubicBezTo>
                <a:cubicBezTo>
                  <a:pt x="534" y="594"/>
                  <a:pt x="537" y="593"/>
                  <a:pt x="538" y="591"/>
                </a:cubicBezTo>
                <a:close/>
                <a:moveTo>
                  <a:pt x="518" y="583"/>
                </a:moveTo>
                <a:cubicBezTo>
                  <a:pt x="518" y="583"/>
                  <a:pt x="519" y="586"/>
                  <a:pt x="519" y="586"/>
                </a:cubicBezTo>
                <a:cubicBezTo>
                  <a:pt x="522" y="587"/>
                  <a:pt x="520" y="584"/>
                  <a:pt x="518" y="583"/>
                </a:cubicBezTo>
                <a:close/>
                <a:moveTo>
                  <a:pt x="583" y="578"/>
                </a:moveTo>
                <a:cubicBezTo>
                  <a:pt x="584" y="579"/>
                  <a:pt x="586" y="580"/>
                  <a:pt x="587" y="580"/>
                </a:cubicBezTo>
                <a:cubicBezTo>
                  <a:pt x="586" y="581"/>
                  <a:pt x="585" y="583"/>
                  <a:pt x="583" y="582"/>
                </a:cubicBezTo>
                <a:cubicBezTo>
                  <a:pt x="583" y="582"/>
                  <a:pt x="584" y="581"/>
                  <a:pt x="584" y="580"/>
                </a:cubicBezTo>
                <a:cubicBezTo>
                  <a:pt x="583" y="580"/>
                  <a:pt x="580" y="580"/>
                  <a:pt x="582" y="579"/>
                </a:cubicBezTo>
                <a:cubicBezTo>
                  <a:pt x="584" y="578"/>
                  <a:pt x="581" y="578"/>
                  <a:pt x="583" y="578"/>
                </a:cubicBezTo>
                <a:close/>
                <a:moveTo>
                  <a:pt x="506" y="575"/>
                </a:moveTo>
                <a:cubicBezTo>
                  <a:pt x="507" y="575"/>
                  <a:pt x="506" y="576"/>
                  <a:pt x="506" y="576"/>
                </a:cubicBezTo>
                <a:cubicBezTo>
                  <a:pt x="507" y="577"/>
                  <a:pt x="509" y="578"/>
                  <a:pt x="510" y="578"/>
                </a:cubicBezTo>
                <a:cubicBezTo>
                  <a:pt x="512" y="579"/>
                  <a:pt x="516" y="579"/>
                  <a:pt x="516" y="579"/>
                </a:cubicBezTo>
                <a:cubicBezTo>
                  <a:pt x="518" y="580"/>
                  <a:pt x="515" y="578"/>
                  <a:pt x="515" y="578"/>
                </a:cubicBezTo>
                <a:cubicBezTo>
                  <a:pt x="512" y="576"/>
                  <a:pt x="510" y="576"/>
                  <a:pt x="506" y="575"/>
                </a:cubicBezTo>
                <a:close/>
                <a:moveTo>
                  <a:pt x="708" y="568"/>
                </a:moveTo>
                <a:cubicBezTo>
                  <a:pt x="707" y="569"/>
                  <a:pt x="707" y="570"/>
                  <a:pt x="707" y="570"/>
                </a:cubicBezTo>
                <a:cubicBezTo>
                  <a:pt x="706" y="571"/>
                  <a:pt x="705" y="570"/>
                  <a:pt x="704" y="570"/>
                </a:cubicBezTo>
                <a:cubicBezTo>
                  <a:pt x="703" y="571"/>
                  <a:pt x="702" y="572"/>
                  <a:pt x="702" y="573"/>
                </a:cubicBezTo>
                <a:cubicBezTo>
                  <a:pt x="703" y="574"/>
                  <a:pt x="703" y="574"/>
                  <a:pt x="702" y="574"/>
                </a:cubicBezTo>
                <a:cubicBezTo>
                  <a:pt x="702" y="576"/>
                  <a:pt x="701" y="578"/>
                  <a:pt x="701" y="579"/>
                </a:cubicBezTo>
                <a:cubicBezTo>
                  <a:pt x="703" y="578"/>
                  <a:pt x="705" y="579"/>
                  <a:pt x="706" y="578"/>
                </a:cubicBezTo>
                <a:cubicBezTo>
                  <a:pt x="707" y="577"/>
                  <a:pt x="706" y="576"/>
                  <a:pt x="706" y="576"/>
                </a:cubicBezTo>
                <a:cubicBezTo>
                  <a:pt x="706" y="576"/>
                  <a:pt x="713" y="571"/>
                  <a:pt x="708" y="574"/>
                </a:cubicBezTo>
                <a:cubicBezTo>
                  <a:pt x="708" y="573"/>
                  <a:pt x="708" y="572"/>
                  <a:pt x="708" y="572"/>
                </a:cubicBezTo>
                <a:cubicBezTo>
                  <a:pt x="711" y="571"/>
                  <a:pt x="709" y="570"/>
                  <a:pt x="708" y="568"/>
                </a:cubicBezTo>
                <a:close/>
                <a:moveTo>
                  <a:pt x="532" y="566"/>
                </a:moveTo>
                <a:cubicBezTo>
                  <a:pt x="535" y="567"/>
                  <a:pt x="536" y="570"/>
                  <a:pt x="532" y="570"/>
                </a:cubicBezTo>
                <a:cubicBezTo>
                  <a:pt x="532" y="569"/>
                  <a:pt x="532" y="569"/>
                  <a:pt x="532" y="569"/>
                </a:cubicBezTo>
                <a:cubicBezTo>
                  <a:pt x="530" y="569"/>
                  <a:pt x="528" y="569"/>
                  <a:pt x="527" y="568"/>
                </a:cubicBezTo>
                <a:cubicBezTo>
                  <a:pt x="527" y="567"/>
                  <a:pt x="527" y="567"/>
                  <a:pt x="527" y="567"/>
                </a:cubicBezTo>
                <a:cubicBezTo>
                  <a:pt x="528" y="567"/>
                  <a:pt x="531" y="566"/>
                  <a:pt x="532" y="566"/>
                </a:cubicBezTo>
                <a:close/>
                <a:moveTo>
                  <a:pt x="671" y="560"/>
                </a:moveTo>
                <a:cubicBezTo>
                  <a:pt x="670" y="560"/>
                  <a:pt x="670" y="561"/>
                  <a:pt x="670" y="562"/>
                </a:cubicBezTo>
                <a:cubicBezTo>
                  <a:pt x="670" y="563"/>
                  <a:pt x="668" y="564"/>
                  <a:pt x="668" y="564"/>
                </a:cubicBezTo>
                <a:cubicBezTo>
                  <a:pt x="669" y="566"/>
                  <a:pt x="669" y="566"/>
                  <a:pt x="669" y="566"/>
                </a:cubicBezTo>
                <a:cubicBezTo>
                  <a:pt x="669" y="566"/>
                  <a:pt x="671" y="566"/>
                  <a:pt x="671" y="566"/>
                </a:cubicBezTo>
                <a:cubicBezTo>
                  <a:pt x="672" y="567"/>
                  <a:pt x="671" y="569"/>
                  <a:pt x="672" y="569"/>
                </a:cubicBezTo>
                <a:cubicBezTo>
                  <a:pt x="672" y="569"/>
                  <a:pt x="674" y="569"/>
                  <a:pt x="674" y="569"/>
                </a:cubicBezTo>
                <a:cubicBezTo>
                  <a:pt x="679" y="570"/>
                  <a:pt x="678" y="570"/>
                  <a:pt x="683" y="568"/>
                </a:cubicBezTo>
                <a:cubicBezTo>
                  <a:pt x="683" y="569"/>
                  <a:pt x="683" y="570"/>
                  <a:pt x="682" y="570"/>
                </a:cubicBezTo>
                <a:cubicBezTo>
                  <a:pt x="682" y="572"/>
                  <a:pt x="682" y="572"/>
                  <a:pt x="682" y="572"/>
                </a:cubicBezTo>
                <a:cubicBezTo>
                  <a:pt x="683" y="572"/>
                  <a:pt x="683" y="573"/>
                  <a:pt x="683" y="573"/>
                </a:cubicBezTo>
                <a:cubicBezTo>
                  <a:pt x="684" y="573"/>
                  <a:pt x="685" y="573"/>
                  <a:pt x="686" y="573"/>
                </a:cubicBezTo>
                <a:cubicBezTo>
                  <a:pt x="685" y="572"/>
                  <a:pt x="686" y="572"/>
                  <a:pt x="686" y="572"/>
                </a:cubicBezTo>
                <a:cubicBezTo>
                  <a:pt x="686" y="572"/>
                  <a:pt x="687" y="571"/>
                  <a:pt x="687" y="571"/>
                </a:cubicBezTo>
                <a:cubicBezTo>
                  <a:pt x="686" y="571"/>
                  <a:pt x="685" y="570"/>
                  <a:pt x="685" y="570"/>
                </a:cubicBezTo>
                <a:cubicBezTo>
                  <a:pt x="685" y="569"/>
                  <a:pt x="685" y="568"/>
                  <a:pt x="685" y="568"/>
                </a:cubicBezTo>
                <a:cubicBezTo>
                  <a:pt x="685" y="568"/>
                  <a:pt x="687" y="567"/>
                  <a:pt x="686" y="567"/>
                </a:cubicBezTo>
                <a:cubicBezTo>
                  <a:pt x="684" y="567"/>
                  <a:pt x="680" y="568"/>
                  <a:pt x="677" y="568"/>
                </a:cubicBezTo>
                <a:cubicBezTo>
                  <a:pt x="677" y="566"/>
                  <a:pt x="677" y="566"/>
                  <a:pt x="677" y="566"/>
                </a:cubicBezTo>
                <a:cubicBezTo>
                  <a:pt x="676" y="566"/>
                  <a:pt x="676" y="567"/>
                  <a:pt x="676" y="567"/>
                </a:cubicBezTo>
                <a:cubicBezTo>
                  <a:pt x="674" y="568"/>
                  <a:pt x="672" y="566"/>
                  <a:pt x="671" y="565"/>
                </a:cubicBezTo>
                <a:cubicBezTo>
                  <a:pt x="671" y="565"/>
                  <a:pt x="672" y="562"/>
                  <a:pt x="671" y="562"/>
                </a:cubicBezTo>
                <a:cubicBezTo>
                  <a:pt x="672" y="562"/>
                  <a:pt x="673" y="559"/>
                  <a:pt x="671" y="560"/>
                </a:cubicBezTo>
                <a:close/>
                <a:moveTo>
                  <a:pt x="707" y="558"/>
                </a:moveTo>
                <a:cubicBezTo>
                  <a:pt x="706" y="560"/>
                  <a:pt x="706" y="560"/>
                  <a:pt x="706" y="560"/>
                </a:cubicBezTo>
                <a:cubicBezTo>
                  <a:pt x="703" y="561"/>
                  <a:pt x="702" y="559"/>
                  <a:pt x="700" y="559"/>
                </a:cubicBezTo>
                <a:cubicBezTo>
                  <a:pt x="699" y="560"/>
                  <a:pt x="698" y="561"/>
                  <a:pt x="697" y="562"/>
                </a:cubicBezTo>
                <a:cubicBezTo>
                  <a:pt x="698" y="562"/>
                  <a:pt x="698" y="565"/>
                  <a:pt x="697" y="566"/>
                </a:cubicBezTo>
                <a:cubicBezTo>
                  <a:pt x="695" y="566"/>
                  <a:pt x="695" y="566"/>
                  <a:pt x="695" y="566"/>
                </a:cubicBezTo>
                <a:cubicBezTo>
                  <a:pt x="695" y="567"/>
                  <a:pt x="694" y="568"/>
                  <a:pt x="694" y="568"/>
                </a:cubicBezTo>
                <a:cubicBezTo>
                  <a:pt x="693" y="570"/>
                  <a:pt x="695" y="570"/>
                  <a:pt x="694" y="571"/>
                </a:cubicBezTo>
                <a:cubicBezTo>
                  <a:pt x="692" y="572"/>
                  <a:pt x="692" y="572"/>
                  <a:pt x="692" y="572"/>
                </a:cubicBezTo>
                <a:cubicBezTo>
                  <a:pt x="693" y="575"/>
                  <a:pt x="692" y="578"/>
                  <a:pt x="694" y="579"/>
                </a:cubicBezTo>
                <a:cubicBezTo>
                  <a:pt x="696" y="580"/>
                  <a:pt x="696" y="579"/>
                  <a:pt x="698" y="580"/>
                </a:cubicBezTo>
                <a:cubicBezTo>
                  <a:pt x="698" y="579"/>
                  <a:pt x="699" y="579"/>
                  <a:pt x="698" y="578"/>
                </a:cubicBezTo>
                <a:cubicBezTo>
                  <a:pt x="694" y="576"/>
                  <a:pt x="700" y="571"/>
                  <a:pt x="701" y="570"/>
                </a:cubicBezTo>
                <a:cubicBezTo>
                  <a:pt x="701" y="569"/>
                  <a:pt x="701" y="569"/>
                  <a:pt x="701" y="569"/>
                </a:cubicBezTo>
                <a:cubicBezTo>
                  <a:pt x="701" y="569"/>
                  <a:pt x="700" y="569"/>
                  <a:pt x="699" y="569"/>
                </a:cubicBezTo>
                <a:cubicBezTo>
                  <a:pt x="700" y="568"/>
                  <a:pt x="702" y="562"/>
                  <a:pt x="703" y="562"/>
                </a:cubicBezTo>
                <a:cubicBezTo>
                  <a:pt x="704" y="561"/>
                  <a:pt x="706" y="562"/>
                  <a:pt x="707" y="562"/>
                </a:cubicBezTo>
                <a:cubicBezTo>
                  <a:pt x="708" y="559"/>
                  <a:pt x="707" y="561"/>
                  <a:pt x="709" y="559"/>
                </a:cubicBezTo>
                <a:cubicBezTo>
                  <a:pt x="709" y="559"/>
                  <a:pt x="708" y="558"/>
                  <a:pt x="707" y="558"/>
                </a:cubicBezTo>
                <a:close/>
                <a:moveTo>
                  <a:pt x="747" y="554"/>
                </a:moveTo>
                <a:cubicBezTo>
                  <a:pt x="747" y="555"/>
                  <a:pt x="746" y="560"/>
                  <a:pt x="748" y="558"/>
                </a:cubicBezTo>
                <a:cubicBezTo>
                  <a:pt x="750" y="558"/>
                  <a:pt x="749" y="556"/>
                  <a:pt x="749" y="554"/>
                </a:cubicBezTo>
                <a:cubicBezTo>
                  <a:pt x="748" y="554"/>
                  <a:pt x="747" y="554"/>
                  <a:pt x="747" y="554"/>
                </a:cubicBezTo>
                <a:close/>
                <a:moveTo>
                  <a:pt x="692" y="549"/>
                </a:moveTo>
                <a:cubicBezTo>
                  <a:pt x="692" y="549"/>
                  <a:pt x="686" y="555"/>
                  <a:pt x="690" y="552"/>
                </a:cubicBezTo>
                <a:cubicBezTo>
                  <a:pt x="691" y="552"/>
                  <a:pt x="696" y="547"/>
                  <a:pt x="692" y="549"/>
                </a:cubicBezTo>
                <a:close/>
                <a:moveTo>
                  <a:pt x="461" y="517"/>
                </a:moveTo>
                <a:cubicBezTo>
                  <a:pt x="464" y="520"/>
                  <a:pt x="464" y="521"/>
                  <a:pt x="465" y="526"/>
                </a:cubicBezTo>
                <a:cubicBezTo>
                  <a:pt x="464" y="526"/>
                  <a:pt x="462" y="526"/>
                  <a:pt x="463" y="526"/>
                </a:cubicBezTo>
                <a:cubicBezTo>
                  <a:pt x="463" y="526"/>
                  <a:pt x="460" y="526"/>
                  <a:pt x="462" y="526"/>
                </a:cubicBezTo>
                <a:cubicBezTo>
                  <a:pt x="461" y="526"/>
                  <a:pt x="459" y="526"/>
                  <a:pt x="459" y="526"/>
                </a:cubicBezTo>
                <a:cubicBezTo>
                  <a:pt x="459" y="523"/>
                  <a:pt x="459" y="523"/>
                  <a:pt x="459" y="523"/>
                </a:cubicBezTo>
                <a:cubicBezTo>
                  <a:pt x="457" y="522"/>
                  <a:pt x="459" y="525"/>
                  <a:pt x="458" y="525"/>
                </a:cubicBezTo>
                <a:cubicBezTo>
                  <a:pt x="457" y="525"/>
                  <a:pt x="457" y="525"/>
                  <a:pt x="457" y="525"/>
                </a:cubicBezTo>
                <a:cubicBezTo>
                  <a:pt x="457" y="525"/>
                  <a:pt x="457" y="519"/>
                  <a:pt x="457" y="518"/>
                </a:cubicBezTo>
                <a:cubicBezTo>
                  <a:pt x="458" y="517"/>
                  <a:pt x="460" y="517"/>
                  <a:pt x="461" y="517"/>
                </a:cubicBezTo>
                <a:close/>
                <a:moveTo>
                  <a:pt x="603" y="505"/>
                </a:moveTo>
                <a:cubicBezTo>
                  <a:pt x="607" y="504"/>
                  <a:pt x="601" y="509"/>
                  <a:pt x="601" y="509"/>
                </a:cubicBezTo>
                <a:cubicBezTo>
                  <a:pt x="599" y="509"/>
                  <a:pt x="601" y="506"/>
                  <a:pt x="601" y="506"/>
                </a:cubicBezTo>
                <a:cubicBezTo>
                  <a:pt x="602" y="505"/>
                  <a:pt x="602" y="506"/>
                  <a:pt x="603" y="505"/>
                </a:cubicBezTo>
                <a:close/>
                <a:moveTo>
                  <a:pt x="598" y="502"/>
                </a:moveTo>
                <a:cubicBezTo>
                  <a:pt x="598" y="502"/>
                  <a:pt x="597" y="502"/>
                  <a:pt x="599" y="503"/>
                </a:cubicBezTo>
                <a:cubicBezTo>
                  <a:pt x="600" y="503"/>
                  <a:pt x="599" y="504"/>
                  <a:pt x="599" y="505"/>
                </a:cubicBezTo>
                <a:cubicBezTo>
                  <a:pt x="599" y="506"/>
                  <a:pt x="592" y="512"/>
                  <a:pt x="591" y="512"/>
                </a:cubicBezTo>
                <a:cubicBezTo>
                  <a:pt x="590" y="512"/>
                  <a:pt x="590" y="511"/>
                  <a:pt x="589" y="511"/>
                </a:cubicBezTo>
                <a:cubicBezTo>
                  <a:pt x="589" y="511"/>
                  <a:pt x="588" y="511"/>
                  <a:pt x="587" y="511"/>
                </a:cubicBezTo>
                <a:cubicBezTo>
                  <a:pt x="589" y="509"/>
                  <a:pt x="591" y="506"/>
                  <a:pt x="593" y="505"/>
                </a:cubicBezTo>
                <a:cubicBezTo>
                  <a:pt x="594" y="504"/>
                  <a:pt x="596" y="505"/>
                  <a:pt x="596" y="504"/>
                </a:cubicBezTo>
                <a:cubicBezTo>
                  <a:pt x="597" y="503"/>
                  <a:pt x="597" y="502"/>
                  <a:pt x="598" y="502"/>
                </a:cubicBezTo>
                <a:close/>
                <a:moveTo>
                  <a:pt x="738" y="499"/>
                </a:moveTo>
                <a:cubicBezTo>
                  <a:pt x="736" y="499"/>
                  <a:pt x="732" y="502"/>
                  <a:pt x="732" y="503"/>
                </a:cubicBezTo>
                <a:cubicBezTo>
                  <a:pt x="731" y="504"/>
                  <a:pt x="732" y="506"/>
                  <a:pt x="732" y="506"/>
                </a:cubicBezTo>
                <a:cubicBezTo>
                  <a:pt x="732" y="507"/>
                  <a:pt x="730" y="507"/>
                  <a:pt x="728" y="507"/>
                </a:cubicBezTo>
                <a:cubicBezTo>
                  <a:pt x="728" y="509"/>
                  <a:pt x="729" y="511"/>
                  <a:pt x="728" y="513"/>
                </a:cubicBezTo>
                <a:cubicBezTo>
                  <a:pt x="727" y="515"/>
                  <a:pt x="727" y="515"/>
                  <a:pt x="727" y="515"/>
                </a:cubicBezTo>
                <a:cubicBezTo>
                  <a:pt x="727" y="517"/>
                  <a:pt x="729" y="520"/>
                  <a:pt x="727" y="523"/>
                </a:cubicBezTo>
                <a:cubicBezTo>
                  <a:pt x="724" y="525"/>
                  <a:pt x="724" y="525"/>
                  <a:pt x="724" y="525"/>
                </a:cubicBezTo>
                <a:cubicBezTo>
                  <a:pt x="726" y="526"/>
                  <a:pt x="725" y="525"/>
                  <a:pt x="725" y="526"/>
                </a:cubicBezTo>
                <a:cubicBezTo>
                  <a:pt x="727" y="527"/>
                  <a:pt x="728" y="527"/>
                  <a:pt x="729" y="527"/>
                </a:cubicBezTo>
                <a:cubicBezTo>
                  <a:pt x="728" y="528"/>
                  <a:pt x="728" y="528"/>
                  <a:pt x="727" y="529"/>
                </a:cubicBezTo>
                <a:cubicBezTo>
                  <a:pt x="728" y="529"/>
                  <a:pt x="726" y="531"/>
                  <a:pt x="726" y="531"/>
                </a:cubicBezTo>
                <a:cubicBezTo>
                  <a:pt x="725" y="531"/>
                  <a:pt x="725" y="529"/>
                  <a:pt x="722" y="529"/>
                </a:cubicBezTo>
                <a:cubicBezTo>
                  <a:pt x="722" y="530"/>
                  <a:pt x="722" y="530"/>
                  <a:pt x="722" y="530"/>
                </a:cubicBezTo>
                <a:cubicBezTo>
                  <a:pt x="722" y="530"/>
                  <a:pt x="721" y="532"/>
                  <a:pt x="721" y="532"/>
                </a:cubicBezTo>
                <a:cubicBezTo>
                  <a:pt x="722" y="532"/>
                  <a:pt x="724" y="534"/>
                  <a:pt x="720" y="533"/>
                </a:cubicBezTo>
                <a:cubicBezTo>
                  <a:pt x="721" y="533"/>
                  <a:pt x="719" y="533"/>
                  <a:pt x="718" y="533"/>
                </a:cubicBezTo>
                <a:cubicBezTo>
                  <a:pt x="718" y="533"/>
                  <a:pt x="717" y="535"/>
                  <a:pt x="717" y="536"/>
                </a:cubicBezTo>
                <a:cubicBezTo>
                  <a:pt x="717" y="536"/>
                  <a:pt x="720" y="536"/>
                  <a:pt x="718" y="535"/>
                </a:cubicBezTo>
                <a:cubicBezTo>
                  <a:pt x="720" y="536"/>
                  <a:pt x="722" y="536"/>
                  <a:pt x="723" y="536"/>
                </a:cubicBezTo>
                <a:cubicBezTo>
                  <a:pt x="723" y="536"/>
                  <a:pt x="723" y="538"/>
                  <a:pt x="722" y="538"/>
                </a:cubicBezTo>
                <a:cubicBezTo>
                  <a:pt x="722" y="536"/>
                  <a:pt x="722" y="536"/>
                  <a:pt x="722" y="536"/>
                </a:cubicBezTo>
                <a:cubicBezTo>
                  <a:pt x="722" y="537"/>
                  <a:pt x="720" y="537"/>
                  <a:pt x="720" y="537"/>
                </a:cubicBezTo>
                <a:cubicBezTo>
                  <a:pt x="719" y="538"/>
                  <a:pt x="720" y="539"/>
                  <a:pt x="720" y="540"/>
                </a:cubicBezTo>
                <a:cubicBezTo>
                  <a:pt x="716" y="542"/>
                  <a:pt x="716" y="542"/>
                  <a:pt x="716" y="542"/>
                </a:cubicBezTo>
                <a:cubicBezTo>
                  <a:pt x="716" y="543"/>
                  <a:pt x="715" y="543"/>
                  <a:pt x="714" y="544"/>
                </a:cubicBezTo>
                <a:cubicBezTo>
                  <a:pt x="717" y="548"/>
                  <a:pt x="715" y="548"/>
                  <a:pt x="720" y="547"/>
                </a:cubicBezTo>
                <a:cubicBezTo>
                  <a:pt x="722" y="547"/>
                  <a:pt x="721" y="547"/>
                  <a:pt x="721" y="546"/>
                </a:cubicBezTo>
                <a:cubicBezTo>
                  <a:pt x="723" y="546"/>
                  <a:pt x="726" y="546"/>
                  <a:pt x="730" y="546"/>
                </a:cubicBezTo>
                <a:cubicBezTo>
                  <a:pt x="732" y="546"/>
                  <a:pt x="733" y="546"/>
                  <a:pt x="736" y="546"/>
                </a:cubicBezTo>
                <a:cubicBezTo>
                  <a:pt x="736" y="547"/>
                  <a:pt x="735" y="548"/>
                  <a:pt x="736" y="548"/>
                </a:cubicBezTo>
                <a:cubicBezTo>
                  <a:pt x="738" y="548"/>
                  <a:pt x="739" y="545"/>
                  <a:pt x="740" y="545"/>
                </a:cubicBezTo>
                <a:cubicBezTo>
                  <a:pt x="741" y="545"/>
                  <a:pt x="741" y="547"/>
                  <a:pt x="741" y="547"/>
                </a:cubicBezTo>
                <a:cubicBezTo>
                  <a:pt x="745" y="547"/>
                  <a:pt x="748" y="546"/>
                  <a:pt x="754" y="545"/>
                </a:cubicBezTo>
                <a:cubicBezTo>
                  <a:pt x="752" y="550"/>
                  <a:pt x="751" y="548"/>
                  <a:pt x="756" y="549"/>
                </a:cubicBezTo>
                <a:cubicBezTo>
                  <a:pt x="756" y="548"/>
                  <a:pt x="757" y="546"/>
                  <a:pt x="758" y="545"/>
                </a:cubicBezTo>
                <a:cubicBezTo>
                  <a:pt x="758" y="545"/>
                  <a:pt x="759" y="545"/>
                  <a:pt x="760" y="545"/>
                </a:cubicBezTo>
                <a:cubicBezTo>
                  <a:pt x="759" y="546"/>
                  <a:pt x="760" y="547"/>
                  <a:pt x="759" y="548"/>
                </a:cubicBezTo>
                <a:cubicBezTo>
                  <a:pt x="758" y="549"/>
                  <a:pt x="756" y="549"/>
                  <a:pt x="756" y="550"/>
                </a:cubicBezTo>
                <a:cubicBezTo>
                  <a:pt x="755" y="551"/>
                  <a:pt x="756" y="552"/>
                  <a:pt x="755" y="553"/>
                </a:cubicBezTo>
                <a:cubicBezTo>
                  <a:pt x="755" y="553"/>
                  <a:pt x="753" y="554"/>
                  <a:pt x="752" y="554"/>
                </a:cubicBezTo>
                <a:cubicBezTo>
                  <a:pt x="752" y="554"/>
                  <a:pt x="752" y="556"/>
                  <a:pt x="752" y="556"/>
                </a:cubicBezTo>
                <a:cubicBezTo>
                  <a:pt x="753" y="556"/>
                  <a:pt x="754" y="557"/>
                  <a:pt x="754" y="556"/>
                </a:cubicBezTo>
                <a:cubicBezTo>
                  <a:pt x="756" y="556"/>
                  <a:pt x="758" y="553"/>
                  <a:pt x="759" y="551"/>
                </a:cubicBezTo>
                <a:cubicBezTo>
                  <a:pt x="758" y="552"/>
                  <a:pt x="759" y="549"/>
                  <a:pt x="760" y="549"/>
                </a:cubicBezTo>
                <a:cubicBezTo>
                  <a:pt x="761" y="548"/>
                  <a:pt x="762" y="549"/>
                  <a:pt x="763" y="548"/>
                </a:cubicBezTo>
                <a:cubicBezTo>
                  <a:pt x="763" y="548"/>
                  <a:pt x="764" y="545"/>
                  <a:pt x="764" y="545"/>
                </a:cubicBezTo>
                <a:cubicBezTo>
                  <a:pt x="766" y="545"/>
                  <a:pt x="766" y="545"/>
                  <a:pt x="766" y="545"/>
                </a:cubicBezTo>
                <a:cubicBezTo>
                  <a:pt x="766" y="545"/>
                  <a:pt x="766" y="547"/>
                  <a:pt x="766" y="547"/>
                </a:cubicBezTo>
                <a:cubicBezTo>
                  <a:pt x="768" y="548"/>
                  <a:pt x="768" y="548"/>
                  <a:pt x="768" y="548"/>
                </a:cubicBezTo>
                <a:cubicBezTo>
                  <a:pt x="769" y="549"/>
                  <a:pt x="768" y="550"/>
                  <a:pt x="768" y="551"/>
                </a:cubicBezTo>
                <a:cubicBezTo>
                  <a:pt x="768" y="552"/>
                  <a:pt x="767" y="551"/>
                  <a:pt x="766" y="552"/>
                </a:cubicBezTo>
                <a:cubicBezTo>
                  <a:pt x="766" y="554"/>
                  <a:pt x="766" y="556"/>
                  <a:pt x="766" y="557"/>
                </a:cubicBezTo>
                <a:cubicBezTo>
                  <a:pt x="767" y="557"/>
                  <a:pt x="768" y="556"/>
                  <a:pt x="768" y="556"/>
                </a:cubicBezTo>
                <a:cubicBezTo>
                  <a:pt x="769" y="555"/>
                  <a:pt x="769" y="553"/>
                  <a:pt x="769" y="552"/>
                </a:cubicBezTo>
                <a:cubicBezTo>
                  <a:pt x="772" y="555"/>
                  <a:pt x="772" y="553"/>
                  <a:pt x="771" y="558"/>
                </a:cubicBezTo>
                <a:cubicBezTo>
                  <a:pt x="773" y="558"/>
                  <a:pt x="773" y="558"/>
                  <a:pt x="776" y="558"/>
                </a:cubicBezTo>
                <a:cubicBezTo>
                  <a:pt x="776" y="556"/>
                  <a:pt x="776" y="556"/>
                  <a:pt x="777" y="554"/>
                </a:cubicBezTo>
                <a:cubicBezTo>
                  <a:pt x="777" y="553"/>
                  <a:pt x="779" y="550"/>
                  <a:pt x="779" y="549"/>
                </a:cubicBezTo>
                <a:cubicBezTo>
                  <a:pt x="780" y="546"/>
                  <a:pt x="780" y="546"/>
                  <a:pt x="780" y="546"/>
                </a:cubicBezTo>
                <a:cubicBezTo>
                  <a:pt x="779" y="547"/>
                  <a:pt x="778" y="547"/>
                  <a:pt x="778" y="547"/>
                </a:cubicBezTo>
                <a:cubicBezTo>
                  <a:pt x="777" y="548"/>
                  <a:pt x="778" y="549"/>
                  <a:pt x="778" y="550"/>
                </a:cubicBezTo>
                <a:cubicBezTo>
                  <a:pt x="777" y="550"/>
                  <a:pt x="773" y="551"/>
                  <a:pt x="774" y="546"/>
                </a:cubicBezTo>
                <a:cubicBezTo>
                  <a:pt x="774" y="545"/>
                  <a:pt x="777" y="543"/>
                  <a:pt x="778" y="542"/>
                </a:cubicBezTo>
                <a:cubicBezTo>
                  <a:pt x="778" y="542"/>
                  <a:pt x="777" y="541"/>
                  <a:pt x="778" y="540"/>
                </a:cubicBezTo>
                <a:cubicBezTo>
                  <a:pt x="777" y="541"/>
                  <a:pt x="776" y="541"/>
                  <a:pt x="776" y="541"/>
                </a:cubicBezTo>
                <a:cubicBezTo>
                  <a:pt x="776" y="542"/>
                  <a:pt x="776" y="542"/>
                  <a:pt x="776" y="542"/>
                </a:cubicBezTo>
                <a:cubicBezTo>
                  <a:pt x="775" y="543"/>
                  <a:pt x="774" y="543"/>
                  <a:pt x="774" y="544"/>
                </a:cubicBezTo>
                <a:cubicBezTo>
                  <a:pt x="773" y="545"/>
                  <a:pt x="773" y="547"/>
                  <a:pt x="773" y="549"/>
                </a:cubicBezTo>
                <a:cubicBezTo>
                  <a:pt x="772" y="549"/>
                  <a:pt x="771" y="548"/>
                  <a:pt x="769" y="548"/>
                </a:cubicBezTo>
                <a:cubicBezTo>
                  <a:pt x="768" y="546"/>
                  <a:pt x="768" y="546"/>
                  <a:pt x="768" y="546"/>
                </a:cubicBezTo>
                <a:cubicBezTo>
                  <a:pt x="769" y="546"/>
                  <a:pt x="770" y="546"/>
                  <a:pt x="771" y="546"/>
                </a:cubicBezTo>
                <a:cubicBezTo>
                  <a:pt x="771" y="546"/>
                  <a:pt x="771" y="544"/>
                  <a:pt x="772" y="544"/>
                </a:cubicBezTo>
                <a:cubicBezTo>
                  <a:pt x="770" y="543"/>
                  <a:pt x="770" y="543"/>
                  <a:pt x="769" y="542"/>
                </a:cubicBezTo>
                <a:cubicBezTo>
                  <a:pt x="769" y="542"/>
                  <a:pt x="769" y="541"/>
                  <a:pt x="769" y="540"/>
                </a:cubicBezTo>
                <a:cubicBezTo>
                  <a:pt x="769" y="540"/>
                  <a:pt x="771" y="540"/>
                  <a:pt x="771" y="540"/>
                </a:cubicBezTo>
                <a:cubicBezTo>
                  <a:pt x="772" y="538"/>
                  <a:pt x="772" y="537"/>
                  <a:pt x="773" y="535"/>
                </a:cubicBezTo>
                <a:cubicBezTo>
                  <a:pt x="771" y="536"/>
                  <a:pt x="771" y="536"/>
                  <a:pt x="770" y="536"/>
                </a:cubicBezTo>
                <a:cubicBezTo>
                  <a:pt x="770" y="538"/>
                  <a:pt x="770" y="538"/>
                  <a:pt x="770" y="538"/>
                </a:cubicBezTo>
                <a:cubicBezTo>
                  <a:pt x="769" y="538"/>
                  <a:pt x="769" y="537"/>
                  <a:pt x="768" y="537"/>
                </a:cubicBezTo>
                <a:cubicBezTo>
                  <a:pt x="767" y="537"/>
                  <a:pt x="765" y="539"/>
                  <a:pt x="765" y="539"/>
                </a:cubicBezTo>
                <a:cubicBezTo>
                  <a:pt x="764" y="539"/>
                  <a:pt x="764" y="538"/>
                  <a:pt x="763" y="538"/>
                </a:cubicBezTo>
                <a:cubicBezTo>
                  <a:pt x="764" y="537"/>
                  <a:pt x="764" y="535"/>
                  <a:pt x="765" y="534"/>
                </a:cubicBezTo>
                <a:cubicBezTo>
                  <a:pt x="764" y="534"/>
                  <a:pt x="764" y="535"/>
                  <a:pt x="764" y="535"/>
                </a:cubicBezTo>
                <a:cubicBezTo>
                  <a:pt x="763" y="535"/>
                  <a:pt x="762" y="535"/>
                  <a:pt x="762" y="535"/>
                </a:cubicBezTo>
                <a:cubicBezTo>
                  <a:pt x="762" y="535"/>
                  <a:pt x="762" y="534"/>
                  <a:pt x="762" y="533"/>
                </a:cubicBezTo>
                <a:cubicBezTo>
                  <a:pt x="761" y="532"/>
                  <a:pt x="761" y="532"/>
                  <a:pt x="760" y="532"/>
                </a:cubicBezTo>
                <a:cubicBezTo>
                  <a:pt x="762" y="531"/>
                  <a:pt x="762" y="531"/>
                  <a:pt x="762" y="531"/>
                </a:cubicBezTo>
                <a:cubicBezTo>
                  <a:pt x="762" y="531"/>
                  <a:pt x="763" y="527"/>
                  <a:pt x="764" y="526"/>
                </a:cubicBezTo>
                <a:cubicBezTo>
                  <a:pt x="762" y="525"/>
                  <a:pt x="762" y="525"/>
                  <a:pt x="761" y="524"/>
                </a:cubicBezTo>
                <a:cubicBezTo>
                  <a:pt x="760" y="524"/>
                  <a:pt x="760" y="524"/>
                  <a:pt x="760" y="524"/>
                </a:cubicBezTo>
                <a:cubicBezTo>
                  <a:pt x="759" y="526"/>
                  <a:pt x="759" y="526"/>
                  <a:pt x="759" y="526"/>
                </a:cubicBezTo>
                <a:cubicBezTo>
                  <a:pt x="754" y="528"/>
                  <a:pt x="756" y="524"/>
                  <a:pt x="755" y="523"/>
                </a:cubicBezTo>
                <a:cubicBezTo>
                  <a:pt x="751" y="526"/>
                  <a:pt x="756" y="525"/>
                  <a:pt x="750" y="525"/>
                </a:cubicBezTo>
                <a:cubicBezTo>
                  <a:pt x="750" y="525"/>
                  <a:pt x="750" y="528"/>
                  <a:pt x="750" y="528"/>
                </a:cubicBezTo>
                <a:cubicBezTo>
                  <a:pt x="749" y="528"/>
                  <a:pt x="749" y="527"/>
                  <a:pt x="748" y="526"/>
                </a:cubicBezTo>
                <a:cubicBezTo>
                  <a:pt x="747" y="526"/>
                  <a:pt x="745" y="527"/>
                  <a:pt x="744" y="527"/>
                </a:cubicBezTo>
                <a:cubicBezTo>
                  <a:pt x="743" y="527"/>
                  <a:pt x="745" y="526"/>
                  <a:pt x="745" y="526"/>
                </a:cubicBezTo>
                <a:cubicBezTo>
                  <a:pt x="745" y="524"/>
                  <a:pt x="745" y="524"/>
                  <a:pt x="745" y="524"/>
                </a:cubicBezTo>
                <a:cubicBezTo>
                  <a:pt x="743" y="525"/>
                  <a:pt x="743" y="525"/>
                  <a:pt x="741" y="525"/>
                </a:cubicBezTo>
                <a:cubicBezTo>
                  <a:pt x="746" y="521"/>
                  <a:pt x="745" y="521"/>
                  <a:pt x="740" y="518"/>
                </a:cubicBezTo>
                <a:cubicBezTo>
                  <a:pt x="739" y="518"/>
                  <a:pt x="740" y="520"/>
                  <a:pt x="740" y="520"/>
                </a:cubicBezTo>
                <a:cubicBezTo>
                  <a:pt x="739" y="520"/>
                  <a:pt x="739" y="519"/>
                  <a:pt x="738" y="519"/>
                </a:cubicBezTo>
                <a:cubicBezTo>
                  <a:pt x="737" y="522"/>
                  <a:pt x="736" y="523"/>
                  <a:pt x="734" y="525"/>
                </a:cubicBezTo>
                <a:cubicBezTo>
                  <a:pt x="734" y="525"/>
                  <a:pt x="735" y="522"/>
                  <a:pt x="735" y="522"/>
                </a:cubicBezTo>
                <a:cubicBezTo>
                  <a:pt x="734" y="523"/>
                  <a:pt x="734" y="520"/>
                  <a:pt x="734" y="520"/>
                </a:cubicBezTo>
                <a:cubicBezTo>
                  <a:pt x="734" y="520"/>
                  <a:pt x="733" y="519"/>
                  <a:pt x="734" y="518"/>
                </a:cubicBezTo>
                <a:cubicBezTo>
                  <a:pt x="734" y="516"/>
                  <a:pt x="737" y="515"/>
                  <a:pt x="737" y="514"/>
                </a:cubicBezTo>
                <a:cubicBezTo>
                  <a:pt x="738" y="512"/>
                  <a:pt x="737" y="510"/>
                  <a:pt x="737" y="508"/>
                </a:cubicBezTo>
                <a:cubicBezTo>
                  <a:pt x="738" y="508"/>
                  <a:pt x="738" y="508"/>
                  <a:pt x="738" y="508"/>
                </a:cubicBezTo>
                <a:cubicBezTo>
                  <a:pt x="738" y="508"/>
                  <a:pt x="740" y="508"/>
                  <a:pt x="740" y="507"/>
                </a:cubicBezTo>
                <a:cubicBezTo>
                  <a:pt x="742" y="506"/>
                  <a:pt x="743" y="504"/>
                  <a:pt x="740" y="504"/>
                </a:cubicBezTo>
                <a:cubicBezTo>
                  <a:pt x="740" y="503"/>
                  <a:pt x="740" y="503"/>
                  <a:pt x="740" y="503"/>
                </a:cubicBezTo>
                <a:cubicBezTo>
                  <a:pt x="740" y="502"/>
                  <a:pt x="741" y="503"/>
                  <a:pt x="742" y="503"/>
                </a:cubicBezTo>
                <a:cubicBezTo>
                  <a:pt x="742" y="501"/>
                  <a:pt x="742" y="501"/>
                  <a:pt x="742" y="501"/>
                </a:cubicBezTo>
                <a:cubicBezTo>
                  <a:pt x="744" y="501"/>
                  <a:pt x="744" y="501"/>
                  <a:pt x="744" y="501"/>
                </a:cubicBezTo>
                <a:cubicBezTo>
                  <a:pt x="744" y="500"/>
                  <a:pt x="743" y="499"/>
                  <a:pt x="744" y="499"/>
                </a:cubicBezTo>
                <a:cubicBezTo>
                  <a:pt x="743" y="499"/>
                  <a:pt x="740" y="500"/>
                  <a:pt x="741" y="500"/>
                </a:cubicBezTo>
                <a:cubicBezTo>
                  <a:pt x="740" y="500"/>
                  <a:pt x="738" y="499"/>
                  <a:pt x="738" y="499"/>
                </a:cubicBezTo>
                <a:close/>
                <a:moveTo>
                  <a:pt x="363" y="494"/>
                </a:moveTo>
                <a:cubicBezTo>
                  <a:pt x="366" y="494"/>
                  <a:pt x="366" y="496"/>
                  <a:pt x="367" y="498"/>
                </a:cubicBezTo>
                <a:cubicBezTo>
                  <a:pt x="368" y="498"/>
                  <a:pt x="369" y="497"/>
                  <a:pt x="369" y="497"/>
                </a:cubicBezTo>
                <a:cubicBezTo>
                  <a:pt x="370" y="498"/>
                  <a:pt x="369" y="501"/>
                  <a:pt x="369" y="502"/>
                </a:cubicBezTo>
                <a:cubicBezTo>
                  <a:pt x="370" y="503"/>
                  <a:pt x="372" y="504"/>
                  <a:pt x="373" y="505"/>
                </a:cubicBezTo>
                <a:cubicBezTo>
                  <a:pt x="374" y="506"/>
                  <a:pt x="373" y="507"/>
                  <a:pt x="373" y="509"/>
                </a:cubicBezTo>
                <a:cubicBezTo>
                  <a:pt x="374" y="510"/>
                  <a:pt x="375" y="511"/>
                  <a:pt x="376" y="513"/>
                </a:cubicBezTo>
                <a:cubicBezTo>
                  <a:pt x="375" y="514"/>
                  <a:pt x="376" y="514"/>
                  <a:pt x="375" y="515"/>
                </a:cubicBezTo>
                <a:cubicBezTo>
                  <a:pt x="374" y="515"/>
                  <a:pt x="372" y="515"/>
                  <a:pt x="371" y="515"/>
                </a:cubicBezTo>
                <a:cubicBezTo>
                  <a:pt x="371" y="512"/>
                  <a:pt x="371" y="508"/>
                  <a:pt x="369" y="505"/>
                </a:cubicBezTo>
                <a:cubicBezTo>
                  <a:pt x="369" y="505"/>
                  <a:pt x="368" y="505"/>
                  <a:pt x="367" y="505"/>
                </a:cubicBezTo>
                <a:cubicBezTo>
                  <a:pt x="367" y="504"/>
                  <a:pt x="368" y="503"/>
                  <a:pt x="367" y="503"/>
                </a:cubicBezTo>
                <a:cubicBezTo>
                  <a:pt x="367" y="500"/>
                  <a:pt x="362" y="499"/>
                  <a:pt x="362" y="497"/>
                </a:cubicBezTo>
                <a:cubicBezTo>
                  <a:pt x="362" y="495"/>
                  <a:pt x="362" y="494"/>
                  <a:pt x="363" y="494"/>
                </a:cubicBezTo>
                <a:close/>
                <a:moveTo>
                  <a:pt x="625" y="481"/>
                </a:moveTo>
                <a:cubicBezTo>
                  <a:pt x="626" y="481"/>
                  <a:pt x="626" y="481"/>
                  <a:pt x="627" y="482"/>
                </a:cubicBezTo>
                <a:cubicBezTo>
                  <a:pt x="626" y="484"/>
                  <a:pt x="626" y="485"/>
                  <a:pt x="626" y="487"/>
                </a:cubicBezTo>
                <a:cubicBezTo>
                  <a:pt x="625" y="488"/>
                  <a:pt x="625" y="487"/>
                  <a:pt x="623" y="487"/>
                </a:cubicBezTo>
                <a:cubicBezTo>
                  <a:pt x="623" y="487"/>
                  <a:pt x="622" y="489"/>
                  <a:pt x="621" y="489"/>
                </a:cubicBezTo>
                <a:cubicBezTo>
                  <a:pt x="621" y="488"/>
                  <a:pt x="620" y="488"/>
                  <a:pt x="621" y="486"/>
                </a:cubicBezTo>
                <a:cubicBezTo>
                  <a:pt x="621" y="484"/>
                  <a:pt x="624" y="482"/>
                  <a:pt x="625" y="481"/>
                </a:cubicBezTo>
                <a:close/>
                <a:moveTo>
                  <a:pt x="519" y="480"/>
                </a:moveTo>
                <a:cubicBezTo>
                  <a:pt x="519" y="480"/>
                  <a:pt x="517" y="483"/>
                  <a:pt x="517" y="483"/>
                </a:cubicBezTo>
                <a:cubicBezTo>
                  <a:pt x="520" y="484"/>
                  <a:pt x="522" y="485"/>
                  <a:pt x="526" y="486"/>
                </a:cubicBezTo>
                <a:cubicBezTo>
                  <a:pt x="526" y="486"/>
                  <a:pt x="526" y="483"/>
                  <a:pt x="526" y="483"/>
                </a:cubicBezTo>
                <a:cubicBezTo>
                  <a:pt x="525" y="483"/>
                  <a:pt x="524" y="483"/>
                  <a:pt x="524" y="483"/>
                </a:cubicBezTo>
                <a:cubicBezTo>
                  <a:pt x="522" y="481"/>
                  <a:pt x="522" y="481"/>
                  <a:pt x="519" y="480"/>
                </a:cubicBezTo>
                <a:close/>
                <a:moveTo>
                  <a:pt x="357" y="474"/>
                </a:moveTo>
                <a:cubicBezTo>
                  <a:pt x="360" y="474"/>
                  <a:pt x="359" y="477"/>
                  <a:pt x="357" y="478"/>
                </a:cubicBezTo>
                <a:cubicBezTo>
                  <a:pt x="359" y="479"/>
                  <a:pt x="360" y="479"/>
                  <a:pt x="361" y="480"/>
                </a:cubicBezTo>
                <a:cubicBezTo>
                  <a:pt x="361" y="485"/>
                  <a:pt x="361" y="489"/>
                  <a:pt x="361" y="494"/>
                </a:cubicBezTo>
                <a:cubicBezTo>
                  <a:pt x="360" y="494"/>
                  <a:pt x="359" y="494"/>
                  <a:pt x="357" y="494"/>
                </a:cubicBezTo>
                <a:cubicBezTo>
                  <a:pt x="357" y="493"/>
                  <a:pt x="356" y="492"/>
                  <a:pt x="356" y="492"/>
                </a:cubicBezTo>
                <a:cubicBezTo>
                  <a:pt x="356" y="490"/>
                  <a:pt x="357" y="490"/>
                  <a:pt x="357" y="489"/>
                </a:cubicBezTo>
                <a:cubicBezTo>
                  <a:pt x="359" y="483"/>
                  <a:pt x="354" y="480"/>
                  <a:pt x="351" y="478"/>
                </a:cubicBezTo>
                <a:cubicBezTo>
                  <a:pt x="352" y="478"/>
                  <a:pt x="355" y="477"/>
                  <a:pt x="357" y="477"/>
                </a:cubicBezTo>
                <a:cubicBezTo>
                  <a:pt x="356" y="477"/>
                  <a:pt x="355" y="474"/>
                  <a:pt x="357" y="474"/>
                </a:cubicBezTo>
                <a:close/>
                <a:moveTo>
                  <a:pt x="667" y="473"/>
                </a:moveTo>
                <a:cubicBezTo>
                  <a:pt x="667" y="473"/>
                  <a:pt x="672" y="476"/>
                  <a:pt x="672" y="476"/>
                </a:cubicBezTo>
                <a:cubicBezTo>
                  <a:pt x="672" y="476"/>
                  <a:pt x="672" y="478"/>
                  <a:pt x="672" y="478"/>
                </a:cubicBezTo>
                <a:cubicBezTo>
                  <a:pt x="671" y="478"/>
                  <a:pt x="669" y="479"/>
                  <a:pt x="669" y="479"/>
                </a:cubicBezTo>
                <a:cubicBezTo>
                  <a:pt x="668" y="479"/>
                  <a:pt x="666" y="473"/>
                  <a:pt x="667" y="473"/>
                </a:cubicBezTo>
                <a:close/>
                <a:moveTo>
                  <a:pt x="634" y="463"/>
                </a:moveTo>
                <a:cubicBezTo>
                  <a:pt x="634" y="465"/>
                  <a:pt x="634" y="467"/>
                  <a:pt x="634" y="469"/>
                </a:cubicBezTo>
                <a:cubicBezTo>
                  <a:pt x="633" y="469"/>
                  <a:pt x="633" y="469"/>
                  <a:pt x="633" y="469"/>
                </a:cubicBezTo>
                <a:cubicBezTo>
                  <a:pt x="633" y="470"/>
                  <a:pt x="634" y="470"/>
                  <a:pt x="633" y="472"/>
                </a:cubicBezTo>
                <a:cubicBezTo>
                  <a:pt x="631" y="471"/>
                  <a:pt x="628" y="474"/>
                  <a:pt x="630" y="468"/>
                </a:cubicBezTo>
                <a:cubicBezTo>
                  <a:pt x="630" y="467"/>
                  <a:pt x="632" y="467"/>
                  <a:pt x="633" y="467"/>
                </a:cubicBezTo>
                <a:cubicBezTo>
                  <a:pt x="633" y="466"/>
                  <a:pt x="633" y="465"/>
                  <a:pt x="633" y="464"/>
                </a:cubicBezTo>
                <a:cubicBezTo>
                  <a:pt x="633" y="464"/>
                  <a:pt x="634" y="463"/>
                  <a:pt x="634" y="463"/>
                </a:cubicBezTo>
                <a:close/>
                <a:moveTo>
                  <a:pt x="374" y="461"/>
                </a:moveTo>
                <a:cubicBezTo>
                  <a:pt x="374" y="461"/>
                  <a:pt x="374" y="463"/>
                  <a:pt x="374" y="463"/>
                </a:cubicBezTo>
                <a:cubicBezTo>
                  <a:pt x="375" y="464"/>
                  <a:pt x="376" y="463"/>
                  <a:pt x="376" y="463"/>
                </a:cubicBezTo>
                <a:cubicBezTo>
                  <a:pt x="376" y="467"/>
                  <a:pt x="375" y="470"/>
                  <a:pt x="377" y="474"/>
                </a:cubicBezTo>
                <a:cubicBezTo>
                  <a:pt x="377" y="474"/>
                  <a:pt x="379" y="476"/>
                  <a:pt x="379" y="476"/>
                </a:cubicBezTo>
                <a:cubicBezTo>
                  <a:pt x="379" y="477"/>
                  <a:pt x="378" y="478"/>
                  <a:pt x="379" y="479"/>
                </a:cubicBezTo>
                <a:cubicBezTo>
                  <a:pt x="379" y="479"/>
                  <a:pt x="379" y="479"/>
                  <a:pt x="379" y="479"/>
                </a:cubicBezTo>
                <a:cubicBezTo>
                  <a:pt x="380" y="481"/>
                  <a:pt x="381" y="483"/>
                  <a:pt x="383" y="485"/>
                </a:cubicBezTo>
                <a:cubicBezTo>
                  <a:pt x="384" y="486"/>
                  <a:pt x="384" y="486"/>
                  <a:pt x="384" y="486"/>
                </a:cubicBezTo>
                <a:cubicBezTo>
                  <a:pt x="385" y="488"/>
                  <a:pt x="383" y="488"/>
                  <a:pt x="383" y="489"/>
                </a:cubicBezTo>
                <a:cubicBezTo>
                  <a:pt x="384" y="490"/>
                  <a:pt x="387" y="497"/>
                  <a:pt x="389" y="497"/>
                </a:cubicBezTo>
                <a:cubicBezTo>
                  <a:pt x="389" y="498"/>
                  <a:pt x="389" y="498"/>
                  <a:pt x="389" y="498"/>
                </a:cubicBezTo>
                <a:cubicBezTo>
                  <a:pt x="390" y="499"/>
                  <a:pt x="392" y="498"/>
                  <a:pt x="393" y="499"/>
                </a:cubicBezTo>
                <a:cubicBezTo>
                  <a:pt x="391" y="503"/>
                  <a:pt x="392" y="505"/>
                  <a:pt x="393" y="510"/>
                </a:cubicBezTo>
                <a:cubicBezTo>
                  <a:pt x="392" y="510"/>
                  <a:pt x="390" y="510"/>
                  <a:pt x="389" y="511"/>
                </a:cubicBezTo>
                <a:cubicBezTo>
                  <a:pt x="389" y="511"/>
                  <a:pt x="389" y="512"/>
                  <a:pt x="389" y="513"/>
                </a:cubicBezTo>
                <a:cubicBezTo>
                  <a:pt x="389" y="513"/>
                  <a:pt x="387" y="512"/>
                  <a:pt x="387" y="513"/>
                </a:cubicBezTo>
                <a:cubicBezTo>
                  <a:pt x="386" y="508"/>
                  <a:pt x="387" y="503"/>
                  <a:pt x="385" y="499"/>
                </a:cubicBezTo>
                <a:cubicBezTo>
                  <a:pt x="385" y="498"/>
                  <a:pt x="383" y="499"/>
                  <a:pt x="383" y="499"/>
                </a:cubicBezTo>
                <a:cubicBezTo>
                  <a:pt x="383" y="498"/>
                  <a:pt x="383" y="497"/>
                  <a:pt x="383" y="496"/>
                </a:cubicBezTo>
                <a:cubicBezTo>
                  <a:pt x="383" y="495"/>
                  <a:pt x="383" y="495"/>
                  <a:pt x="383" y="495"/>
                </a:cubicBezTo>
                <a:cubicBezTo>
                  <a:pt x="382" y="495"/>
                  <a:pt x="380" y="495"/>
                  <a:pt x="379" y="495"/>
                </a:cubicBezTo>
                <a:cubicBezTo>
                  <a:pt x="379" y="491"/>
                  <a:pt x="378" y="492"/>
                  <a:pt x="380" y="489"/>
                </a:cubicBezTo>
                <a:cubicBezTo>
                  <a:pt x="378" y="488"/>
                  <a:pt x="378" y="486"/>
                  <a:pt x="376" y="487"/>
                </a:cubicBezTo>
                <a:cubicBezTo>
                  <a:pt x="376" y="488"/>
                  <a:pt x="377" y="488"/>
                  <a:pt x="375" y="488"/>
                </a:cubicBezTo>
                <a:cubicBezTo>
                  <a:pt x="374" y="488"/>
                  <a:pt x="374" y="485"/>
                  <a:pt x="373" y="485"/>
                </a:cubicBezTo>
                <a:cubicBezTo>
                  <a:pt x="372" y="484"/>
                  <a:pt x="369" y="483"/>
                  <a:pt x="368" y="482"/>
                </a:cubicBezTo>
                <a:cubicBezTo>
                  <a:pt x="367" y="481"/>
                  <a:pt x="368" y="480"/>
                  <a:pt x="367" y="478"/>
                </a:cubicBezTo>
                <a:cubicBezTo>
                  <a:pt x="368" y="478"/>
                  <a:pt x="369" y="478"/>
                  <a:pt x="369" y="477"/>
                </a:cubicBezTo>
                <a:cubicBezTo>
                  <a:pt x="364" y="475"/>
                  <a:pt x="366" y="477"/>
                  <a:pt x="363" y="473"/>
                </a:cubicBezTo>
                <a:cubicBezTo>
                  <a:pt x="365" y="471"/>
                  <a:pt x="367" y="468"/>
                  <a:pt x="368" y="465"/>
                </a:cubicBezTo>
                <a:cubicBezTo>
                  <a:pt x="369" y="465"/>
                  <a:pt x="371" y="465"/>
                  <a:pt x="373" y="465"/>
                </a:cubicBezTo>
                <a:cubicBezTo>
                  <a:pt x="373" y="465"/>
                  <a:pt x="373" y="463"/>
                  <a:pt x="373" y="463"/>
                </a:cubicBezTo>
                <a:cubicBezTo>
                  <a:pt x="373" y="463"/>
                  <a:pt x="372" y="463"/>
                  <a:pt x="372" y="462"/>
                </a:cubicBezTo>
                <a:lnTo>
                  <a:pt x="374" y="461"/>
                </a:lnTo>
                <a:close/>
                <a:moveTo>
                  <a:pt x="592" y="457"/>
                </a:moveTo>
                <a:cubicBezTo>
                  <a:pt x="594" y="457"/>
                  <a:pt x="592" y="459"/>
                  <a:pt x="592" y="459"/>
                </a:cubicBezTo>
                <a:cubicBezTo>
                  <a:pt x="590" y="459"/>
                  <a:pt x="591" y="458"/>
                  <a:pt x="592" y="457"/>
                </a:cubicBezTo>
                <a:close/>
                <a:moveTo>
                  <a:pt x="651" y="453"/>
                </a:moveTo>
                <a:cubicBezTo>
                  <a:pt x="652" y="453"/>
                  <a:pt x="654" y="456"/>
                  <a:pt x="652" y="455"/>
                </a:cubicBezTo>
                <a:cubicBezTo>
                  <a:pt x="652" y="455"/>
                  <a:pt x="650" y="452"/>
                  <a:pt x="651" y="453"/>
                </a:cubicBezTo>
                <a:close/>
                <a:moveTo>
                  <a:pt x="591" y="442"/>
                </a:moveTo>
                <a:cubicBezTo>
                  <a:pt x="591" y="442"/>
                  <a:pt x="591" y="442"/>
                  <a:pt x="591" y="442"/>
                </a:cubicBezTo>
                <a:cubicBezTo>
                  <a:pt x="590" y="444"/>
                  <a:pt x="592" y="445"/>
                  <a:pt x="589" y="446"/>
                </a:cubicBezTo>
                <a:cubicBezTo>
                  <a:pt x="588" y="447"/>
                  <a:pt x="589" y="443"/>
                  <a:pt x="591" y="442"/>
                </a:cubicBezTo>
                <a:close/>
                <a:moveTo>
                  <a:pt x="535" y="439"/>
                </a:moveTo>
                <a:cubicBezTo>
                  <a:pt x="534" y="439"/>
                  <a:pt x="534" y="440"/>
                  <a:pt x="536" y="441"/>
                </a:cubicBezTo>
                <a:cubicBezTo>
                  <a:pt x="536" y="441"/>
                  <a:pt x="537" y="438"/>
                  <a:pt x="535" y="439"/>
                </a:cubicBezTo>
                <a:close/>
                <a:moveTo>
                  <a:pt x="579" y="435"/>
                </a:moveTo>
                <a:cubicBezTo>
                  <a:pt x="581" y="435"/>
                  <a:pt x="582" y="437"/>
                  <a:pt x="583" y="437"/>
                </a:cubicBezTo>
                <a:cubicBezTo>
                  <a:pt x="583" y="438"/>
                  <a:pt x="583" y="439"/>
                  <a:pt x="583" y="439"/>
                </a:cubicBezTo>
                <a:cubicBezTo>
                  <a:pt x="582" y="439"/>
                  <a:pt x="580" y="439"/>
                  <a:pt x="578" y="439"/>
                </a:cubicBezTo>
                <a:cubicBezTo>
                  <a:pt x="578" y="438"/>
                  <a:pt x="576" y="436"/>
                  <a:pt x="579" y="435"/>
                </a:cubicBezTo>
                <a:close/>
                <a:moveTo>
                  <a:pt x="534" y="434"/>
                </a:moveTo>
                <a:cubicBezTo>
                  <a:pt x="532" y="434"/>
                  <a:pt x="533" y="436"/>
                  <a:pt x="534" y="436"/>
                </a:cubicBezTo>
                <a:cubicBezTo>
                  <a:pt x="534" y="436"/>
                  <a:pt x="536" y="433"/>
                  <a:pt x="534" y="434"/>
                </a:cubicBezTo>
                <a:close/>
                <a:moveTo>
                  <a:pt x="330" y="432"/>
                </a:moveTo>
                <a:cubicBezTo>
                  <a:pt x="330" y="433"/>
                  <a:pt x="330" y="433"/>
                  <a:pt x="330" y="433"/>
                </a:cubicBezTo>
                <a:cubicBezTo>
                  <a:pt x="334" y="432"/>
                  <a:pt x="331" y="435"/>
                  <a:pt x="331" y="435"/>
                </a:cubicBezTo>
                <a:cubicBezTo>
                  <a:pt x="328" y="435"/>
                  <a:pt x="329" y="432"/>
                  <a:pt x="330" y="432"/>
                </a:cubicBezTo>
                <a:close/>
                <a:moveTo>
                  <a:pt x="538" y="430"/>
                </a:moveTo>
                <a:cubicBezTo>
                  <a:pt x="538" y="434"/>
                  <a:pt x="537" y="437"/>
                  <a:pt x="537" y="440"/>
                </a:cubicBezTo>
                <a:cubicBezTo>
                  <a:pt x="537" y="440"/>
                  <a:pt x="539" y="440"/>
                  <a:pt x="539" y="440"/>
                </a:cubicBezTo>
                <a:cubicBezTo>
                  <a:pt x="540" y="437"/>
                  <a:pt x="541" y="434"/>
                  <a:pt x="541" y="431"/>
                </a:cubicBezTo>
                <a:cubicBezTo>
                  <a:pt x="540" y="430"/>
                  <a:pt x="539" y="431"/>
                  <a:pt x="538" y="430"/>
                </a:cubicBezTo>
                <a:close/>
                <a:moveTo>
                  <a:pt x="535" y="429"/>
                </a:moveTo>
                <a:cubicBezTo>
                  <a:pt x="533" y="430"/>
                  <a:pt x="531" y="433"/>
                  <a:pt x="535" y="432"/>
                </a:cubicBezTo>
                <a:cubicBezTo>
                  <a:pt x="535" y="432"/>
                  <a:pt x="538" y="429"/>
                  <a:pt x="535" y="429"/>
                </a:cubicBezTo>
                <a:close/>
                <a:moveTo>
                  <a:pt x="341" y="409"/>
                </a:moveTo>
                <a:cubicBezTo>
                  <a:pt x="342" y="410"/>
                  <a:pt x="342" y="411"/>
                  <a:pt x="342" y="411"/>
                </a:cubicBezTo>
                <a:cubicBezTo>
                  <a:pt x="343" y="411"/>
                  <a:pt x="344" y="411"/>
                  <a:pt x="345" y="411"/>
                </a:cubicBezTo>
                <a:cubicBezTo>
                  <a:pt x="344" y="413"/>
                  <a:pt x="344" y="414"/>
                  <a:pt x="344" y="415"/>
                </a:cubicBezTo>
                <a:cubicBezTo>
                  <a:pt x="343" y="416"/>
                  <a:pt x="342" y="416"/>
                  <a:pt x="342" y="417"/>
                </a:cubicBezTo>
                <a:cubicBezTo>
                  <a:pt x="341" y="419"/>
                  <a:pt x="343" y="419"/>
                  <a:pt x="343" y="421"/>
                </a:cubicBezTo>
                <a:cubicBezTo>
                  <a:pt x="343" y="421"/>
                  <a:pt x="341" y="422"/>
                  <a:pt x="341" y="422"/>
                </a:cubicBezTo>
                <a:cubicBezTo>
                  <a:pt x="338" y="428"/>
                  <a:pt x="342" y="429"/>
                  <a:pt x="335" y="431"/>
                </a:cubicBezTo>
                <a:cubicBezTo>
                  <a:pt x="335" y="429"/>
                  <a:pt x="335" y="429"/>
                  <a:pt x="335" y="426"/>
                </a:cubicBezTo>
                <a:cubicBezTo>
                  <a:pt x="334" y="421"/>
                  <a:pt x="332" y="423"/>
                  <a:pt x="335" y="418"/>
                </a:cubicBezTo>
                <a:cubicBezTo>
                  <a:pt x="337" y="415"/>
                  <a:pt x="339" y="412"/>
                  <a:pt x="341" y="409"/>
                </a:cubicBezTo>
                <a:close/>
                <a:moveTo>
                  <a:pt x="334" y="402"/>
                </a:moveTo>
                <a:cubicBezTo>
                  <a:pt x="334" y="404"/>
                  <a:pt x="337" y="408"/>
                  <a:pt x="332" y="409"/>
                </a:cubicBezTo>
                <a:cubicBezTo>
                  <a:pt x="331" y="409"/>
                  <a:pt x="331" y="407"/>
                  <a:pt x="330" y="405"/>
                </a:cubicBezTo>
                <a:cubicBezTo>
                  <a:pt x="331" y="404"/>
                  <a:pt x="332" y="403"/>
                  <a:pt x="334" y="402"/>
                </a:cubicBezTo>
                <a:close/>
                <a:moveTo>
                  <a:pt x="626" y="391"/>
                </a:moveTo>
                <a:cubicBezTo>
                  <a:pt x="627" y="392"/>
                  <a:pt x="627" y="392"/>
                  <a:pt x="627" y="392"/>
                </a:cubicBezTo>
                <a:cubicBezTo>
                  <a:pt x="626" y="391"/>
                  <a:pt x="627" y="391"/>
                  <a:pt x="626" y="391"/>
                </a:cubicBezTo>
                <a:close/>
                <a:moveTo>
                  <a:pt x="635" y="374"/>
                </a:moveTo>
                <a:cubicBezTo>
                  <a:pt x="635" y="376"/>
                  <a:pt x="635" y="376"/>
                  <a:pt x="635" y="376"/>
                </a:cubicBezTo>
                <a:cubicBezTo>
                  <a:pt x="638" y="375"/>
                  <a:pt x="638" y="374"/>
                  <a:pt x="635" y="374"/>
                </a:cubicBezTo>
                <a:close/>
                <a:moveTo>
                  <a:pt x="611" y="353"/>
                </a:moveTo>
                <a:cubicBezTo>
                  <a:pt x="611" y="353"/>
                  <a:pt x="613" y="355"/>
                  <a:pt x="613" y="356"/>
                </a:cubicBezTo>
                <a:cubicBezTo>
                  <a:pt x="620" y="354"/>
                  <a:pt x="613" y="354"/>
                  <a:pt x="611" y="353"/>
                </a:cubicBezTo>
                <a:close/>
                <a:moveTo>
                  <a:pt x="586" y="328"/>
                </a:moveTo>
                <a:cubicBezTo>
                  <a:pt x="585" y="328"/>
                  <a:pt x="587" y="330"/>
                  <a:pt x="587" y="330"/>
                </a:cubicBezTo>
                <a:cubicBezTo>
                  <a:pt x="587" y="330"/>
                  <a:pt x="589" y="326"/>
                  <a:pt x="586" y="328"/>
                </a:cubicBezTo>
                <a:close/>
                <a:moveTo>
                  <a:pt x="657" y="320"/>
                </a:moveTo>
                <a:cubicBezTo>
                  <a:pt x="657" y="321"/>
                  <a:pt x="659" y="324"/>
                  <a:pt x="657" y="322"/>
                </a:cubicBezTo>
                <a:cubicBezTo>
                  <a:pt x="657" y="322"/>
                  <a:pt x="655" y="320"/>
                  <a:pt x="657" y="320"/>
                </a:cubicBezTo>
                <a:close/>
                <a:moveTo>
                  <a:pt x="485" y="299"/>
                </a:moveTo>
                <a:cubicBezTo>
                  <a:pt x="486" y="300"/>
                  <a:pt x="487" y="303"/>
                  <a:pt x="488" y="303"/>
                </a:cubicBezTo>
                <a:cubicBezTo>
                  <a:pt x="490" y="303"/>
                  <a:pt x="490" y="302"/>
                  <a:pt x="489" y="302"/>
                </a:cubicBezTo>
                <a:cubicBezTo>
                  <a:pt x="489" y="302"/>
                  <a:pt x="489" y="300"/>
                  <a:pt x="489" y="300"/>
                </a:cubicBezTo>
                <a:cubicBezTo>
                  <a:pt x="488" y="300"/>
                  <a:pt x="486" y="300"/>
                  <a:pt x="485" y="299"/>
                </a:cubicBezTo>
                <a:close/>
                <a:moveTo>
                  <a:pt x="494" y="289"/>
                </a:moveTo>
                <a:cubicBezTo>
                  <a:pt x="494" y="290"/>
                  <a:pt x="494" y="290"/>
                  <a:pt x="494" y="290"/>
                </a:cubicBezTo>
                <a:cubicBezTo>
                  <a:pt x="496" y="290"/>
                  <a:pt x="496" y="289"/>
                  <a:pt x="494" y="289"/>
                </a:cubicBezTo>
                <a:close/>
                <a:moveTo>
                  <a:pt x="530" y="236"/>
                </a:moveTo>
                <a:cubicBezTo>
                  <a:pt x="531" y="237"/>
                  <a:pt x="531" y="237"/>
                  <a:pt x="531" y="237"/>
                </a:cubicBezTo>
                <a:cubicBezTo>
                  <a:pt x="531" y="236"/>
                  <a:pt x="532" y="236"/>
                  <a:pt x="530" y="236"/>
                </a:cubicBezTo>
                <a:close/>
                <a:moveTo>
                  <a:pt x="434" y="231"/>
                </a:moveTo>
                <a:cubicBezTo>
                  <a:pt x="435" y="233"/>
                  <a:pt x="435" y="233"/>
                  <a:pt x="435" y="233"/>
                </a:cubicBezTo>
                <a:cubicBezTo>
                  <a:pt x="434" y="232"/>
                  <a:pt x="435" y="231"/>
                  <a:pt x="434" y="231"/>
                </a:cubicBezTo>
                <a:close/>
                <a:moveTo>
                  <a:pt x="476" y="226"/>
                </a:moveTo>
                <a:cubicBezTo>
                  <a:pt x="477" y="226"/>
                  <a:pt x="478" y="228"/>
                  <a:pt x="478" y="228"/>
                </a:cubicBezTo>
                <a:cubicBezTo>
                  <a:pt x="478" y="228"/>
                  <a:pt x="482" y="227"/>
                  <a:pt x="480" y="227"/>
                </a:cubicBezTo>
                <a:cubicBezTo>
                  <a:pt x="479" y="226"/>
                  <a:pt x="478" y="227"/>
                  <a:pt x="476" y="226"/>
                </a:cubicBezTo>
                <a:close/>
                <a:moveTo>
                  <a:pt x="597" y="205"/>
                </a:moveTo>
                <a:cubicBezTo>
                  <a:pt x="596" y="207"/>
                  <a:pt x="596" y="207"/>
                  <a:pt x="596" y="207"/>
                </a:cubicBezTo>
                <a:cubicBezTo>
                  <a:pt x="597" y="207"/>
                  <a:pt x="597" y="207"/>
                  <a:pt x="597" y="207"/>
                </a:cubicBezTo>
                <a:cubicBezTo>
                  <a:pt x="597" y="207"/>
                  <a:pt x="599" y="204"/>
                  <a:pt x="597" y="205"/>
                </a:cubicBezTo>
                <a:close/>
                <a:moveTo>
                  <a:pt x="546" y="198"/>
                </a:moveTo>
                <a:cubicBezTo>
                  <a:pt x="547" y="199"/>
                  <a:pt x="545" y="199"/>
                  <a:pt x="545" y="199"/>
                </a:cubicBezTo>
                <a:cubicBezTo>
                  <a:pt x="545" y="199"/>
                  <a:pt x="545" y="198"/>
                  <a:pt x="546" y="198"/>
                </a:cubicBezTo>
                <a:close/>
                <a:moveTo>
                  <a:pt x="545" y="195"/>
                </a:moveTo>
                <a:cubicBezTo>
                  <a:pt x="546" y="196"/>
                  <a:pt x="544" y="197"/>
                  <a:pt x="544" y="197"/>
                </a:cubicBezTo>
                <a:cubicBezTo>
                  <a:pt x="544" y="196"/>
                  <a:pt x="544" y="195"/>
                  <a:pt x="545" y="195"/>
                </a:cubicBezTo>
                <a:close/>
                <a:moveTo>
                  <a:pt x="533" y="149"/>
                </a:moveTo>
                <a:cubicBezTo>
                  <a:pt x="534" y="152"/>
                  <a:pt x="534" y="152"/>
                  <a:pt x="534" y="152"/>
                </a:cubicBezTo>
                <a:cubicBezTo>
                  <a:pt x="537" y="149"/>
                  <a:pt x="537" y="150"/>
                  <a:pt x="533" y="149"/>
                </a:cubicBezTo>
                <a:close/>
                <a:moveTo>
                  <a:pt x="448" y="132"/>
                </a:moveTo>
                <a:cubicBezTo>
                  <a:pt x="449" y="132"/>
                  <a:pt x="447" y="133"/>
                  <a:pt x="447" y="133"/>
                </a:cubicBezTo>
                <a:cubicBezTo>
                  <a:pt x="447" y="132"/>
                  <a:pt x="447" y="131"/>
                  <a:pt x="448" y="132"/>
                </a:cubicBezTo>
                <a:close/>
                <a:moveTo>
                  <a:pt x="504" y="114"/>
                </a:moveTo>
                <a:cubicBezTo>
                  <a:pt x="506" y="115"/>
                  <a:pt x="511" y="121"/>
                  <a:pt x="506" y="120"/>
                </a:cubicBezTo>
                <a:cubicBezTo>
                  <a:pt x="506" y="120"/>
                  <a:pt x="501" y="113"/>
                  <a:pt x="504" y="114"/>
                </a:cubicBezTo>
                <a:close/>
                <a:moveTo>
                  <a:pt x="449" y="92"/>
                </a:moveTo>
                <a:cubicBezTo>
                  <a:pt x="449" y="92"/>
                  <a:pt x="449" y="93"/>
                  <a:pt x="448" y="93"/>
                </a:cubicBezTo>
                <a:cubicBezTo>
                  <a:pt x="448" y="92"/>
                  <a:pt x="447" y="91"/>
                  <a:pt x="449" y="92"/>
                </a:cubicBezTo>
                <a:close/>
                <a:moveTo>
                  <a:pt x="447" y="88"/>
                </a:moveTo>
                <a:cubicBezTo>
                  <a:pt x="447" y="89"/>
                  <a:pt x="446" y="90"/>
                  <a:pt x="446" y="90"/>
                </a:cubicBezTo>
                <a:cubicBezTo>
                  <a:pt x="446" y="90"/>
                  <a:pt x="445" y="88"/>
                  <a:pt x="447" y="88"/>
                </a:cubicBezTo>
                <a:close/>
                <a:moveTo>
                  <a:pt x="577" y="72"/>
                </a:moveTo>
                <a:cubicBezTo>
                  <a:pt x="577" y="73"/>
                  <a:pt x="577" y="74"/>
                  <a:pt x="576" y="76"/>
                </a:cubicBezTo>
                <a:cubicBezTo>
                  <a:pt x="579" y="77"/>
                  <a:pt x="581" y="77"/>
                  <a:pt x="584" y="78"/>
                </a:cubicBezTo>
                <a:cubicBezTo>
                  <a:pt x="585" y="79"/>
                  <a:pt x="585" y="79"/>
                  <a:pt x="585" y="79"/>
                </a:cubicBezTo>
                <a:cubicBezTo>
                  <a:pt x="587" y="79"/>
                  <a:pt x="585" y="78"/>
                  <a:pt x="587" y="78"/>
                </a:cubicBezTo>
                <a:cubicBezTo>
                  <a:pt x="587" y="77"/>
                  <a:pt x="586" y="76"/>
                  <a:pt x="586" y="74"/>
                </a:cubicBezTo>
                <a:cubicBezTo>
                  <a:pt x="588" y="74"/>
                  <a:pt x="587" y="73"/>
                  <a:pt x="587" y="72"/>
                </a:cubicBezTo>
                <a:cubicBezTo>
                  <a:pt x="584" y="73"/>
                  <a:pt x="582" y="73"/>
                  <a:pt x="577" y="72"/>
                </a:cubicBezTo>
                <a:close/>
                <a:moveTo>
                  <a:pt x="423" y="56"/>
                </a:moveTo>
                <a:cubicBezTo>
                  <a:pt x="426" y="55"/>
                  <a:pt x="423" y="58"/>
                  <a:pt x="421" y="58"/>
                </a:cubicBezTo>
                <a:cubicBezTo>
                  <a:pt x="420" y="59"/>
                  <a:pt x="422" y="56"/>
                  <a:pt x="423" y="56"/>
                </a:cubicBezTo>
                <a:close/>
                <a:moveTo>
                  <a:pt x="484" y="29"/>
                </a:moveTo>
                <a:cubicBezTo>
                  <a:pt x="485" y="29"/>
                  <a:pt x="488" y="36"/>
                  <a:pt x="486" y="33"/>
                </a:cubicBezTo>
                <a:cubicBezTo>
                  <a:pt x="486" y="33"/>
                  <a:pt x="482" y="27"/>
                  <a:pt x="484" y="29"/>
                </a:cubicBezTo>
                <a:close/>
                <a:moveTo>
                  <a:pt x="498" y="27"/>
                </a:moveTo>
                <a:cubicBezTo>
                  <a:pt x="499" y="27"/>
                  <a:pt x="499" y="28"/>
                  <a:pt x="498" y="29"/>
                </a:cubicBezTo>
                <a:cubicBezTo>
                  <a:pt x="498" y="28"/>
                  <a:pt x="497" y="27"/>
                  <a:pt x="498" y="27"/>
                </a:cubicBezTo>
                <a:close/>
                <a:moveTo>
                  <a:pt x="537" y="21"/>
                </a:moveTo>
                <a:cubicBezTo>
                  <a:pt x="540" y="21"/>
                  <a:pt x="541" y="22"/>
                  <a:pt x="543" y="23"/>
                </a:cubicBezTo>
                <a:cubicBezTo>
                  <a:pt x="541" y="23"/>
                  <a:pt x="541" y="23"/>
                  <a:pt x="539" y="24"/>
                </a:cubicBezTo>
                <a:cubicBezTo>
                  <a:pt x="539" y="24"/>
                  <a:pt x="539" y="22"/>
                  <a:pt x="539" y="22"/>
                </a:cubicBezTo>
                <a:cubicBezTo>
                  <a:pt x="538" y="22"/>
                  <a:pt x="535" y="20"/>
                  <a:pt x="537" y="21"/>
                </a:cubicBezTo>
                <a:close/>
                <a:moveTo>
                  <a:pt x="660" y="359"/>
                </a:moveTo>
                <a:cubicBezTo>
                  <a:pt x="660" y="362"/>
                  <a:pt x="660" y="362"/>
                  <a:pt x="660" y="362"/>
                </a:cubicBezTo>
                <a:cubicBezTo>
                  <a:pt x="660" y="361"/>
                  <a:pt x="662" y="362"/>
                  <a:pt x="663" y="362"/>
                </a:cubicBezTo>
                <a:cubicBezTo>
                  <a:pt x="663" y="361"/>
                  <a:pt x="664" y="359"/>
                  <a:pt x="664" y="359"/>
                </a:cubicBezTo>
                <a:cubicBezTo>
                  <a:pt x="663" y="359"/>
                  <a:pt x="661" y="359"/>
                  <a:pt x="660" y="359"/>
                </a:cubicBezTo>
                <a:close/>
                <a:moveTo>
                  <a:pt x="537" y="349"/>
                </a:moveTo>
                <a:cubicBezTo>
                  <a:pt x="535" y="350"/>
                  <a:pt x="533" y="355"/>
                  <a:pt x="532" y="356"/>
                </a:cubicBezTo>
                <a:cubicBezTo>
                  <a:pt x="533" y="357"/>
                  <a:pt x="535" y="357"/>
                  <a:pt x="536" y="358"/>
                </a:cubicBezTo>
                <a:cubicBezTo>
                  <a:pt x="537" y="358"/>
                  <a:pt x="540" y="348"/>
                  <a:pt x="537" y="349"/>
                </a:cubicBezTo>
                <a:close/>
                <a:moveTo>
                  <a:pt x="585" y="343"/>
                </a:moveTo>
                <a:cubicBezTo>
                  <a:pt x="584" y="343"/>
                  <a:pt x="584" y="344"/>
                  <a:pt x="585" y="344"/>
                </a:cubicBezTo>
                <a:cubicBezTo>
                  <a:pt x="585" y="344"/>
                  <a:pt x="586" y="343"/>
                  <a:pt x="585" y="343"/>
                </a:cubicBezTo>
                <a:close/>
                <a:moveTo>
                  <a:pt x="552" y="342"/>
                </a:moveTo>
                <a:cubicBezTo>
                  <a:pt x="552" y="342"/>
                  <a:pt x="551" y="343"/>
                  <a:pt x="551" y="343"/>
                </a:cubicBezTo>
                <a:cubicBezTo>
                  <a:pt x="551" y="343"/>
                  <a:pt x="554" y="344"/>
                  <a:pt x="554" y="344"/>
                </a:cubicBezTo>
                <a:cubicBezTo>
                  <a:pt x="554" y="344"/>
                  <a:pt x="554" y="342"/>
                  <a:pt x="554" y="342"/>
                </a:cubicBezTo>
                <a:cubicBezTo>
                  <a:pt x="553" y="342"/>
                  <a:pt x="552" y="342"/>
                  <a:pt x="552" y="342"/>
                </a:cubicBezTo>
                <a:close/>
                <a:moveTo>
                  <a:pt x="560" y="341"/>
                </a:moveTo>
                <a:cubicBezTo>
                  <a:pt x="561" y="342"/>
                  <a:pt x="559" y="343"/>
                  <a:pt x="562" y="344"/>
                </a:cubicBezTo>
                <a:cubicBezTo>
                  <a:pt x="563" y="344"/>
                  <a:pt x="562" y="341"/>
                  <a:pt x="562" y="341"/>
                </a:cubicBezTo>
                <a:cubicBezTo>
                  <a:pt x="561" y="341"/>
                  <a:pt x="560" y="341"/>
                  <a:pt x="560" y="341"/>
                </a:cubicBezTo>
                <a:close/>
                <a:moveTo>
                  <a:pt x="508" y="340"/>
                </a:moveTo>
                <a:cubicBezTo>
                  <a:pt x="508" y="340"/>
                  <a:pt x="508" y="342"/>
                  <a:pt x="507" y="342"/>
                </a:cubicBezTo>
                <a:cubicBezTo>
                  <a:pt x="507" y="343"/>
                  <a:pt x="501" y="345"/>
                  <a:pt x="501" y="346"/>
                </a:cubicBezTo>
                <a:cubicBezTo>
                  <a:pt x="500" y="346"/>
                  <a:pt x="497" y="347"/>
                  <a:pt x="496" y="348"/>
                </a:cubicBezTo>
                <a:cubicBezTo>
                  <a:pt x="495" y="348"/>
                  <a:pt x="494" y="349"/>
                  <a:pt x="493" y="350"/>
                </a:cubicBezTo>
                <a:cubicBezTo>
                  <a:pt x="494" y="350"/>
                  <a:pt x="492" y="352"/>
                  <a:pt x="492" y="352"/>
                </a:cubicBezTo>
                <a:cubicBezTo>
                  <a:pt x="500" y="352"/>
                  <a:pt x="496" y="351"/>
                  <a:pt x="500" y="349"/>
                </a:cubicBezTo>
                <a:cubicBezTo>
                  <a:pt x="502" y="348"/>
                  <a:pt x="504" y="349"/>
                  <a:pt x="505" y="348"/>
                </a:cubicBezTo>
                <a:cubicBezTo>
                  <a:pt x="506" y="348"/>
                  <a:pt x="506" y="345"/>
                  <a:pt x="507" y="344"/>
                </a:cubicBezTo>
                <a:cubicBezTo>
                  <a:pt x="508" y="343"/>
                  <a:pt x="515" y="343"/>
                  <a:pt x="508" y="340"/>
                </a:cubicBezTo>
                <a:close/>
                <a:moveTo>
                  <a:pt x="668" y="337"/>
                </a:moveTo>
                <a:cubicBezTo>
                  <a:pt x="668" y="338"/>
                  <a:pt x="668" y="338"/>
                  <a:pt x="668" y="338"/>
                </a:cubicBezTo>
                <a:cubicBezTo>
                  <a:pt x="665" y="337"/>
                  <a:pt x="666" y="340"/>
                  <a:pt x="668" y="340"/>
                </a:cubicBezTo>
                <a:cubicBezTo>
                  <a:pt x="668" y="341"/>
                  <a:pt x="668" y="342"/>
                  <a:pt x="668" y="343"/>
                </a:cubicBezTo>
                <a:cubicBezTo>
                  <a:pt x="669" y="343"/>
                  <a:pt x="671" y="343"/>
                  <a:pt x="671" y="343"/>
                </a:cubicBezTo>
                <a:cubicBezTo>
                  <a:pt x="672" y="342"/>
                  <a:pt x="673" y="342"/>
                  <a:pt x="674" y="341"/>
                </a:cubicBezTo>
                <a:cubicBezTo>
                  <a:pt x="674" y="341"/>
                  <a:pt x="673" y="335"/>
                  <a:pt x="673" y="338"/>
                </a:cubicBezTo>
                <a:cubicBezTo>
                  <a:pt x="672" y="338"/>
                  <a:pt x="670" y="338"/>
                  <a:pt x="669" y="338"/>
                </a:cubicBezTo>
                <a:cubicBezTo>
                  <a:pt x="669" y="338"/>
                  <a:pt x="669" y="337"/>
                  <a:pt x="668" y="337"/>
                </a:cubicBezTo>
                <a:close/>
                <a:moveTo>
                  <a:pt x="552" y="337"/>
                </a:moveTo>
                <a:cubicBezTo>
                  <a:pt x="551" y="339"/>
                  <a:pt x="551" y="339"/>
                  <a:pt x="551" y="339"/>
                </a:cubicBezTo>
                <a:cubicBezTo>
                  <a:pt x="552" y="339"/>
                  <a:pt x="554" y="339"/>
                  <a:pt x="554" y="339"/>
                </a:cubicBezTo>
                <a:cubicBezTo>
                  <a:pt x="555" y="340"/>
                  <a:pt x="552" y="337"/>
                  <a:pt x="552" y="337"/>
                </a:cubicBezTo>
                <a:close/>
                <a:moveTo>
                  <a:pt x="607" y="308"/>
                </a:moveTo>
                <a:cubicBezTo>
                  <a:pt x="609" y="307"/>
                  <a:pt x="609" y="309"/>
                  <a:pt x="610" y="309"/>
                </a:cubicBezTo>
                <a:cubicBezTo>
                  <a:pt x="612" y="309"/>
                  <a:pt x="613" y="309"/>
                  <a:pt x="614" y="308"/>
                </a:cubicBezTo>
                <a:cubicBezTo>
                  <a:pt x="614" y="310"/>
                  <a:pt x="614" y="309"/>
                  <a:pt x="615" y="309"/>
                </a:cubicBezTo>
                <a:cubicBezTo>
                  <a:pt x="616" y="314"/>
                  <a:pt x="617" y="316"/>
                  <a:pt x="617" y="321"/>
                </a:cubicBezTo>
                <a:cubicBezTo>
                  <a:pt x="617" y="321"/>
                  <a:pt x="616" y="321"/>
                  <a:pt x="615" y="321"/>
                </a:cubicBezTo>
                <a:cubicBezTo>
                  <a:pt x="615" y="321"/>
                  <a:pt x="615" y="319"/>
                  <a:pt x="615" y="319"/>
                </a:cubicBezTo>
                <a:cubicBezTo>
                  <a:pt x="613" y="318"/>
                  <a:pt x="613" y="321"/>
                  <a:pt x="612" y="321"/>
                </a:cubicBezTo>
                <a:cubicBezTo>
                  <a:pt x="611" y="321"/>
                  <a:pt x="608" y="321"/>
                  <a:pt x="607" y="320"/>
                </a:cubicBezTo>
                <a:cubicBezTo>
                  <a:pt x="606" y="318"/>
                  <a:pt x="606" y="318"/>
                  <a:pt x="606" y="318"/>
                </a:cubicBezTo>
                <a:cubicBezTo>
                  <a:pt x="607" y="317"/>
                  <a:pt x="608" y="317"/>
                  <a:pt x="609" y="316"/>
                </a:cubicBezTo>
                <a:cubicBezTo>
                  <a:pt x="608" y="314"/>
                  <a:pt x="606" y="308"/>
                  <a:pt x="607" y="310"/>
                </a:cubicBezTo>
                <a:cubicBezTo>
                  <a:pt x="606" y="309"/>
                  <a:pt x="606" y="308"/>
                  <a:pt x="607" y="308"/>
                </a:cubicBezTo>
                <a:close/>
                <a:moveTo>
                  <a:pt x="484" y="303"/>
                </a:moveTo>
                <a:cubicBezTo>
                  <a:pt x="482" y="309"/>
                  <a:pt x="482" y="317"/>
                  <a:pt x="483" y="324"/>
                </a:cubicBezTo>
                <a:cubicBezTo>
                  <a:pt x="481" y="325"/>
                  <a:pt x="478" y="328"/>
                  <a:pt x="475" y="329"/>
                </a:cubicBezTo>
                <a:cubicBezTo>
                  <a:pt x="475" y="329"/>
                  <a:pt x="474" y="333"/>
                  <a:pt x="475" y="334"/>
                </a:cubicBezTo>
                <a:cubicBezTo>
                  <a:pt x="478" y="335"/>
                  <a:pt x="480" y="332"/>
                  <a:pt x="482" y="332"/>
                </a:cubicBezTo>
                <a:cubicBezTo>
                  <a:pt x="485" y="332"/>
                  <a:pt x="484" y="334"/>
                  <a:pt x="482" y="334"/>
                </a:cubicBezTo>
                <a:cubicBezTo>
                  <a:pt x="483" y="336"/>
                  <a:pt x="483" y="337"/>
                  <a:pt x="483" y="339"/>
                </a:cubicBezTo>
                <a:cubicBezTo>
                  <a:pt x="488" y="339"/>
                  <a:pt x="487" y="339"/>
                  <a:pt x="491" y="338"/>
                </a:cubicBezTo>
                <a:cubicBezTo>
                  <a:pt x="491" y="337"/>
                  <a:pt x="491" y="336"/>
                  <a:pt x="491" y="336"/>
                </a:cubicBezTo>
                <a:cubicBezTo>
                  <a:pt x="491" y="335"/>
                  <a:pt x="493" y="334"/>
                  <a:pt x="493" y="334"/>
                </a:cubicBezTo>
                <a:cubicBezTo>
                  <a:pt x="494" y="331"/>
                  <a:pt x="492" y="328"/>
                  <a:pt x="493" y="325"/>
                </a:cubicBezTo>
                <a:cubicBezTo>
                  <a:pt x="493" y="325"/>
                  <a:pt x="496" y="322"/>
                  <a:pt x="496" y="322"/>
                </a:cubicBezTo>
                <a:cubicBezTo>
                  <a:pt x="497" y="321"/>
                  <a:pt x="498" y="322"/>
                  <a:pt x="499" y="322"/>
                </a:cubicBezTo>
                <a:cubicBezTo>
                  <a:pt x="498" y="321"/>
                  <a:pt x="501" y="321"/>
                  <a:pt x="501" y="321"/>
                </a:cubicBezTo>
                <a:cubicBezTo>
                  <a:pt x="502" y="324"/>
                  <a:pt x="501" y="323"/>
                  <a:pt x="502" y="324"/>
                </a:cubicBezTo>
                <a:cubicBezTo>
                  <a:pt x="502" y="325"/>
                  <a:pt x="503" y="326"/>
                  <a:pt x="502" y="326"/>
                </a:cubicBezTo>
                <a:cubicBezTo>
                  <a:pt x="502" y="327"/>
                  <a:pt x="500" y="327"/>
                  <a:pt x="500" y="328"/>
                </a:cubicBezTo>
                <a:cubicBezTo>
                  <a:pt x="500" y="328"/>
                  <a:pt x="500" y="329"/>
                  <a:pt x="500" y="330"/>
                </a:cubicBezTo>
                <a:cubicBezTo>
                  <a:pt x="501" y="330"/>
                  <a:pt x="502" y="330"/>
                  <a:pt x="502" y="330"/>
                </a:cubicBezTo>
                <a:cubicBezTo>
                  <a:pt x="503" y="330"/>
                  <a:pt x="504" y="332"/>
                  <a:pt x="504" y="332"/>
                </a:cubicBezTo>
                <a:cubicBezTo>
                  <a:pt x="509" y="333"/>
                  <a:pt x="511" y="332"/>
                  <a:pt x="515" y="334"/>
                </a:cubicBezTo>
                <a:cubicBezTo>
                  <a:pt x="515" y="334"/>
                  <a:pt x="517" y="333"/>
                  <a:pt x="517" y="332"/>
                </a:cubicBezTo>
                <a:cubicBezTo>
                  <a:pt x="517" y="332"/>
                  <a:pt x="517" y="329"/>
                  <a:pt x="517" y="328"/>
                </a:cubicBezTo>
                <a:cubicBezTo>
                  <a:pt x="519" y="330"/>
                  <a:pt x="518" y="327"/>
                  <a:pt x="518" y="326"/>
                </a:cubicBezTo>
                <a:cubicBezTo>
                  <a:pt x="517" y="326"/>
                  <a:pt x="514" y="326"/>
                  <a:pt x="514" y="326"/>
                </a:cubicBezTo>
                <a:cubicBezTo>
                  <a:pt x="513" y="326"/>
                  <a:pt x="512" y="325"/>
                  <a:pt x="511" y="326"/>
                </a:cubicBezTo>
                <a:cubicBezTo>
                  <a:pt x="511" y="326"/>
                  <a:pt x="509" y="328"/>
                  <a:pt x="509" y="328"/>
                </a:cubicBezTo>
                <a:cubicBezTo>
                  <a:pt x="508" y="325"/>
                  <a:pt x="509" y="322"/>
                  <a:pt x="507" y="320"/>
                </a:cubicBezTo>
                <a:cubicBezTo>
                  <a:pt x="506" y="320"/>
                  <a:pt x="506" y="320"/>
                  <a:pt x="506" y="320"/>
                </a:cubicBezTo>
                <a:cubicBezTo>
                  <a:pt x="506" y="318"/>
                  <a:pt x="506" y="318"/>
                  <a:pt x="506" y="318"/>
                </a:cubicBezTo>
                <a:cubicBezTo>
                  <a:pt x="500" y="314"/>
                  <a:pt x="500" y="314"/>
                  <a:pt x="500" y="314"/>
                </a:cubicBezTo>
                <a:cubicBezTo>
                  <a:pt x="500" y="313"/>
                  <a:pt x="500" y="313"/>
                  <a:pt x="500" y="313"/>
                </a:cubicBezTo>
                <a:cubicBezTo>
                  <a:pt x="499" y="313"/>
                  <a:pt x="499" y="313"/>
                  <a:pt x="499" y="313"/>
                </a:cubicBezTo>
                <a:cubicBezTo>
                  <a:pt x="499" y="312"/>
                  <a:pt x="499" y="311"/>
                  <a:pt x="498" y="310"/>
                </a:cubicBezTo>
                <a:cubicBezTo>
                  <a:pt x="496" y="309"/>
                  <a:pt x="494" y="311"/>
                  <a:pt x="492" y="310"/>
                </a:cubicBezTo>
                <a:cubicBezTo>
                  <a:pt x="491" y="308"/>
                  <a:pt x="491" y="308"/>
                  <a:pt x="491" y="308"/>
                </a:cubicBezTo>
                <a:cubicBezTo>
                  <a:pt x="489" y="308"/>
                  <a:pt x="490" y="310"/>
                  <a:pt x="488" y="311"/>
                </a:cubicBezTo>
                <a:cubicBezTo>
                  <a:pt x="487" y="310"/>
                  <a:pt x="487" y="310"/>
                  <a:pt x="486" y="310"/>
                </a:cubicBezTo>
                <a:cubicBezTo>
                  <a:pt x="485" y="308"/>
                  <a:pt x="485" y="308"/>
                  <a:pt x="485" y="308"/>
                </a:cubicBezTo>
                <a:cubicBezTo>
                  <a:pt x="487" y="306"/>
                  <a:pt x="490" y="305"/>
                  <a:pt x="486" y="304"/>
                </a:cubicBezTo>
                <a:lnTo>
                  <a:pt x="484" y="303"/>
                </a:lnTo>
                <a:close/>
                <a:moveTo>
                  <a:pt x="613" y="275"/>
                </a:moveTo>
                <a:cubicBezTo>
                  <a:pt x="613" y="276"/>
                  <a:pt x="617" y="281"/>
                  <a:pt x="617" y="281"/>
                </a:cubicBezTo>
                <a:cubicBezTo>
                  <a:pt x="619" y="282"/>
                  <a:pt x="620" y="280"/>
                  <a:pt x="622" y="281"/>
                </a:cubicBezTo>
                <a:cubicBezTo>
                  <a:pt x="623" y="282"/>
                  <a:pt x="623" y="282"/>
                  <a:pt x="623" y="282"/>
                </a:cubicBezTo>
                <a:cubicBezTo>
                  <a:pt x="624" y="283"/>
                  <a:pt x="627" y="283"/>
                  <a:pt x="629" y="284"/>
                </a:cubicBezTo>
                <a:cubicBezTo>
                  <a:pt x="629" y="284"/>
                  <a:pt x="629" y="286"/>
                  <a:pt x="629" y="286"/>
                </a:cubicBezTo>
                <a:cubicBezTo>
                  <a:pt x="629" y="286"/>
                  <a:pt x="630" y="286"/>
                  <a:pt x="631" y="286"/>
                </a:cubicBezTo>
                <a:cubicBezTo>
                  <a:pt x="631" y="287"/>
                  <a:pt x="631" y="289"/>
                  <a:pt x="632" y="289"/>
                </a:cubicBezTo>
                <a:cubicBezTo>
                  <a:pt x="631" y="289"/>
                  <a:pt x="632" y="289"/>
                  <a:pt x="631" y="290"/>
                </a:cubicBezTo>
                <a:cubicBezTo>
                  <a:pt x="630" y="290"/>
                  <a:pt x="629" y="291"/>
                  <a:pt x="627" y="290"/>
                </a:cubicBezTo>
                <a:cubicBezTo>
                  <a:pt x="627" y="290"/>
                  <a:pt x="627" y="289"/>
                  <a:pt x="626" y="289"/>
                </a:cubicBezTo>
                <a:cubicBezTo>
                  <a:pt x="626" y="289"/>
                  <a:pt x="625" y="291"/>
                  <a:pt x="625" y="291"/>
                </a:cubicBezTo>
                <a:cubicBezTo>
                  <a:pt x="624" y="292"/>
                  <a:pt x="623" y="291"/>
                  <a:pt x="622" y="292"/>
                </a:cubicBezTo>
                <a:cubicBezTo>
                  <a:pt x="623" y="292"/>
                  <a:pt x="619" y="291"/>
                  <a:pt x="620" y="291"/>
                </a:cubicBezTo>
                <a:cubicBezTo>
                  <a:pt x="620" y="292"/>
                  <a:pt x="619" y="293"/>
                  <a:pt x="618" y="293"/>
                </a:cubicBezTo>
                <a:cubicBezTo>
                  <a:pt x="617" y="294"/>
                  <a:pt x="617" y="295"/>
                  <a:pt x="617" y="296"/>
                </a:cubicBezTo>
                <a:cubicBezTo>
                  <a:pt x="615" y="295"/>
                  <a:pt x="615" y="295"/>
                  <a:pt x="614" y="294"/>
                </a:cubicBezTo>
                <a:cubicBezTo>
                  <a:pt x="612" y="291"/>
                  <a:pt x="614" y="293"/>
                  <a:pt x="613" y="289"/>
                </a:cubicBezTo>
                <a:cubicBezTo>
                  <a:pt x="613" y="288"/>
                  <a:pt x="611" y="287"/>
                  <a:pt x="611" y="286"/>
                </a:cubicBezTo>
                <a:cubicBezTo>
                  <a:pt x="610" y="285"/>
                  <a:pt x="610" y="283"/>
                  <a:pt x="610" y="283"/>
                </a:cubicBezTo>
                <a:cubicBezTo>
                  <a:pt x="611" y="284"/>
                  <a:pt x="611" y="277"/>
                  <a:pt x="611" y="276"/>
                </a:cubicBezTo>
                <a:lnTo>
                  <a:pt x="613" y="275"/>
                </a:lnTo>
                <a:close/>
                <a:moveTo>
                  <a:pt x="474" y="270"/>
                </a:moveTo>
                <a:cubicBezTo>
                  <a:pt x="474" y="272"/>
                  <a:pt x="474" y="272"/>
                  <a:pt x="474" y="272"/>
                </a:cubicBezTo>
                <a:cubicBezTo>
                  <a:pt x="474" y="272"/>
                  <a:pt x="475" y="272"/>
                  <a:pt x="476" y="273"/>
                </a:cubicBezTo>
                <a:cubicBezTo>
                  <a:pt x="475" y="271"/>
                  <a:pt x="477" y="269"/>
                  <a:pt x="474" y="270"/>
                </a:cubicBezTo>
                <a:close/>
                <a:moveTo>
                  <a:pt x="583" y="262"/>
                </a:moveTo>
                <a:cubicBezTo>
                  <a:pt x="583" y="262"/>
                  <a:pt x="582" y="265"/>
                  <a:pt x="581" y="266"/>
                </a:cubicBezTo>
                <a:cubicBezTo>
                  <a:pt x="582" y="266"/>
                  <a:pt x="584" y="266"/>
                  <a:pt x="585" y="267"/>
                </a:cubicBezTo>
                <a:cubicBezTo>
                  <a:pt x="587" y="265"/>
                  <a:pt x="587" y="265"/>
                  <a:pt x="587" y="265"/>
                </a:cubicBezTo>
                <a:cubicBezTo>
                  <a:pt x="587" y="264"/>
                  <a:pt x="587" y="263"/>
                  <a:pt x="587" y="263"/>
                </a:cubicBezTo>
                <a:cubicBezTo>
                  <a:pt x="586" y="262"/>
                  <a:pt x="584" y="262"/>
                  <a:pt x="583" y="262"/>
                </a:cubicBezTo>
                <a:close/>
                <a:moveTo>
                  <a:pt x="570" y="259"/>
                </a:moveTo>
                <a:cubicBezTo>
                  <a:pt x="567" y="260"/>
                  <a:pt x="563" y="263"/>
                  <a:pt x="564" y="267"/>
                </a:cubicBezTo>
                <a:cubicBezTo>
                  <a:pt x="566" y="269"/>
                  <a:pt x="566" y="269"/>
                  <a:pt x="566" y="269"/>
                </a:cubicBezTo>
                <a:cubicBezTo>
                  <a:pt x="566" y="269"/>
                  <a:pt x="565" y="270"/>
                  <a:pt x="566" y="271"/>
                </a:cubicBezTo>
                <a:cubicBezTo>
                  <a:pt x="566" y="271"/>
                  <a:pt x="568" y="272"/>
                  <a:pt x="568" y="273"/>
                </a:cubicBezTo>
                <a:cubicBezTo>
                  <a:pt x="570" y="272"/>
                  <a:pt x="572" y="271"/>
                  <a:pt x="574" y="271"/>
                </a:cubicBezTo>
                <a:cubicBezTo>
                  <a:pt x="574" y="269"/>
                  <a:pt x="574" y="268"/>
                  <a:pt x="574" y="266"/>
                </a:cubicBezTo>
                <a:cubicBezTo>
                  <a:pt x="575" y="265"/>
                  <a:pt x="575" y="265"/>
                  <a:pt x="575" y="265"/>
                </a:cubicBezTo>
                <a:cubicBezTo>
                  <a:pt x="575" y="264"/>
                  <a:pt x="575" y="263"/>
                  <a:pt x="575" y="263"/>
                </a:cubicBezTo>
                <a:cubicBezTo>
                  <a:pt x="575" y="262"/>
                  <a:pt x="574" y="262"/>
                  <a:pt x="573" y="261"/>
                </a:cubicBezTo>
                <a:cubicBezTo>
                  <a:pt x="572" y="261"/>
                  <a:pt x="572" y="259"/>
                  <a:pt x="572" y="259"/>
                </a:cubicBezTo>
                <a:cubicBezTo>
                  <a:pt x="571" y="258"/>
                  <a:pt x="570" y="259"/>
                  <a:pt x="570" y="259"/>
                </a:cubicBezTo>
                <a:close/>
                <a:moveTo>
                  <a:pt x="585" y="254"/>
                </a:moveTo>
                <a:cubicBezTo>
                  <a:pt x="586" y="255"/>
                  <a:pt x="585" y="256"/>
                  <a:pt x="585" y="257"/>
                </a:cubicBezTo>
                <a:cubicBezTo>
                  <a:pt x="586" y="257"/>
                  <a:pt x="585" y="258"/>
                  <a:pt x="585" y="259"/>
                </a:cubicBezTo>
                <a:cubicBezTo>
                  <a:pt x="586" y="259"/>
                  <a:pt x="587" y="258"/>
                  <a:pt x="587" y="259"/>
                </a:cubicBezTo>
                <a:cubicBezTo>
                  <a:pt x="587" y="258"/>
                  <a:pt x="587" y="256"/>
                  <a:pt x="587" y="256"/>
                </a:cubicBezTo>
                <a:cubicBezTo>
                  <a:pt x="587" y="255"/>
                  <a:pt x="586" y="254"/>
                  <a:pt x="585" y="254"/>
                </a:cubicBezTo>
                <a:close/>
                <a:moveTo>
                  <a:pt x="538" y="251"/>
                </a:moveTo>
                <a:cubicBezTo>
                  <a:pt x="538" y="251"/>
                  <a:pt x="538" y="254"/>
                  <a:pt x="538" y="254"/>
                </a:cubicBezTo>
                <a:cubicBezTo>
                  <a:pt x="538" y="254"/>
                  <a:pt x="540" y="254"/>
                  <a:pt x="540" y="254"/>
                </a:cubicBezTo>
                <a:cubicBezTo>
                  <a:pt x="540" y="254"/>
                  <a:pt x="543" y="254"/>
                  <a:pt x="542" y="254"/>
                </a:cubicBezTo>
                <a:cubicBezTo>
                  <a:pt x="544" y="255"/>
                  <a:pt x="543" y="252"/>
                  <a:pt x="543" y="252"/>
                </a:cubicBezTo>
                <a:cubicBezTo>
                  <a:pt x="541" y="251"/>
                  <a:pt x="540" y="251"/>
                  <a:pt x="538" y="251"/>
                </a:cubicBezTo>
                <a:close/>
                <a:moveTo>
                  <a:pt x="544" y="241"/>
                </a:moveTo>
                <a:cubicBezTo>
                  <a:pt x="544" y="241"/>
                  <a:pt x="544" y="243"/>
                  <a:pt x="545" y="243"/>
                </a:cubicBezTo>
                <a:cubicBezTo>
                  <a:pt x="546" y="244"/>
                  <a:pt x="545" y="241"/>
                  <a:pt x="545" y="241"/>
                </a:cubicBezTo>
                <a:lnTo>
                  <a:pt x="544" y="241"/>
                </a:lnTo>
                <a:close/>
                <a:moveTo>
                  <a:pt x="567" y="239"/>
                </a:moveTo>
                <a:cubicBezTo>
                  <a:pt x="567" y="239"/>
                  <a:pt x="566" y="241"/>
                  <a:pt x="566" y="241"/>
                </a:cubicBezTo>
                <a:cubicBezTo>
                  <a:pt x="566" y="241"/>
                  <a:pt x="566" y="241"/>
                  <a:pt x="566" y="242"/>
                </a:cubicBezTo>
                <a:cubicBezTo>
                  <a:pt x="567" y="242"/>
                  <a:pt x="568" y="242"/>
                  <a:pt x="569" y="242"/>
                </a:cubicBezTo>
                <a:cubicBezTo>
                  <a:pt x="570" y="239"/>
                  <a:pt x="570" y="239"/>
                  <a:pt x="570" y="239"/>
                </a:cubicBezTo>
                <a:cubicBezTo>
                  <a:pt x="569" y="239"/>
                  <a:pt x="567" y="240"/>
                  <a:pt x="567" y="239"/>
                </a:cubicBezTo>
                <a:close/>
                <a:moveTo>
                  <a:pt x="548" y="237"/>
                </a:moveTo>
                <a:cubicBezTo>
                  <a:pt x="548" y="237"/>
                  <a:pt x="548" y="240"/>
                  <a:pt x="548" y="240"/>
                </a:cubicBezTo>
                <a:cubicBezTo>
                  <a:pt x="550" y="239"/>
                  <a:pt x="550" y="239"/>
                  <a:pt x="550" y="239"/>
                </a:cubicBezTo>
                <a:cubicBezTo>
                  <a:pt x="550" y="238"/>
                  <a:pt x="550" y="237"/>
                  <a:pt x="550" y="237"/>
                </a:cubicBezTo>
                <a:cubicBezTo>
                  <a:pt x="550" y="237"/>
                  <a:pt x="548" y="237"/>
                  <a:pt x="548" y="237"/>
                </a:cubicBezTo>
                <a:close/>
                <a:moveTo>
                  <a:pt x="542" y="233"/>
                </a:moveTo>
                <a:cubicBezTo>
                  <a:pt x="541" y="233"/>
                  <a:pt x="539" y="235"/>
                  <a:pt x="538" y="235"/>
                </a:cubicBezTo>
                <a:cubicBezTo>
                  <a:pt x="536" y="236"/>
                  <a:pt x="534" y="235"/>
                  <a:pt x="532" y="235"/>
                </a:cubicBezTo>
                <a:cubicBezTo>
                  <a:pt x="532" y="236"/>
                  <a:pt x="531" y="237"/>
                  <a:pt x="532" y="237"/>
                </a:cubicBezTo>
                <a:cubicBezTo>
                  <a:pt x="531" y="237"/>
                  <a:pt x="533" y="238"/>
                  <a:pt x="533" y="238"/>
                </a:cubicBezTo>
                <a:cubicBezTo>
                  <a:pt x="532" y="238"/>
                  <a:pt x="534" y="239"/>
                  <a:pt x="534" y="239"/>
                </a:cubicBezTo>
                <a:cubicBezTo>
                  <a:pt x="534" y="238"/>
                  <a:pt x="536" y="237"/>
                  <a:pt x="536" y="237"/>
                </a:cubicBezTo>
                <a:cubicBezTo>
                  <a:pt x="536" y="238"/>
                  <a:pt x="537" y="240"/>
                  <a:pt x="537" y="240"/>
                </a:cubicBezTo>
                <a:cubicBezTo>
                  <a:pt x="538" y="240"/>
                  <a:pt x="538" y="240"/>
                  <a:pt x="538" y="240"/>
                </a:cubicBezTo>
                <a:cubicBezTo>
                  <a:pt x="539" y="240"/>
                  <a:pt x="550" y="232"/>
                  <a:pt x="542" y="233"/>
                </a:cubicBezTo>
                <a:close/>
                <a:moveTo>
                  <a:pt x="623" y="232"/>
                </a:moveTo>
                <a:cubicBezTo>
                  <a:pt x="629" y="232"/>
                  <a:pt x="627" y="233"/>
                  <a:pt x="629" y="234"/>
                </a:cubicBezTo>
                <a:cubicBezTo>
                  <a:pt x="628" y="234"/>
                  <a:pt x="618" y="232"/>
                  <a:pt x="623" y="232"/>
                </a:cubicBezTo>
                <a:close/>
                <a:moveTo>
                  <a:pt x="474" y="229"/>
                </a:moveTo>
                <a:cubicBezTo>
                  <a:pt x="475" y="236"/>
                  <a:pt x="474" y="236"/>
                  <a:pt x="481" y="237"/>
                </a:cubicBezTo>
                <a:cubicBezTo>
                  <a:pt x="478" y="235"/>
                  <a:pt x="475" y="232"/>
                  <a:pt x="474" y="229"/>
                </a:cubicBezTo>
                <a:close/>
                <a:moveTo>
                  <a:pt x="622" y="227"/>
                </a:moveTo>
                <a:cubicBezTo>
                  <a:pt x="622" y="227"/>
                  <a:pt x="622" y="229"/>
                  <a:pt x="622" y="229"/>
                </a:cubicBezTo>
                <a:cubicBezTo>
                  <a:pt x="619" y="230"/>
                  <a:pt x="621" y="227"/>
                  <a:pt x="622" y="227"/>
                </a:cubicBezTo>
                <a:close/>
                <a:moveTo>
                  <a:pt x="615" y="220"/>
                </a:moveTo>
                <a:cubicBezTo>
                  <a:pt x="618" y="220"/>
                  <a:pt x="616" y="223"/>
                  <a:pt x="616" y="223"/>
                </a:cubicBezTo>
                <a:cubicBezTo>
                  <a:pt x="616" y="223"/>
                  <a:pt x="614" y="223"/>
                  <a:pt x="614" y="223"/>
                </a:cubicBezTo>
                <a:cubicBezTo>
                  <a:pt x="614" y="222"/>
                  <a:pt x="613" y="220"/>
                  <a:pt x="615" y="220"/>
                </a:cubicBezTo>
                <a:close/>
                <a:moveTo>
                  <a:pt x="604" y="216"/>
                </a:moveTo>
                <a:cubicBezTo>
                  <a:pt x="604" y="216"/>
                  <a:pt x="604" y="218"/>
                  <a:pt x="604" y="218"/>
                </a:cubicBezTo>
                <a:cubicBezTo>
                  <a:pt x="602" y="219"/>
                  <a:pt x="603" y="216"/>
                  <a:pt x="604" y="216"/>
                </a:cubicBezTo>
                <a:close/>
                <a:moveTo>
                  <a:pt x="387" y="173"/>
                </a:moveTo>
                <a:cubicBezTo>
                  <a:pt x="387" y="176"/>
                  <a:pt x="387" y="176"/>
                  <a:pt x="387" y="176"/>
                </a:cubicBezTo>
                <a:cubicBezTo>
                  <a:pt x="387" y="176"/>
                  <a:pt x="389" y="176"/>
                  <a:pt x="389" y="176"/>
                </a:cubicBezTo>
                <a:cubicBezTo>
                  <a:pt x="389" y="173"/>
                  <a:pt x="389" y="173"/>
                  <a:pt x="389" y="173"/>
                </a:cubicBezTo>
                <a:cubicBezTo>
                  <a:pt x="388" y="173"/>
                  <a:pt x="387" y="174"/>
                  <a:pt x="387" y="173"/>
                </a:cubicBezTo>
                <a:close/>
                <a:moveTo>
                  <a:pt x="550" y="163"/>
                </a:moveTo>
                <a:cubicBezTo>
                  <a:pt x="547" y="163"/>
                  <a:pt x="544" y="165"/>
                  <a:pt x="542" y="166"/>
                </a:cubicBezTo>
                <a:cubicBezTo>
                  <a:pt x="542" y="166"/>
                  <a:pt x="542" y="166"/>
                  <a:pt x="542" y="166"/>
                </a:cubicBezTo>
                <a:cubicBezTo>
                  <a:pt x="539" y="166"/>
                  <a:pt x="537" y="164"/>
                  <a:pt x="535" y="164"/>
                </a:cubicBezTo>
                <a:cubicBezTo>
                  <a:pt x="532" y="163"/>
                  <a:pt x="532" y="165"/>
                  <a:pt x="530" y="166"/>
                </a:cubicBezTo>
                <a:cubicBezTo>
                  <a:pt x="529" y="166"/>
                  <a:pt x="528" y="166"/>
                  <a:pt x="527" y="166"/>
                </a:cubicBezTo>
                <a:cubicBezTo>
                  <a:pt x="522" y="169"/>
                  <a:pt x="523" y="175"/>
                  <a:pt x="522" y="179"/>
                </a:cubicBezTo>
                <a:cubicBezTo>
                  <a:pt x="521" y="176"/>
                  <a:pt x="521" y="185"/>
                  <a:pt x="525" y="186"/>
                </a:cubicBezTo>
                <a:cubicBezTo>
                  <a:pt x="529" y="187"/>
                  <a:pt x="530" y="184"/>
                  <a:pt x="532" y="184"/>
                </a:cubicBezTo>
                <a:cubicBezTo>
                  <a:pt x="535" y="184"/>
                  <a:pt x="537" y="186"/>
                  <a:pt x="540" y="185"/>
                </a:cubicBezTo>
                <a:cubicBezTo>
                  <a:pt x="544" y="185"/>
                  <a:pt x="545" y="181"/>
                  <a:pt x="548" y="180"/>
                </a:cubicBezTo>
                <a:cubicBezTo>
                  <a:pt x="549" y="180"/>
                  <a:pt x="550" y="181"/>
                  <a:pt x="552" y="180"/>
                </a:cubicBezTo>
                <a:cubicBezTo>
                  <a:pt x="552" y="180"/>
                  <a:pt x="553" y="178"/>
                  <a:pt x="553" y="178"/>
                </a:cubicBezTo>
                <a:cubicBezTo>
                  <a:pt x="554" y="178"/>
                  <a:pt x="555" y="179"/>
                  <a:pt x="558" y="179"/>
                </a:cubicBezTo>
                <a:cubicBezTo>
                  <a:pt x="558" y="179"/>
                  <a:pt x="559" y="177"/>
                  <a:pt x="560" y="177"/>
                </a:cubicBezTo>
                <a:cubicBezTo>
                  <a:pt x="559" y="176"/>
                  <a:pt x="560" y="176"/>
                  <a:pt x="560" y="175"/>
                </a:cubicBezTo>
                <a:cubicBezTo>
                  <a:pt x="558" y="174"/>
                  <a:pt x="558" y="174"/>
                  <a:pt x="558" y="174"/>
                </a:cubicBezTo>
                <a:cubicBezTo>
                  <a:pt x="557" y="172"/>
                  <a:pt x="556" y="169"/>
                  <a:pt x="556" y="168"/>
                </a:cubicBezTo>
                <a:cubicBezTo>
                  <a:pt x="555" y="166"/>
                  <a:pt x="555" y="166"/>
                  <a:pt x="555" y="164"/>
                </a:cubicBezTo>
                <a:cubicBezTo>
                  <a:pt x="554" y="164"/>
                  <a:pt x="552" y="165"/>
                  <a:pt x="552" y="165"/>
                </a:cubicBezTo>
                <a:cubicBezTo>
                  <a:pt x="551" y="165"/>
                  <a:pt x="551" y="163"/>
                  <a:pt x="550" y="163"/>
                </a:cubicBezTo>
                <a:close/>
                <a:moveTo>
                  <a:pt x="397" y="156"/>
                </a:moveTo>
                <a:cubicBezTo>
                  <a:pt x="397" y="156"/>
                  <a:pt x="397" y="157"/>
                  <a:pt x="397" y="158"/>
                </a:cubicBezTo>
                <a:cubicBezTo>
                  <a:pt x="399" y="158"/>
                  <a:pt x="399" y="156"/>
                  <a:pt x="397" y="156"/>
                </a:cubicBezTo>
                <a:close/>
                <a:moveTo>
                  <a:pt x="381" y="153"/>
                </a:moveTo>
                <a:cubicBezTo>
                  <a:pt x="380" y="153"/>
                  <a:pt x="378" y="156"/>
                  <a:pt x="381" y="156"/>
                </a:cubicBezTo>
                <a:cubicBezTo>
                  <a:pt x="381" y="156"/>
                  <a:pt x="383" y="152"/>
                  <a:pt x="381" y="153"/>
                </a:cubicBezTo>
                <a:close/>
                <a:moveTo>
                  <a:pt x="399" y="135"/>
                </a:moveTo>
                <a:cubicBezTo>
                  <a:pt x="399" y="137"/>
                  <a:pt x="398" y="141"/>
                  <a:pt x="396" y="142"/>
                </a:cubicBezTo>
                <a:cubicBezTo>
                  <a:pt x="395" y="142"/>
                  <a:pt x="394" y="141"/>
                  <a:pt x="393" y="142"/>
                </a:cubicBezTo>
                <a:cubicBezTo>
                  <a:pt x="393" y="143"/>
                  <a:pt x="394" y="144"/>
                  <a:pt x="393" y="145"/>
                </a:cubicBezTo>
                <a:cubicBezTo>
                  <a:pt x="393" y="145"/>
                  <a:pt x="391" y="147"/>
                  <a:pt x="391" y="147"/>
                </a:cubicBezTo>
                <a:cubicBezTo>
                  <a:pt x="391" y="148"/>
                  <a:pt x="392" y="150"/>
                  <a:pt x="392" y="150"/>
                </a:cubicBezTo>
                <a:cubicBezTo>
                  <a:pt x="393" y="150"/>
                  <a:pt x="393" y="149"/>
                  <a:pt x="393" y="149"/>
                </a:cubicBezTo>
                <a:cubicBezTo>
                  <a:pt x="394" y="149"/>
                  <a:pt x="395" y="149"/>
                  <a:pt x="396" y="150"/>
                </a:cubicBezTo>
                <a:cubicBezTo>
                  <a:pt x="397" y="150"/>
                  <a:pt x="397" y="151"/>
                  <a:pt x="397" y="152"/>
                </a:cubicBezTo>
                <a:cubicBezTo>
                  <a:pt x="398" y="152"/>
                  <a:pt x="404" y="154"/>
                  <a:pt x="405" y="154"/>
                </a:cubicBezTo>
                <a:cubicBezTo>
                  <a:pt x="405" y="154"/>
                  <a:pt x="405" y="152"/>
                  <a:pt x="407" y="153"/>
                </a:cubicBezTo>
                <a:cubicBezTo>
                  <a:pt x="407" y="153"/>
                  <a:pt x="408" y="155"/>
                  <a:pt x="409" y="156"/>
                </a:cubicBezTo>
                <a:cubicBezTo>
                  <a:pt x="410" y="155"/>
                  <a:pt x="411" y="155"/>
                  <a:pt x="412" y="155"/>
                </a:cubicBezTo>
                <a:cubicBezTo>
                  <a:pt x="413" y="151"/>
                  <a:pt x="415" y="145"/>
                  <a:pt x="413" y="141"/>
                </a:cubicBezTo>
                <a:cubicBezTo>
                  <a:pt x="413" y="140"/>
                  <a:pt x="411" y="140"/>
                  <a:pt x="410" y="139"/>
                </a:cubicBezTo>
                <a:cubicBezTo>
                  <a:pt x="409" y="138"/>
                  <a:pt x="410" y="137"/>
                  <a:pt x="409" y="136"/>
                </a:cubicBezTo>
                <a:cubicBezTo>
                  <a:pt x="408" y="135"/>
                  <a:pt x="401" y="135"/>
                  <a:pt x="399" y="135"/>
                </a:cubicBezTo>
                <a:close/>
                <a:moveTo>
                  <a:pt x="395" y="133"/>
                </a:moveTo>
                <a:cubicBezTo>
                  <a:pt x="395" y="133"/>
                  <a:pt x="394" y="135"/>
                  <a:pt x="393" y="136"/>
                </a:cubicBezTo>
                <a:cubicBezTo>
                  <a:pt x="392" y="137"/>
                  <a:pt x="390" y="136"/>
                  <a:pt x="388" y="137"/>
                </a:cubicBezTo>
                <a:cubicBezTo>
                  <a:pt x="388" y="139"/>
                  <a:pt x="388" y="140"/>
                  <a:pt x="389" y="140"/>
                </a:cubicBezTo>
                <a:cubicBezTo>
                  <a:pt x="389" y="139"/>
                  <a:pt x="390" y="140"/>
                  <a:pt x="391" y="140"/>
                </a:cubicBezTo>
                <a:cubicBezTo>
                  <a:pt x="391" y="140"/>
                  <a:pt x="392" y="137"/>
                  <a:pt x="392" y="137"/>
                </a:cubicBezTo>
                <a:cubicBezTo>
                  <a:pt x="393" y="137"/>
                  <a:pt x="394" y="137"/>
                  <a:pt x="395" y="137"/>
                </a:cubicBezTo>
                <a:cubicBezTo>
                  <a:pt x="395" y="137"/>
                  <a:pt x="397" y="132"/>
                  <a:pt x="395" y="133"/>
                </a:cubicBezTo>
                <a:close/>
                <a:moveTo>
                  <a:pt x="389" y="132"/>
                </a:moveTo>
                <a:cubicBezTo>
                  <a:pt x="390" y="134"/>
                  <a:pt x="390" y="134"/>
                  <a:pt x="390" y="134"/>
                </a:cubicBezTo>
                <a:cubicBezTo>
                  <a:pt x="390" y="133"/>
                  <a:pt x="391" y="132"/>
                  <a:pt x="389" y="132"/>
                </a:cubicBezTo>
                <a:close/>
                <a:moveTo>
                  <a:pt x="386" y="132"/>
                </a:moveTo>
                <a:cubicBezTo>
                  <a:pt x="386" y="132"/>
                  <a:pt x="386" y="134"/>
                  <a:pt x="386" y="134"/>
                </a:cubicBezTo>
                <a:cubicBezTo>
                  <a:pt x="388" y="135"/>
                  <a:pt x="387" y="133"/>
                  <a:pt x="386" y="132"/>
                </a:cubicBezTo>
                <a:close/>
                <a:moveTo>
                  <a:pt x="404" y="131"/>
                </a:moveTo>
                <a:cubicBezTo>
                  <a:pt x="402" y="131"/>
                  <a:pt x="404" y="133"/>
                  <a:pt x="405" y="133"/>
                </a:cubicBezTo>
                <a:cubicBezTo>
                  <a:pt x="405" y="133"/>
                  <a:pt x="407" y="130"/>
                  <a:pt x="404" y="131"/>
                </a:cubicBezTo>
                <a:close/>
                <a:moveTo>
                  <a:pt x="538" y="128"/>
                </a:moveTo>
                <a:cubicBezTo>
                  <a:pt x="537" y="128"/>
                  <a:pt x="535" y="129"/>
                  <a:pt x="535" y="130"/>
                </a:cubicBezTo>
                <a:cubicBezTo>
                  <a:pt x="535" y="130"/>
                  <a:pt x="533" y="130"/>
                  <a:pt x="533" y="130"/>
                </a:cubicBezTo>
                <a:cubicBezTo>
                  <a:pt x="534" y="130"/>
                  <a:pt x="532" y="130"/>
                  <a:pt x="532" y="130"/>
                </a:cubicBezTo>
                <a:cubicBezTo>
                  <a:pt x="533" y="132"/>
                  <a:pt x="533" y="132"/>
                  <a:pt x="533" y="132"/>
                </a:cubicBezTo>
                <a:cubicBezTo>
                  <a:pt x="534" y="132"/>
                  <a:pt x="535" y="131"/>
                  <a:pt x="536" y="132"/>
                </a:cubicBezTo>
                <a:cubicBezTo>
                  <a:pt x="536" y="132"/>
                  <a:pt x="537" y="133"/>
                  <a:pt x="538" y="134"/>
                </a:cubicBezTo>
                <a:cubicBezTo>
                  <a:pt x="538" y="133"/>
                  <a:pt x="537" y="132"/>
                  <a:pt x="538" y="131"/>
                </a:cubicBezTo>
                <a:cubicBezTo>
                  <a:pt x="538" y="130"/>
                  <a:pt x="544" y="127"/>
                  <a:pt x="538" y="128"/>
                </a:cubicBezTo>
                <a:close/>
                <a:moveTo>
                  <a:pt x="443" y="114"/>
                </a:moveTo>
                <a:cubicBezTo>
                  <a:pt x="442" y="114"/>
                  <a:pt x="441" y="114"/>
                  <a:pt x="440" y="114"/>
                </a:cubicBezTo>
                <a:cubicBezTo>
                  <a:pt x="439" y="116"/>
                  <a:pt x="439" y="116"/>
                  <a:pt x="439" y="116"/>
                </a:cubicBezTo>
                <a:cubicBezTo>
                  <a:pt x="441" y="119"/>
                  <a:pt x="441" y="119"/>
                  <a:pt x="446" y="120"/>
                </a:cubicBezTo>
                <a:cubicBezTo>
                  <a:pt x="446" y="120"/>
                  <a:pt x="445" y="118"/>
                  <a:pt x="445" y="118"/>
                </a:cubicBezTo>
                <a:cubicBezTo>
                  <a:pt x="445" y="118"/>
                  <a:pt x="445" y="115"/>
                  <a:pt x="445" y="114"/>
                </a:cubicBezTo>
                <a:cubicBezTo>
                  <a:pt x="444" y="114"/>
                  <a:pt x="443" y="114"/>
                  <a:pt x="443" y="114"/>
                </a:cubicBezTo>
                <a:close/>
                <a:moveTo>
                  <a:pt x="395" y="111"/>
                </a:moveTo>
                <a:cubicBezTo>
                  <a:pt x="394" y="112"/>
                  <a:pt x="394" y="114"/>
                  <a:pt x="393" y="115"/>
                </a:cubicBezTo>
                <a:cubicBezTo>
                  <a:pt x="392" y="114"/>
                  <a:pt x="392" y="117"/>
                  <a:pt x="391" y="117"/>
                </a:cubicBezTo>
                <a:cubicBezTo>
                  <a:pt x="392" y="118"/>
                  <a:pt x="394" y="118"/>
                  <a:pt x="395" y="119"/>
                </a:cubicBezTo>
                <a:cubicBezTo>
                  <a:pt x="397" y="120"/>
                  <a:pt x="396" y="123"/>
                  <a:pt x="398" y="124"/>
                </a:cubicBezTo>
                <a:cubicBezTo>
                  <a:pt x="400" y="125"/>
                  <a:pt x="402" y="124"/>
                  <a:pt x="405" y="124"/>
                </a:cubicBezTo>
                <a:cubicBezTo>
                  <a:pt x="408" y="125"/>
                  <a:pt x="410" y="127"/>
                  <a:pt x="412" y="128"/>
                </a:cubicBezTo>
                <a:cubicBezTo>
                  <a:pt x="413" y="128"/>
                  <a:pt x="413" y="127"/>
                  <a:pt x="414" y="128"/>
                </a:cubicBezTo>
                <a:cubicBezTo>
                  <a:pt x="416" y="126"/>
                  <a:pt x="414" y="124"/>
                  <a:pt x="418" y="124"/>
                </a:cubicBezTo>
                <a:cubicBezTo>
                  <a:pt x="418" y="126"/>
                  <a:pt x="418" y="126"/>
                  <a:pt x="418" y="126"/>
                </a:cubicBezTo>
                <a:cubicBezTo>
                  <a:pt x="421" y="127"/>
                  <a:pt x="428" y="128"/>
                  <a:pt x="429" y="130"/>
                </a:cubicBezTo>
                <a:cubicBezTo>
                  <a:pt x="429" y="131"/>
                  <a:pt x="428" y="132"/>
                  <a:pt x="429" y="132"/>
                </a:cubicBezTo>
                <a:cubicBezTo>
                  <a:pt x="429" y="133"/>
                  <a:pt x="431" y="133"/>
                  <a:pt x="431" y="134"/>
                </a:cubicBezTo>
                <a:cubicBezTo>
                  <a:pt x="433" y="138"/>
                  <a:pt x="430" y="139"/>
                  <a:pt x="430" y="142"/>
                </a:cubicBezTo>
                <a:cubicBezTo>
                  <a:pt x="430" y="143"/>
                  <a:pt x="431" y="144"/>
                  <a:pt x="431" y="144"/>
                </a:cubicBezTo>
                <a:cubicBezTo>
                  <a:pt x="431" y="146"/>
                  <a:pt x="429" y="147"/>
                  <a:pt x="429" y="148"/>
                </a:cubicBezTo>
                <a:cubicBezTo>
                  <a:pt x="429" y="149"/>
                  <a:pt x="430" y="151"/>
                  <a:pt x="431" y="152"/>
                </a:cubicBezTo>
                <a:cubicBezTo>
                  <a:pt x="431" y="153"/>
                  <a:pt x="431" y="155"/>
                  <a:pt x="431" y="154"/>
                </a:cubicBezTo>
                <a:cubicBezTo>
                  <a:pt x="431" y="155"/>
                  <a:pt x="431" y="158"/>
                  <a:pt x="431" y="158"/>
                </a:cubicBezTo>
                <a:cubicBezTo>
                  <a:pt x="433" y="158"/>
                  <a:pt x="434" y="158"/>
                  <a:pt x="435" y="158"/>
                </a:cubicBezTo>
                <a:cubicBezTo>
                  <a:pt x="436" y="156"/>
                  <a:pt x="436" y="156"/>
                  <a:pt x="436" y="156"/>
                </a:cubicBezTo>
                <a:cubicBezTo>
                  <a:pt x="440" y="155"/>
                  <a:pt x="439" y="157"/>
                  <a:pt x="439" y="158"/>
                </a:cubicBezTo>
                <a:cubicBezTo>
                  <a:pt x="439" y="158"/>
                  <a:pt x="439" y="158"/>
                  <a:pt x="439" y="158"/>
                </a:cubicBezTo>
                <a:cubicBezTo>
                  <a:pt x="439" y="158"/>
                  <a:pt x="451" y="156"/>
                  <a:pt x="451" y="156"/>
                </a:cubicBezTo>
                <a:cubicBezTo>
                  <a:pt x="452" y="155"/>
                  <a:pt x="451" y="153"/>
                  <a:pt x="452" y="152"/>
                </a:cubicBezTo>
                <a:cubicBezTo>
                  <a:pt x="455" y="150"/>
                  <a:pt x="455" y="150"/>
                  <a:pt x="455" y="150"/>
                </a:cubicBezTo>
                <a:cubicBezTo>
                  <a:pt x="456" y="152"/>
                  <a:pt x="457" y="155"/>
                  <a:pt x="457" y="157"/>
                </a:cubicBezTo>
                <a:cubicBezTo>
                  <a:pt x="459" y="157"/>
                  <a:pt x="460" y="158"/>
                  <a:pt x="462" y="158"/>
                </a:cubicBezTo>
                <a:cubicBezTo>
                  <a:pt x="462" y="157"/>
                  <a:pt x="465" y="155"/>
                  <a:pt x="466" y="156"/>
                </a:cubicBezTo>
                <a:cubicBezTo>
                  <a:pt x="466" y="156"/>
                  <a:pt x="468" y="158"/>
                  <a:pt x="470" y="157"/>
                </a:cubicBezTo>
                <a:cubicBezTo>
                  <a:pt x="471" y="154"/>
                  <a:pt x="471" y="154"/>
                  <a:pt x="471" y="154"/>
                </a:cubicBezTo>
                <a:cubicBezTo>
                  <a:pt x="473" y="154"/>
                  <a:pt x="473" y="154"/>
                  <a:pt x="474" y="154"/>
                </a:cubicBezTo>
                <a:cubicBezTo>
                  <a:pt x="475" y="154"/>
                  <a:pt x="475" y="155"/>
                  <a:pt x="475" y="157"/>
                </a:cubicBezTo>
                <a:cubicBezTo>
                  <a:pt x="478" y="157"/>
                  <a:pt x="480" y="156"/>
                  <a:pt x="482" y="156"/>
                </a:cubicBezTo>
                <a:cubicBezTo>
                  <a:pt x="482" y="154"/>
                  <a:pt x="482" y="154"/>
                  <a:pt x="482" y="154"/>
                </a:cubicBezTo>
                <a:cubicBezTo>
                  <a:pt x="484" y="155"/>
                  <a:pt x="483" y="156"/>
                  <a:pt x="484" y="157"/>
                </a:cubicBezTo>
                <a:cubicBezTo>
                  <a:pt x="485" y="157"/>
                  <a:pt x="485" y="156"/>
                  <a:pt x="486" y="156"/>
                </a:cubicBezTo>
                <a:cubicBezTo>
                  <a:pt x="487" y="155"/>
                  <a:pt x="489" y="156"/>
                  <a:pt x="491" y="156"/>
                </a:cubicBezTo>
                <a:cubicBezTo>
                  <a:pt x="495" y="156"/>
                  <a:pt x="498" y="156"/>
                  <a:pt x="502" y="156"/>
                </a:cubicBezTo>
                <a:cubicBezTo>
                  <a:pt x="502" y="154"/>
                  <a:pt x="502" y="155"/>
                  <a:pt x="503" y="155"/>
                </a:cubicBezTo>
                <a:cubicBezTo>
                  <a:pt x="503" y="153"/>
                  <a:pt x="503" y="151"/>
                  <a:pt x="502" y="151"/>
                </a:cubicBezTo>
                <a:cubicBezTo>
                  <a:pt x="503" y="151"/>
                  <a:pt x="504" y="151"/>
                  <a:pt x="504" y="151"/>
                </a:cubicBezTo>
                <a:cubicBezTo>
                  <a:pt x="505" y="151"/>
                  <a:pt x="505" y="154"/>
                  <a:pt x="505" y="154"/>
                </a:cubicBezTo>
                <a:cubicBezTo>
                  <a:pt x="506" y="154"/>
                  <a:pt x="507" y="155"/>
                  <a:pt x="508" y="156"/>
                </a:cubicBezTo>
                <a:cubicBezTo>
                  <a:pt x="509" y="156"/>
                  <a:pt x="509" y="155"/>
                  <a:pt x="510" y="155"/>
                </a:cubicBezTo>
                <a:cubicBezTo>
                  <a:pt x="511" y="154"/>
                  <a:pt x="510" y="154"/>
                  <a:pt x="511" y="154"/>
                </a:cubicBezTo>
                <a:cubicBezTo>
                  <a:pt x="511" y="154"/>
                  <a:pt x="512" y="155"/>
                  <a:pt x="512" y="156"/>
                </a:cubicBezTo>
                <a:cubicBezTo>
                  <a:pt x="514" y="156"/>
                  <a:pt x="526" y="155"/>
                  <a:pt x="529" y="154"/>
                </a:cubicBezTo>
                <a:cubicBezTo>
                  <a:pt x="529" y="154"/>
                  <a:pt x="529" y="152"/>
                  <a:pt x="530" y="152"/>
                </a:cubicBezTo>
                <a:cubicBezTo>
                  <a:pt x="531" y="156"/>
                  <a:pt x="530" y="150"/>
                  <a:pt x="530" y="148"/>
                </a:cubicBezTo>
                <a:cubicBezTo>
                  <a:pt x="531" y="147"/>
                  <a:pt x="530" y="149"/>
                  <a:pt x="530" y="149"/>
                </a:cubicBezTo>
                <a:cubicBezTo>
                  <a:pt x="532" y="148"/>
                  <a:pt x="534" y="147"/>
                  <a:pt x="535" y="146"/>
                </a:cubicBezTo>
                <a:cubicBezTo>
                  <a:pt x="537" y="143"/>
                  <a:pt x="536" y="142"/>
                  <a:pt x="535" y="139"/>
                </a:cubicBezTo>
                <a:cubicBezTo>
                  <a:pt x="535" y="139"/>
                  <a:pt x="533" y="139"/>
                  <a:pt x="533" y="139"/>
                </a:cubicBezTo>
                <a:cubicBezTo>
                  <a:pt x="531" y="138"/>
                  <a:pt x="527" y="135"/>
                  <a:pt x="524" y="135"/>
                </a:cubicBezTo>
                <a:cubicBezTo>
                  <a:pt x="523" y="135"/>
                  <a:pt x="521" y="137"/>
                  <a:pt x="520" y="136"/>
                </a:cubicBezTo>
                <a:cubicBezTo>
                  <a:pt x="517" y="134"/>
                  <a:pt x="517" y="134"/>
                  <a:pt x="517" y="134"/>
                </a:cubicBezTo>
                <a:cubicBezTo>
                  <a:pt x="517" y="134"/>
                  <a:pt x="517" y="132"/>
                  <a:pt x="517" y="132"/>
                </a:cubicBezTo>
                <a:cubicBezTo>
                  <a:pt x="516" y="132"/>
                  <a:pt x="508" y="131"/>
                  <a:pt x="506" y="132"/>
                </a:cubicBezTo>
                <a:cubicBezTo>
                  <a:pt x="506" y="132"/>
                  <a:pt x="505" y="133"/>
                  <a:pt x="503" y="133"/>
                </a:cubicBezTo>
                <a:cubicBezTo>
                  <a:pt x="502" y="133"/>
                  <a:pt x="501" y="131"/>
                  <a:pt x="497" y="131"/>
                </a:cubicBezTo>
                <a:cubicBezTo>
                  <a:pt x="496" y="132"/>
                  <a:pt x="496" y="132"/>
                  <a:pt x="496" y="132"/>
                </a:cubicBezTo>
                <a:cubicBezTo>
                  <a:pt x="494" y="133"/>
                  <a:pt x="493" y="132"/>
                  <a:pt x="492" y="132"/>
                </a:cubicBezTo>
                <a:cubicBezTo>
                  <a:pt x="491" y="134"/>
                  <a:pt x="491" y="134"/>
                  <a:pt x="491" y="134"/>
                </a:cubicBezTo>
                <a:cubicBezTo>
                  <a:pt x="489" y="135"/>
                  <a:pt x="485" y="133"/>
                  <a:pt x="482" y="134"/>
                </a:cubicBezTo>
                <a:cubicBezTo>
                  <a:pt x="482" y="135"/>
                  <a:pt x="480" y="135"/>
                  <a:pt x="479" y="136"/>
                </a:cubicBezTo>
                <a:cubicBezTo>
                  <a:pt x="479" y="136"/>
                  <a:pt x="479" y="138"/>
                  <a:pt x="479" y="138"/>
                </a:cubicBezTo>
                <a:cubicBezTo>
                  <a:pt x="477" y="138"/>
                  <a:pt x="470" y="136"/>
                  <a:pt x="468" y="135"/>
                </a:cubicBezTo>
                <a:cubicBezTo>
                  <a:pt x="468" y="138"/>
                  <a:pt x="468" y="138"/>
                  <a:pt x="468" y="138"/>
                </a:cubicBezTo>
                <a:cubicBezTo>
                  <a:pt x="467" y="138"/>
                  <a:pt x="465" y="136"/>
                  <a:pt x="463" y="136"/>
                </a:cubicBezTo>
                <a:cubicBezTo>
                  <a:pt x="463" y="136"/>
                  <a:pt x="463" y="138"/>
                  <a:pt x="461" y="138"/>
                </a:cubicBezTo>
                <a:cubicBezTo>
                  <a:pt x="461" y="136"/>
                  <a:pt x="461" y="136"/>
                  <a:pt x="461" y="136"/>
                </a:cubicBezTo>
                <a:cubicBezTo>
                  <a:pt x="458" y="135"/>
                  <a:pt x="456" y="135"/>
                  <a:pt x="453" y="134"/>
                </a:cubicBezTo>
                <a:cubicBezTo>
                  <a:pt x="452" y="134"/>
                  <a:pt x="452" y="135"/>
                  <a:pt x="451" y="136"/>
                </a:cubicBezTo>
                <a:cubicBezTo>
                  <a:pt x="451" y="134"/>
                  <a:pt x="451" y="133"/>
                  <a:pt x="451" y="132"/>
                </a:cubicBezTo>
                <a:cubicBezTo>
                  <a:pt x="448" y="131"/>
                  <a:pt x="447" y="130"/>
                  <a:pt x="444" y="131"/>
                </a:cubicBezTo>
                <a:cubicBezTo>
                  <a:pt x="443" y="131"/>
                  <a:pt x="443" y="133"/>
                  <a:pt x="443" y="133"/>
                </a:cubicBezTo>
                <a:cubicBezTo>
                  <a:pt x="439" y="135"/>
                  <a:pt x="442" y="131"/>
                  <a:pt x="443" y="130"/>
                </a:cubicBezTo>
                <a:cubicBezTo>
                  <a:pt x="442" y="130"/>
                  <a:pt x="440" y="130"/>
                  <a:pt x="439" y="130"/>
                </a:cubicBezTo>
                <a:cubicBezTo>
                  <a:pt x="440" y="128"/>
                  <a:pt x="440" y="128"/>
                  <a:pt x="440" y="128"/>
                </a:cubicBezTo>
                <a:cubicBezTo>
                  <a:pt x="444" y="129"/>
                  <a:pt x="445" y="129"/>
                  <a:pt x="449" y="127"/>
                </a:cubicBezTo>
                <a:cubicBezTo>
                  <a:pt x="449" y="127"/>
                  <a:pt x="449" y="125"/>
                  <a:pt x="449" y="125"/>
                </a:cubicBezTo>
                <a:cubicBezTo>
                  <a:pt x="447" y="124"/>
                  <a:pt x="445" y="124"/>
                  <a:pt x="443" y="123"/>
                </a:cubicBezTo>
                <a:cubicBezTo>
                  <a:pt x="442" y="123"/>
                  <a:pt x="441" y="121"/>
                  <a:pt x="441" y="121"/>
                </a:cubicBezTo>
                <a:cubicBezTo>
                  <a:pt x="439" y="120"/>
                  <a:pt x="437" y="121"/>
                  <a:pt x="436" y="120"/>
                </a:cubicBezTo>
                <a:cubicBezTo>
                  <a:pt x="435" y="120"/>
                  <a:pt x="435" y="118"/>
                  <a:pt x="435" y="117"/>
                </a:cubicBezTo>
                <a:cubicBezTo>
                  <a:pt x="431" y="118"/>
                  <a:pt x="420" y="120"/>
                  <a:pt x="419" y="119"/>
                </a:cubicBezTo>
                <a:cubicBezTo>
                  <a:pt x="418" y="119"/>
                  <a:pt x="419" y="117"/>
                  <a:pt x="419" y="117"/>
                </a:cubicBezTo>
                <a:cubicBezTo>
                  <a:pt x="419" y="117"/>
                  <a:pt x="415" y="114"/>
                  <a:pt x="415" y="114"/>
                </a:cubicBezTo>
                <a:cubicBezTo>
                  <a:pt x="413" y="113"/>
                  <a:pt x="412" y="114"/>
                  <a:pt x="409" y="114"/>
                </a:cubicBezTo>
                <a:cubicBezTo>
                  <a:pt x="408" y="114"/>
                  <a:pt x="404" y="113"/>
                  <a:pt x="403" y="113"/>
                </a:cubicBezTo>
                <a:cubicBezTo>
                  <a:pt x="402" y="113"/>
                  <a:pt x="402" y="112"/>
                  <a:pt x="402" y="112"/>
                </a:cubicBezTo>
                <a:cubicBezTo>
                  <a:pt x="401" y="111"/>
                  <a:pt x="399" y="112"/>
                  <a:pt x="399" y="112"/>
                </a:cubicBezTo>
                <a:cubicBezTo>
                  <a:pt x="399" y="112"/>
                  <a:pt x="397" y="111"/>
                  <a:pt x="395" y="111"/>
                </a:cubicBezTo>
                <a:close/>
                <a:moveTo>
                  <a:pt x="523" y="102"/>
                </a:moveTo>
                <a:cubicBezTo>
                  <a:pt x="524" y="102"/>
                  <a:pt x="524" y="103"/>
                  <a:pt x="524" y="104"/>
                </a:cubicBezTo>
                <a:cubicBezTo>
                  <a:pt x="525" y="104"/>
                  <a:pt x="525" y="105"/>
                  <a:pt x="526" y="105"/>
                </a:cubicBezTo>
                <a:cubicBezTo>
                  <a:pt x="523" y="105"/>
                  <a:pt x="520" y="105"/>
                  <a:pt x="518" y="105"/>
                </a:cubicBezTo>
                <a:cubicBezTo>
                  <a:pt x="519" y="105"/>
                  <a:pt x="518" y="104"/>
                  <a:pt x="518" y="104"/>
                </a:cubicBezTo>
                <a:cubicBezTo>
                  <a:pt x="518" y="104"/>
                  <a:pt x="522" y="102"/>
                  <a:pt x="523" y="102"/>
                </a:cubicBezTo>
                <a:close/>
                <a:moveTo>
                  <a:pt x="411" y="99"/>
                </a:moveTo>
                <a:cubicBezTo>
                  <a:pt x="411" y="100"/>
                  <a:pt x="411" y="100"/>
                  <a:pt x="411" y="100"/>
                </a:cubicBezTo>
                <a:cubicBezTo>
                  <a:pt x="409" y="101"/>
                  <a:pt x="407" y="101"/>
                  <a:pt x="405" y="102"/>
                </a:cubicBezTo>
                <a:cubicBezTo>
                  <a:pt x="405" y="102"/>
                  <a:pt x="405" y="102"/>
                  <a:pt x="405" y="102"/>
                </a:cubicBezTo>
                <a:cubicBezTo>
                  <a:pt x="402" y="103"/>
                  <a:pt x="399" y="102"/>
                  <a:pt x="397" y="102"/>
                </a:cubicBezTo>
                <a:cubicBezTo>
                  <a:pt x="397" y="102"/>
                  <a:pt x="394" y="104"/>
                  <a:pt x="393" y="104"/>
                </a:cubicBezTo>
                <a:cubicBezTo>
                  <a:pt x="394" y="105"/>
                  <a:pt x="394" y="105"/>
                  <a:pt x="394" y="106"/>
                </a:cubicBezTo>
                <a:cubicBezTo>
                  <a:pt x="404" y="105"/>
                  <a:pt x="414" y="111"/>
                  <a:pt x="421" y="106"/>
                </a:cubicBezTo>
                <a:cubicBezTo>
                  <a:pt x="422" y="105"/>
                  <a:pt x="422" y="105"/>
                  <a:pt x="423" y="105"/>
                </a:cubicBezTo>
                <a:cubicBezTo>
                  <a:pt x="424" y="102"/>
                  <a:pt x="424" y="102"/>
                  <a:pt x="424" y="102"/>
                </a:cubicBezTo>
                <a:cubicBezTo>
                  <a:pt x="429" y="101"/>
                  <a:pt x="420" y="100"/>
                  <a:pt x="420" y="100"/>
                </a:cubicBezTo>
                <a:cubicBezTo>
                  <a:pt x="420" y="99"/>
                  <a:pt x="420" y="99"/>
                  <a:pt x="420" y="99"/>
                </a:cubicBezTo>
                <a:cubicBezTo>
                  <a:pt x="418" y="99"/>
                  <a:pt x="417" y="101"/>
                  <a:pt x="414" y="100"/>
                </a:cubicBezTo>
                <a:cubicBezTo>
                  <a:pt x="413" y="100"/>
                  <a:pt x="413" y="99"/>
                  <a:pt x="411" y="99"/>
                </a:cubicBezTo>
                <a:close/>
                <a:moveTo>
                  <a:pt x="442" y="96"/>
                </a:moveTo>
                <a:cubicBezTo>
                  <a:pt x="441" y="97"/>
                  <a:pt x="442" y="98"/>
                  <a:pt x="442" y="98"/>
                </a:cubicBezTo>
                <a:cubicBezTo>
                  <a:pt x="442" y="99"/>
                  <a:pt x="440" y="100"/>
                  <a:pt x="439" y="100"/>
                </a:cubicBezTo>
                <a:cubicBezTo>
                  <a:pt x="439" y="101"/>
                  <a:pt x="439" y="103"/>
                  <a:pt x="439" y="102"/>
                </a:cubicBezTo>
                <a:cubicBezTo>
                  <a:pt x="440" y="105"/>
                  <a:pt x="440" y="106"/>
                  <a:pt x="440" y="108"/>
                </a:cubicBezTo>
                <a:cubicBezTo>
                  <a:pt x="441" y="107"/>
                  <a:pt x="441" y="106"/>
                  <a:pt x="441" y="106"/>
                </a:cubicBezTo>
                <a:cubicBezTo>
                  <a:pt x="442" y="106"/>
                  <a:pt x="444" y="106"/>
                  <a:pt x="445" y="106"/>
                </a:cubicBezTo>
                <a:cubicBezTo>
                  <a:pt x="446" y="104"/>
                  <a:pt x="447" y="102"/>
                  <a:pt x="447" y="99"/>
                </a:cubicBezTo>
                <a:cubicBezTo>
                  <a:pt x="445" y="98"/>
                  <a:pt x="444" y="97"/>
                  <a:pt x="442" y="96"/>
                </a:cubicBezTo>
                <a:close/>
                <a:moveTo>
                  <a:pt x="510" y="94"/>
                </a:moveTo>
                <a:cubicBezTo>
                  <a:pt x="511" y="93"/>
                  <a:pt x="510" y="96"/>
                  <a:pt x="510" y="96"/>
                </a:cubicBezTo>
                <a:cubicBezTo>
                  <a:pt x="508" y="96"/>
                  <a:pt x="509" y="94"/>
                  <a:pt x="510" y="94"/>
                </a:cubicBezTo>
                <a:close/>
                <a:moveTo>
                  <a:pt x="377" y="79"/>
                </a:moveTo>
                <a:cubicBezTo>
                  <a:pt x="373" y="88"/>
                  <a:pt x="374" y="92"/>
                  <a:pt x="384" y="92"/>
                </a:cubicBezTo>
                <a:cubicBezTo>
                  <a:pt x="384" y="92"/>
                  <a:pt x="385" y="94"/>
                  <a:pt x="385" y="94"/>
                </a:cubicBezTo>
                <a:cubicBezTo>
                  <a:pt x="384" y="94"/>
                  <a:pt x="383" y="93"/>
                  <a:pt x="382" y="94"/>
                </a:cubicBezTo>
                <a:cubicBezTo>
                  <a:pt x="382" y="94"/>
                  <a:pt x="381" y="96"/>
                  <a:pt x="382" y="96"/>
                </a:cubicBezTo>
                <a:cubicBezTo>
                  <a:pt x="383" y="96"/>
                  <a:pt x="383" y="98"/>
                  <a:pt x="384" y="98"/>
                </a:cubicBezTo>
                <a:cubicBezTo>
                  <a:pt x="385" y="99"/>
                  <a:pt x="388" y="100"/>
                  <a:pt x="388" y="101"/>
                </a:cubicBezTo>
                <a:cubicBezTo>
                  <a:pt x="388" y="102"/>
                  <a:pt x="387" y="102"/>
                  <a:pt x="388" y="103"/>
                </a:cubicBezTo>
                <a:cubicBezTo>
                  <a:pt x="389" y="103"/>
                  <a:pt x="390" y="103"/>
                  <a:pt x="391" y="103"/>
                </a:cubicBezTo>
                <a:cubicBezTo>
                  <a:pt x="392" y="103"/>
                  <a:pt x="392" y="101"/>
                  <a:pt x="393" y="100"/>
                </a:cubicBezTo>
                <a:cubicBezTo>
                  <a:pt x="395" y="99"/>
                  <a:pt x="402" y="99"/>
                  <a:pt x="404" y="99"/>
                </a:cubicBezTo>
                <a:cubicBezTo>
                  <a:pt x="404" y="98"/>
                  <a:pt x="404" y="97"/>
                  <a:pt x="404" y="96"/>
                </a:cubicBezTo>
                <a:cubicBezTo>
                  <a:pt x="404" y="96"/>
                  <a:pt x="402" y="95"/>
                  <a:pt x="402" y="94"/>
                </a:cubicBezTo>
                <a:cubicBezTo>
                  <a:pt x="402" y="93"/>
                  <a:pt x="403" y="93"/>
                  <a:pt x="403" y="93"/>
                </a:cubicBezTo>
                <a:cubicBezTo>
                  <a:pt x="403" y="93"/>
                  <a:pt x="401" y="90"/>
                  <a:pt x="401" y="90"/>
                </a:cubicBezTo>
                <a:cubicBezTo>
                  <a:pt x="401" y="90"/>
                  <a:pt x="400" y="90"/>
                  <a:pt x="399" y="90"/>
                </a:cubicBezTo>
                <a:cubicBezTo>
                  <a:pt x="399" y="90"/>
                  <a:pt x="397" y="88"/>
                  <a:pt x="397" y="88"/>
                </a:cubicBezTo>
                <a:cubicBezTo>
                  <a:pt x="396" y="87"/>
                  <a:pt x="395" y="89"/>
                  <a:pt x="394" y="88"/>
                </a:cubicBezTo>
                <a:cubicBezTo>
                  <a:pt x="394" y="88"/>
                  <a:pt x="394" y="88"/>
                  <a:pt x="394" y="88"/>
                </a:cubicBezTo>
                <a:cubicBezTo>
                  <a:pt x="394" y="87"/>
                  <a:pt x="392" y="86"/>
                  <a:pt x="392" y="86"/>
                </a:cubicBezTo>
                <a:cubicBezTo>
                  <a:pt x="389" y="84"/>
                  <a:pt x="386" y="84"/>
                  <a:pt x="383" y="83"/>
                </a:cubicBezTo>
                <a:cubicBezTo>
                  <a:pt x="381" y="82"/>
                  <a:pt x="379" y="80"/>
                  <a:pt x="377" y="79"/>
                </a:cubicBezTo>
                <a:close/>
                <a:moveTo>
                  <a:pt x="363" y="57"/>
                </a:moveTo>
                <a:cubicBezTo>
                  <a:pt x="364" y="60"/>
                  <a:pt x="364" y="63"/>
                  <a:pt x="365" y="65"/>
                </a:cubicBezTo>
                <a:cubicBezTo>
                  <a:pt x="365" y="65"/>
                  <a:pt x="367" y="64"/>
                  <a:pt x="367" y="64"/>
                </a:cubicBezTo>
                <a:cubicBezTo>
                  <a:pt x="368" y="65"/>
                  <a:pt x="368" y="67"/>
                  <a:pt x="369" y="68"/>
                </a:cubicBezTo>
                <a:cubicBezTo>
                  <a:pt x="369" y="68"/>
                  <a:pt x="370" y="67"/>
                  <a:pt x="371" y="68"/>
                </a:cubicBezTo>
                <a:cubicBezTo>
                  <a:pt x="370" y="66"/>
                  <a:pt x="371" y="65"/>
                  <a:pt x="370" y="63"/>
                </a:cubicBezTo>
                <a:cubicBezTo>
                  <a:pt x="370" y="62"/>
                  <a:pt x="367" y="61"/>
                  <a:pt x="367" y="60"/>
                </a:cubicBezTo>
                <a:cubicBezTo>
                  <a:pt x="366" y="59"/>
                  <a:pt x="367" y="58"/>
                  <a:pt x="367" y="57"/>
                </a:cubicBezTo>
                <a:cubicBezTo>
                  <a:pt x="366" y="57"/>
                  <a:pt x="364" y="58"/>
                  <a:pt x="363" y="57"/>
                </a:cubicBezTo>
                <a:close/>
                <a:moveTo>
                  <a:pt x="578" y="40"/>
                </a:moveTo>
                <a:cubicBezTo>
                  <a:pt x="581" y="40"/>
                  <a:pt x="580" y="41"/>
                  <a:pt x="579" y="41"/>
                </a:cubicBezTo>
                <a:cubicBezTo>
                  <a:pt x="573" y="42"/>
                  <a:pt x="573" y="40"/>
                  <a:pt x="578" y="40"/>
                </a:cubicBezTo>
                <a:close/>
                <a:moveTo>
                  <a:pt x="374" y="160"/>
                </a:moveTo>
                <a:cubicBezTo>
                  <a:pt x="374" y="160"/>
                  <a:pt x="372" y="163"/>
                  <a:pt x="371" y="164"/>
                </a:cubicBezTo>
                <a:cubicBezTo>
                  <a:pt x="369" y="164"/>
                  <a:pt x="358" y="165"/>
                  <a:pt x="365" y="167"/>
                </a:cubicBezTo>
                <a:cubicBezTo>
                  <a:pt x="365" y="167"/>
                  <a:pt x="364" y="169"/>
                  <a:pt x="364" y="169"/>
                </a:cubicBezTo>
                <a:cubicBezTo>
                  <a:pt x="362" y="168"/>
                  <a:pt x="360" y="169"/>
                  <a:pt x="357" y="168"/>
                </a:cubicBezTo>
                <a:cubicBezTo>
                  <a:pt x="357" y="167"/>
                  <a:pt x="356" y="165"/>
                  <a:pt x="355" y="165"/>
                </a:cubicBezTo>
                <a:cubicBezTo>
                  <a:pt x="353" y="166"/>
                  <a:pt x="347" y="171"/>
                  <a:pt x="348" y="174"/>
                </a:cubicBezTo>
                <a:cubicBezTo>
                  <a:pt x="348" y="175"/>
                  <a:pt x="349" y="175"/>
                  <a:pt x="349" y="176"/>
                </a:cubicBezTo>
                <a:cubicBezTo>
                  <a:pt x="351" y="176"/>
                  <a:pt x="353" y="177"/>
                  <a:pt x="353" y="177"/>
                </a:cubicBezTo>
                <a:cubicBezTo>
                  <a:pt x="355" y="177"/>
                  <a:pt x="357" y="177"/>
                  <a:pt x="357" y="178"/>
                </a:cubicBezTo>
                <a:cubicBezTo>
                  <a:pt x="358" y="179"/>
                  <a:pt x="358" y="181"/>
                  <a:pt x="357" y="181"/>
                </a:cubicBezTo>
                <a:cubicBezTo>
                  <a:pt x="357" y="182"/>
                  <a:pt x="358" y="184"/>
                  <a:pt x="357" y="185"/>
                </a:cubicBezTo>
                <a:cubicBezTo>
                  <a:pt x="356" y="187"/>
                  <a:pt x="347" y="186"/>
                  <a:pt x="344" y="186"/>
                </a:cubicBezTo>
                <a:cubicBezTo>
                  <a:pt x="342" y="184"/>
                  <a:pt x="341" y="182"/>
                  <a:pt x="340" y="180"/>
                </a:cubicBezTo>
                <a:cubicBezTo>
                  <a:pt x="340" y="180"/>
                  <a:pt x="339" y="181"/>
                  <a:pt x="338" y="181"/>
                </a:cubicBezTo>
                <a:cubicBezTo>
                  <a:pt x="337" y="182"/>
                  <a:pt x="337" y="181"/>
                  <a:pt x="336" y="181"/>
                </a:cubicBezTo>
                <a:cubicBezTo>
                  <a:pt x="336" y="182"/>
                  <a:pt x="335" y="182"/>
                  <a:pt x="335" y="184"/>
                </a:cubicBezTo>
                <a:cubicBezTo>
                  <a:pt x="335" y="184"/>
                  <a:pt x="336" y="186"/>
                  <a:pt x="336" y="186"/>
                </a:cubicBezTo>
                <a:cubicBezTo>
                  <a:pt x="336" y="187"/>
                  <a:pt x="335" y="188"/>
                  <a:pt x="336" y="188"/>
                </a:cubicBezTo>
                <a:cubicBezTo>
                  <a:pt x="336" y="189"/>
                  <a:pt x="338" y="190"/>
                  <a:pt x="338" y="191"/>
                </a:cubicBezTo>
                <a:cubicBezTo>
                  <a:pt x="339" y="191"/>
                  <a:pt x="341" y="194"/>
                  <a:pt x="341" y="194"/>
                </a:cubicBezTo>
                <a:cubicBezTo>
                  <a:pt x="342" y="194"/>
                  <a:pt x="343" y="194"/>
                  <a:pt x="344" y="194"/>
                </a:cubicBezTo>
                <a:cubicBezTo>
                  <a:pt x="344" y="194"/>
                  <a:pt x="346" y="196"/>
                  <a:pt x="346" y="196"/>
                </a:cubicBezTo>
                <a:cubicBezTo>
                  <a:pt x="348" y="196"/>
                  <a:pt x="348" y="196"/>
                  <a:pt x="348" y="196"/>
                </a:cubicBezTo>
                <a:cubicBezTo>
                  <a:pt x="348" y="196"/>
                  <a:pt x="348" y="194"/>
                  <a:pt x="348" y="193"/>
                </a:cubicBezTo>
                <a:cubicBezTo>
                  <a:pt x="349" y="193"/>
                  <a:pt x="350" y="193"/>
                  <a:pt x="352" y="193"/>
                </a:cubicBezTo>
                <a:cubicBezTo>
                  <a:pt x="352" y="194"/>
                  <a:pt x="353" y="195"/>
                  <a:pt x="354" y="196"/>
                </a:cubicBezTo>
                <a:cubicBezTo>
                  <a:pt x="355" y="197"/>
                  <a:pt x="356" y="199"/>
                  <a:pt x="357" y="199"/>
                </a:cubicBezTo>
                <a:cubicBezTo>
                  <a:pt x="357" y="200"/>
                  <a:pt x="359" y="199"/>
                  <a:pt x="359" y="199"/>
                </a:cubicBezTo>
                <a:cubicBezTo>
                  <a:pt x="360" y="200"/>
                  <a:pt x="364" y="203"/>
                  <a:pt x="364" y="203"/>
                </a:cubicBezTo>
                <a:cubicBezTo>
                  <a:pt x="364" y="204"/>
                  <a:pt x="364" y="205"/>
                  <a:pt x="364" y="206"/>
                </a:cubicBezTo>
                <a:cubicBezTo>
                  <a:pt x="364" y="207"/>
                  <a:pt x="366" y="209"/>
                  <a:pt x="367" y="211"/>
                </a:cubicBezTo>
                <a:cubicBezTo>
                  <a:pt x="369" y="211"/>
                  <a:pt x="370" y="212"/>
                  <a:pt x="372" y="211"/>
                </a:cubicBezTo>
                <a:cubicBezTo>
                  <a:pt x="374" y="210"/>
                  <a:pt x="375" y="206"/>
                  <a:pt x="377" y="205"/>
                </a:cubicBezTo>
                <a:cubicBezTo>
                  <a:pt x="378" y="204"/>
                  <a:pt x="380" y="205"/>
                  <a:pt x="381" y="205"/>
                </a:cubicBezTo>
                <a:cubicBezTo>
                  <a:pt x="381" y="205"/>
                  <a:pt x="382" y="203"/>
                  <a:pt x="383" y="203"/>
                </a:cubicBezTo>
                <a:cubicBezTo>
                  <a:pt x="386" y="201"/>
                  <a:pt x="388" y="202"/>
                  <a:pt x="391" y="201"/>
                </a:cubicBezTo>
                <a:cubicBezTo>
                  <a:pt x="391" y="198"/>
                  <a:pt x="391" y="199"/>
                  <a:pt x="391" y="197"/>
                </a:cubicBezTo>
                <a:cubicBezTo>
                  <a:pt x="393" y="197"/>
                  <a:pt x="393" y="197"/>
                  <a:pt x="393" y="197"/>
                </a:cubicBezTo>
                <a:cubicBezTo>
                  <a:pt x="393" y="196"/>
                  <a:pt x="394" y="192"/>
                  <a:pt x="393" y="191"/>
                </a:cubicBezTo>
                <a:cubicBezTo>
                  <a:pt x="392" y="189"/>
                  <a:pt x="392" y="189"/>
                  <a:pt x="392" y="189"/>
                </a:cubicBezTo>
                <a:cubicBezTo>
                  <a:pt x="392" y="187"/>
                  <a:pt x="393" y="187"/>
                  <a:pt x="393" y="185"/>
                </a:cubicBezTo>
                <a:cubicBezTo>
                  <a:pt x="393" y="185"/>
                  <a:pt x="390" y="183"/>
                  <a:pt x="390" y="183"/>
                </a:cubicBezTo>
                <a:cubicBezTo>
                  <a:pt x="387" y="186"/>
                  <a:pt x="388" y="185"/>
                  <a:pt x="385" y="187"/>
                </a:cubicBezTo>
                <a:cubicBezTo>
                  <a:pt x="384" y="184"/>
                  <a:pt x="384" y="183"/>
                  <a:pt x="383" y="179"/>
                </a:cubicBezTo>
                <a:cubicBezTo>
                  <a:pt x="377" y="182"/>
                  <a:pt x="379" y="182"/>
                  <a:pt x="377" y="177"/>
                </a:cubicBezTo>
                <a:cubicBezTo>
                  <a:pt x="375" y="177"/>
                  <a:pt x="375" y="177"/>
                  <a:pt x="375" y="177"/>
                </a:cubicBezTo>
                <a:cubicBezTo>
                  <a:pt x="376" y="175"/>
                  <a:pt x="376" y="175"/>
                  <a:pt x="376" y="175"/>
                </a:cubicBezTo>
                <a:cubicBezTo>
                  <a:pt x="379" y="174"/>
                  <a:pt x="381" y="175"/>
                  <a:pt x="384" y="174"/>
                </a:cubicBezTo>
                <a:cubicBezTo>
                  <a:pt x="384" y="174"/>
                  <a:pt x="385" y="171"/>
                  <a:pt x="383" y="171"/>
                </a:cubicBezTo>
                <a:cubicBezTo>
                  <a:pt x="384" y="171"/>
                  <a:pt x="384" y="169"/>
                  <a:pt x="384" y="168"/>
                </a:cubicBezTo>
                <a:cubicBezTo>
                  <a:pt x="384" y="168"/>
                  <a:pt x="382" y="168"/>
                  <a:pt x="382" y="168"/>
                </a:cubicBezTo>
                <a:cubicBezTo>
                  <a:pt x="382" y="168"/>
                  <a:pt x="381" y="166"/>
                  <a:pt x="381" y="166"/>
                </a:cubicBezTo>
                <a:cubicBezTo>
                  <a:pt x="379" y="165"/>
                  <a:pt x="375" y="165"/>
                  <a:pt x="373" y="166"/>
                </a:cubicBezTo>
                <a:cubicBezTo>
                  <a:pt x="372" y="168"/>
                  <a:pt x="372" y="168"/>
                  <a:pt x="372" y="168"/>
                </a:cubicBezTo>
                <a:cubicBezTo>
                  <a:pt x="371" y="168"/>
                  <a:pt x="369" y="167"/>
                  <a:pt x="368" y="168"/>
                </a:cubicBezTo>
                <a:cubicBezTo>
                  <a:pt x="369" y="167"/>
                  <a:pt x="370" y="167"/>
                  <a:pt x="371" y="166"/>
                </a:cubicBezTo>
                <a:cubicBezTo>
                  <a:pt x="372" y="166"/>
                  <a:pt x="374" y="164"/>
                  <a:pt x="374" y="164"/>
                </a:cubicBezTo>
                <a:cubicBezTo>
                  <a:pt x="375" y="164"/>
                  <a:pt x="376" y="164"/>
                  <a:pt x="377" y="164"/>
                </a:cubicBezTo>
                <a:cubicBezTo>
                  <a:pt x="379" y="162"/>
                  <a:pt x="378" y="158"/>
                  <a:pt x="374" y="160"/>
                </a:cubicBezTo>
                <a:close/>
                <a:moveTo>
                  <a:pt x="294" y="131"/>
                </a:moveTo>
                <a:cubicBezTo>
                  <a:pt x="294" y="131"/>
                  <a:pt x="294" y="133"/>
                  <a:pt x="294" y="133"/>
                </a:cubicBezTo>
                <a:cubicBezTo>
                  <a:pt x="291" y="134"/>
                  <a:pt x="293" y="131"/>
                  <a:pt x="294" y="131"/>
                </a:cubicBezTo>
                <a:close/>
                <a:moveTo>
                  <a:pt x="188" y="120"/>
                </a:moveTo>
                <a:cubicBezTo>
                  <a:pt x="189" y="121"/>
                  <a:pt x="187" y="122"/>
                  <a:pt x="187" y="122"/>
                </a:cubicBezTo>
                <a:cubicBezTo>
                  <a:pt x="187" y="121"/>
                  <a:pt x="187" y="120"/>
                  <a:pt x="188" y="120"/>
                </a:cubicBezTo>
                <a:close/>
                <a:moveTo>
                  <a:pt x="335" y="119"/>
                </a:moveTo>
                <a:cubicBezTo>
                  <a:pt x="333" y="119"/>
                  <a:pt x="327" y="121"/>
                  <a:pt x="326" y="122"/>
                </a:cubicBezTo>
                <a:cubicBezTo>
                  <a:pt x="325" y="122"/>
                  <a:pt x="324" y="123"/>
                  <a:pt x="324" y="124"/>
                </a:cubicBezTo>
                <a:cubicBezTo>
                  <a:pt x="322" y="122"/>
                  <a:pt x="321" y="125"/>
                  <a:pt x="324" y="127"/>
                </a:cubicBezTo>
                <a:cubicBezTo>
                  <a:pt x="324" y="128"/>
                  <a:pt x="324" y="128"/>
                  <a:pt x="324" y="128"/>
                </a:cubicBezTo>
                <a:cubicBezTo>
                  <a:pt x="328" y="127"/>
                  <a:pt x="330" y="127"/>
                  <a:pt x="334" y="126"/>
                </a:cubicBezTo>
                <a:cubicBezTo>
                  <a:pt x="334" y="126"/>
                  <a:pt x="332" y="128"/>
                  <a:pt x="332" y="128"/>
                </a:cubicBezTo>
                <a:cubicBezTo>
                  <a:pt x="329" y="128"/>
                  <a:pt x="328" y="129"/>
                  <a:pt x="326" y="130"/>
                </a:cubicBezTo>
                <a:cubicBezTo>
                  <a:pt x="325" y="132"/>
                  <a:pt x="325" y="132"/>
                  <a:pt x="325" y="132"/>
                </a:cubicBezTo>
                <a:cubicBezTo>
                  <a:pt x="329" y="131"/>
                  <a:pt x="337" y="131"/>
                  <a:pt x="334" y="132"/>
                </a:cubicBezTo>
                <a:cubicBezTo>
                  <a:pt x="333" y="132"/>
                  <a:pt x="331" y="132"/>
                  <a:pt x="331" y="133"/>
                </a:cubicBezTo>
                <a:cubicBezTo>
                  <a:pt x="330" y="133"/>
                  <a:pt x="330" y="135"/>
                  <a:pt x="330" y="136"/>
                </a:cubicBezTo>
                <a:cubicBezTo>
                  <a:pt x="329" y="136"/>
                  <a:pt x="327" y="136"/>
                  <a:pt x="327" y="136"/>
                </a:cubicBezTo>
                <a:cubicBezTo>
                  <a:pt x="327" y="137"/>
                  <a:pt x="327" y="138"/>
                  <a:pt x="327" y="138"/>
                </a:cubicBezTo>
                <a:cubicBezTo>
                  <a:pt x="329" y="138"/>
                  <a:pt x="332" y="139"/>
                  <a:pt x="335" y="138"/>
                </a:cubicBezTo>
                <a:cubicBezTo>
                  <a:pt x="336" y="137"/>
                  <a:pt x="336" y="135"/>
                  <a:pt x="338" y="134"/>
                </a:cubicBezTo>
                <a:cubicBezTo>
                  <a:pt x="339" y="133"/>
                  <a:pt x="341" y="133"/>
                  <a:pt x="342" y="132"/>
                </a:cubicBezTo>
                <a:cubicBezTo>
                  <a:pt x="342" y="132"/>
                  <a:pt x="342" y="130"/>
                  <a:pt x="341" y="131"/>
                </a:cubicBezTo>
                <a:cubicBezTo>
                  <a:pt x="341" y="130"/>
                  <a:pt x="341" y="130"/>
                  <a:pt x="341" y="130"/>
                </a:cubicBezTo>
                <a:cubicBezTo>
                  <a:pt x="342" y="128"/>
                  <a:pt x="342" y="128"/>
                  <a:pt x="342" y="128"/>
                </a:cubicBezTo>
                <a:cubicBezTo>
                  <a:pt x="341" y="127"/>
                  <a:pt x="344" y="125"/>
                  <a:pt x="340" y="125"/>
                </a:cubicBezTo>
                <a:cubicBezTo>
                  <a:pt x="338" y="125"/>
                  <a:pt x="337" y="125"/>
                  <a:pt x="336" y="126"/>
                </a:cubicBezTo>
                <a:cubicBezTo>
                  <a:pt x="337" y="124"/>
                  <a:pt x="341" y="120"/>
                  <a:pt x="335" y="119"/>
                </a:cubicBezTo>
                <a:close/>
                <a:moveTo>
                  <a:pt x="325" y="114"/>
                </a:moveTo>
                <a:cubicBezTo>
                  <a:pt x="324" y="116"/>
                  <a:pt x="323" y="118"/>
                  <a:pt x="322" y="120"/>
                </a:cubicBezTo>
                <a:cubicBezTo>
                  <a:pt x="330" y="118"/>
                  <a:pt x="337" y="117"/>
                  <a:pt x="325" y="114"/>
                </a:cubicBezTo>
                <a:close/>
                <a:moveTo>
                  <a:pt x="361" y="112"/>
                </a:moveTo>
                <a:cubicBezTo>
                  <a:pt x="361" y="114"/>
                  <a:pt x="361" y="114"/>
                  <a:pt x="361" y="114"/>
                </a:cubicBezTo>
                <a:cubicBezTo>
                  <a:pt x="359" y="114"/>
                  <a:pt x="358" y="114"/>
                  <a:pt x="357" y="114"/>
                </a:cubicBezTo>
                <a:cubicBezTo>
                  <a:pt x="358" y="115"/>
                  <a:pt x="356" y="116"/>
                  <a:pt x="356" y="116"/>
                </a:cubicBezTo>
                <a:cubicBezTo>
                  <a:pt x="357" y="118"/>
                  <a:pt x="357" y="118"/>
                  <a:pt x="357" y="118"/>
                </a:cubicBezTo>
                <a:cubicBezTo>
                  <a:pt x="359" y="118"/>
                  <a:pt x="361" y="119"/>
                  <a:pt x="363" y="119"/>
                </a:cubicBezTo>
                <a:cubicBezTo>
                  <a:pt x="362" y="119"/>
                  <a:pt x="362" y="119"/>
                  <a:pt x="362" y="120"/>
                </a:cubicBezTo>
                <a:cubicBezTo>
                  <a:pt x="360" y="120"/>
                  <a:pt x="357" y="121"/>
                  <a:pt x="355" y="121"/>
                </a:cubicBezTo>
                <a:cubicBezTo>
                  <a:pt x="356" y="122"/>
                  <a:pt x="355" y="122"/>
                  <a:pt x="355" y="123"/>
                </a:cubicBezTo>
                <a:cubicBezTo>
                  <a:pt x="356" y="124"/>
                  <a:pt x="359" y="125"/>
                  <a:pt x="360" y="126"/>
                </a:cubicBezTo>
                <a:cubicBezTo>
                  <a:pt x="360" y="127"/>
                  <a:pt x="360" y="129"/>
                  <a:pt x="359" y="131"/>
                </a:cubicBezTo>
                <a:cubicBezTo>
                  <a:pt x="363" y="131"/>
                  <a:pt x="361" y="134"/>
                  <a:pt x="360" y="134"/>
                </a:cubicBezTo>
                <a:cubicBezTo>
                  <a:pt x="360" y="134"/>
                  <a:pt x="358" y="133"/>
                  <a:pt x="357" y="134"/>
                </a:cubicBezTo>
                <a:cubicBezTo>
                  <a:pt x="357" y="133"/>
                  <a:pt x="358" y="131"/>
                  <a:pt x="357" y="130"/>
                </a:cubicBezTo>
                <a:cubicBezTo>
                  <a:pt x="357" y="130"/>
                  <a:pt x="352" y="126"/>
                  <a:pt x="351" y="125"/>
                </a:cubicBezTo>
                <a:cubicBezTo>
                  <a:pt x="350" y="124"/>
                  <a:pt x="350" y="120"/>
                  <a:pt x="350" y="120"/>
                </a:cubicBezTo>
                <a:cubicBezTo>
                  <a:pt x="345" y="116"/>
                  <a:pt x="345" y="121"/>
                  <a:pt x="344" y="121"/>
                </a:cubicBezTo>
                <a:cubicBezTo>
                  <a:pt x="344" y="120"/>
                  <a:pt x="344" y="123"/>
                  <a:pt x="344" y="123"/>
                </a:cubicBezTo>
                <a:cubicBezTo>
                  <a:pt x="344" y="123"/>
                  <a:pt x="345" y="123"/>
                  <a:pt x="346" y="123"/>
                </a:cubicBezTo>
                <a:cubicBezTo>
                  <a:pt x="344" y="127"/>
                  <a:pt x="345" y="127"/>
                  <a:pt x="346" y="130"/>
                </a:cubicBezTo>
                <a:cubicBezTo>
                  <a:pt x="346" y="130"/>
                  <a:pt x="348" y="130"/>
                  <a:pt x="348" y="130"/>
                </a:cubicBezTo>
                <a:cubicBezTo>
                  <a:pt x="348" y="130"/>
                  <a:pt x="349" y="135"/>
                  <a:pt x="350" y="135"/>
                </a:cubicBezTo>
                <a:cubicBezTo>
                  <a:pt x="349" y="135"/>
                  <a:pt x="348" y="136"/>
                  <a:pt x="347" y="136"/>
                </a:cubicBezTo>
                <a:cubicBezTo>
                  <a:pt x="347" y="136"/>
                  <a:pt x="346" y="134"/>
                  <a:pt x="346" y="134"/>
                </a:cubicBezTo>
                <a:cubicBezTo>
                  <a:pt x="343" y="135"/>
                  <a:pt x="343" y="135"/>
                  <a:pt x="340" y="136"/>
                </a:cubicBezTo>
                <a:cubicBezTo>
                  <a:pt x="341" y="136"/>
                  <a:pt x="339" y="136"/>
                  <a:pt x="342" y="137"/>
                </a:cubicBezTo>
                <a:cubicBezTo>
                  <a:pt x="341" y="139"/>
                  <a:pt x="341" y="139"/>
                  <a:pt x="341" y="139"/>
                </a:cubicBezTo>
                <a:cubicBezTo>
                  <a:pt x="340" y="139"/>
                  <a:pt x="339" y="139"/>
                  <a:pt x="338" y="139"/>
                </a:cubicBezTo>
                <a:cubicBezTo>
                  <a:pt x="338" y="139"/>
                  <a:pt x="339" y="142"/>
                  <a:pt x="338" y="142"/>
                </a:cubicBezTo>
                <a:cubicBezTo>
                  <a:pt x="340" y="143"/>
                  <a:pt x="339" y="144"/>
                  <a:pt x="342" y="144"/>
                </a:cubicBezTo>
                <a:cubicBezTo>
                  <a:pt x="344" y="143"/>
                  <a:pt x="346" y="140"/>
                  <a:pt x="348" y="140"/>
                </a:cubicBezTo>
                <a:cubicBezTo>
                  <a:pt x="351" y="138"/>
                  <a:pt x="353" y="140"/>
                  <a:pt x="357" y="140"/>
                </a:cubicBezTo>
                <a:cubicBezTo>
                  <a:pt x="358" y="139"/>
                  <a:pt x="360" y="138"/>
                  <a:pt x="361" y="138"/>
                </a:cubicBezTo>
                <a:cubicBezTo>
                  <a:pt x="361" y="138"/>
                  <a:pt x="362" y="139"/>
                  <a:pt x="361" y="140"/>
                </a:cubicBezTo>
                <a:cubicBezTo>
                  <a:pt x="360" y="140"/>
                  <a:pt x="360" y="140"/>
                  <a:pt x="360" y="140"/>
                </a:cubicBezTo>
                <a:cubicBezTo>
                  <a:pt x="360" y="140"/>
                  <a:pt x="359" y="141"/>
                  <a:pt x="359" y="142"/>
                </a:cubicBezTo>
                <a:cubicBezTo>
                  <a:pt x="358" y="142"/>
                  <a:pt x="356" y="143"/>
                  <a:pt x="355" y="144"/>
                </a:cubicBezTo>
                <a:cubicBezTo>
                  <a:pt x="355" y="151"/>
                  <a:pt x="357" y="149"/>
                  <a:pt x="364" y="149"/>
                </a:cubicBezTo>
                <a:cubicBezTo>
                  <a:pt x="365" y="149"/>
                  <a:pt x="368" y="150"/>
                  <a:pt x="368" y="150"/>
                </a:cubicBezTo>
                <a:cubicBezTo>
                  <a:pt x="373" y="149"/>
                  <a:pt x="376" y="149"/>
                  <a:pt x="383" y="149"/>
                </a:cubicBezTo>
                <a:cubicBezTo>
                  <a:pt x="383" y="148"/>
                  <a:pt x="383" y="148"/>
                  <a:pt x="384" y="148"/>
                </a:cubicBezTo>
                <a:cubicBezTo>
                  <a:pt x="384" y="147"/>
                  <a:pt x="383" y="146"/>
                  <a:pt x="383" y="146"/>
                </a:cubicBezTo>
                <a:cubicBezTo>
                  <a:pt x="383" y="145"/>
                  <a:pt x="383" y="145"/>
                  <a:pt x="383" y="145"/>
                </a:cubicBezTo>
                <a:cubicBezTo>
                  <a:pt x="383" y="145"/>
                  <a:pt x="384" y="145"/>
                  <a:pt x="385" y="145"/>
                </a:cubicBezTo>
                <a:cubicBezTo>
                  <a:pt x="384" y="144"/>
                  <a:pt x="386" y="144"/>
                  <a:pt x="385" y="142"/>
                </a:cubicBezTo>
                <a:cubicBezTo>
                  <a:pt x="384" y="142"/>
                  <a:pt x="382" y="142"/>
                  <a:pt x="382" y="141"/>
                </a:cubicBezTo>
                <a:cubicBezTo>
                  <a:pt x="382" y="140"/>
                  <a:pt x="382" y="139"/>
                  <a:pt x="382" y="138"/>
                </a:cubicBezTo>
                <a:cubicBezTo>
                  <a:pt x="384" y="139"/>
                  <a:pt x="383" y="135"/>
                  <a:pt x="383" y="135"/>
                </a:cubicBezTo>
                <a:cubicBezTo>
                  <a:pt x="381" y="135"/>
                  <a:pt x="380" y="135"/>
                  <a:pt x="379" y="134"/>
                </a:cubicBezTo>
                <a:cubicBezTo>
                  <a:pt x="380" y="133"/>
                  <a:pt x="381" y="131"/>
                  <a:pt x="380" y="129"/>
                </a:cubicBezTo>
                <a:cubicBezTo>
                  <a:pt x="379" y="127"/>
                  <a:pt x="379" y="127"/>
                  <a:pt x="379" y="127"/>
                </a:cubicBezTo>
                <a:cubicBezTo>
                  <a:pt x="379" y="126"/>
                  <a:pt x="378" y="121"/>
                  <a:pt x="379" y="121"/>
                </a:cubicBezTo>
                <a:cubicBezTo>
                  <a:pt x="377" y="120"/>
                  <a:pt x="374" y="119"/>
                  <a:pt x="373" y="118"/>
                </a:cubicBezTo>
                <a:cubicBezTo>
                  <a:pt x="373" y="118"/>
                  <a:pt x="375" y="118"/>
                  <a:pt x="374" y="117"/>
                </a:cubicBezTo>
                <a:cubicBezTo>
                  <a:pt x="373" y="115"/>
                  <a:pt x="370" y="115"/>
                  <a:pt x="369" y="114"/>
                </a:cubicBezTo>
                <a:cubicBezTo>
                  <a:pt x="368" y="115"/>
                  <a:pt x="368" y="117"/>
                  <a:pt x="367" y="118"/>
                </a:cubicBezTo>
                <a:cubicBezTo>
                  <a:pt x="369" y="118"/>
                  <a:pt x="368" y="119"/>
                  <a:pt x="369" y="120"/>
                </a:cubicBezTo>
                <a:cubicBezTo>
                  <a:pt x="370" y="121"/>
                  <a:pt x="366" y="121"/>
                  <a:pt x="364" y="121"/>
                </a:cubicBezTo>
                <a:cubicBezTo>
                  <a:pt x="364" y="120"/>
                  <a:pt x="364" y="119"/>
                  <a:pt x="363" y="119"/>
                </a:cubicBezTo>
                <a:cubicBezTo>
                  <a:pt x="364" y="120"/>
                  <a:pt x="365" y="118"/>
                  <a:pt x="365" y="118"/>
                </a:cubicBezTo>
                <a:cubicBezTo>
                  <a:pt x="364" y="116"/>
                  <a:pt x="362" y="114"/>
                  <a:pt x="361" y="112"/>
                </a:cubicBezTo>
                <a:close/>
                <a:moveTo>
                  <a:pt x="346" y="97"/>
                </a:moveTo>
                <a:cubicBezTo>
                  <a:pt x="345" y="98"/>
                  <a:pt x="344" y="100"/>
                  <a:pt x="344" y="100"/>
                </a:cubicBezTo>
                <a:cubicBezTo>
                  <a:pt x="344" y="100"/>
                  <a:pt x="344" y="101"/>
                  <a:pt x="345" y="100"/>
                </a:cubicBezTo>
                <a:cubicBezTo>
                  <a:pt x="345" y="100"/>
                  <a:pt x="346" y="103"/>
                  <a:pt x="346" y="103"/>
                </a:cubicBezTo>
                <a:cubicBezTo>
                  <a:pt x="349" y="102"/>
                  <a:pt x="354" y="102"/>
                  <a:pt x="350" y="99"/>
                </a:cubicBezTo>
                <a:cubicBezTo>
                  <a:pt x="349" y="98"/>
                  <a:pt x="347" y="98"/>
                  <a:pt x="346" y="97"/>
                </a:cubicBezTo>
                <a:close/>
                <a:moveTo>
                  <a:pt x="316" y="97"/>
                </a:moveTo>
                <a:cubicBezTo>
                  <a:pt x="316" y="98"/>
                  <a:pt x="316" y="97"/>
                  <a:pt x="315" y="98"/>
                </a:cubicBezTo>
                <a:cubicBezTo>
                  <a:pt x="315" y="99"/>
                  <a:pt x="314" y="101"/>
                  <a:pt x="315" y="102"/>
                </a:cubicBezTo>
                <a:cubicBezTo>
                  <a:pt x="315" y="103"/>
                  <a:pt x="317" y="103"/>
                  <a:pt x="318" y="104"/>
                </a:cubicBezTo>
                <a:cubicBezTo>
                  <a:pt x="318" y="105"/>
                  <a:pt x="318" y="107"/>
                  <a:pt x="319" y="108"/>
                </a:cubicBezTo>
                <a:cubicBezTo>
                  <a:pt x="319" y="107"/>
                  <a:pt x="321" y="106"/>
                  <a:pt x="321" y="106"/>
                </a:cubicBezTo>
                <a:cubicBezTo>
                  <a:pt x="321" y="104"/>
                  <a:pt x="321" y="104"/>
                  <a:pt x="321" y="102"/>
                </a:cubicBezTo>
                <a:cubicBezTo>
                  <a:pt x="321" y="102"/>
                  <a:pt x="319" y="101"/>
                  <a:pt x="319" y="100"/>
                </a:cubicBezTo>
                <a:cubicBezTo>
                  <a:pt x="319" y="100"/>
                  <a:pt x="319" y="99"/>
                  <a:pt x="319" y="98"/>
                </a:cubicBezTo>
                <a:cubicBezTo>
                  <a:pt x="319" y="98"/>
                  <a:pt x="317" y="97"/>
                  <a:pt x="316" y="97"/>
                </a:cubicBezTo>
                <a:close/>
                <a:moveTo>
                  <a:pt x="273" y="80"/>
                </a:moveTo>
                <a:cubicBezTo>
                  <a:pt x="273" y="80"/>
                  <a:pt x="271" y="82"/>
                  <a:pt x="271" y="82"/>
                </a:cubicBezTo>
                <a:cubicBezTo>
                  <a:pt x="270" y="82"/>
                  <a:pt x="269" y="81"/>
                  <a:pt x="268" y="82"/>
                </a:cubicBezTo>
                <a:cubicBezTo>
                  <a:pt x="267" y="82"/>
                  <a:pt x="267" y="83"/>
                  <a:pt x="266" y="84"/>
                </a:cubicBezTo>
                <a:cubicBezTo>
                  <a:pt x="263" y="86"/>
                  <a:pt x="264" y="85"/>
                  <a:pt x="262" y="88"/>
                </a:cubicBezTo>
                <a:cubicBezTo>
                  <a:pt x="265" y="89"/>
                  <a:pt x="270" y="91"/>
                  <a:pt x="274" y="91"/>
                </a:cubicBezTo>
                <a:cubicBezTo>
                  <a:pt x="275" y="90"/>
                  <a:pt x="275" y="90"/>
                  <a:pt x="275" y="90"/>
                </a:cubicBezTo>
                <a:cubicBezTo>
                  <a:pt x="276" y="89"/>
                  <a:pt x="278" y="90"/>
                  <a:pt x="280" y="90"/>
                </a:cubicBezTo>
                <a:cubicBezTo>
                  <a:pt x="280" y="88"/>
                  <a:pt x="282" y="86"/>
                  <a:pt x="281" y="83"/>
                </a:cubicBezTo>
                <a:cubicBezTo>
                  <a:pt x="281" y="83"/>
                  <a:pt x="280" y="82"/>
                  <a:pt x="280" y="82"/>
                </a:cubicBezTo>
                <a:cubicBezTo>
                  <a:pt x="279" y="82"/>
                  <a:pt x="278" y="82"/>
                  <a:pt x="277" y="82"/>
                </a:cubicBezTo>
                <a:cubicBezTo>
                  <a:pt x="276" y="81"/>
                  <a:pt x="276" y="80"/>
                  <a:pt x="273" y="80"/>
                </a:cubicBezTo>
                <a:close/>
                <a:moveTo>
                  <a:pt x="310" y="73"/>
                </a:moveTo>
                <a:cubicBezTo>
                  <a:pt x="306" y="77"/>
                  <a:pt x="307" y="76"/>
                  <a:pt x="308" y="81"/>
                </a:cubicBezTo>
                <a:cubicBezTo>
                  <a:pt x="309" y="81"/>
                  <a:pt x="311" y="80"/>
                  <a:pt x="312" y="80"/>
                </a:cubicBezTo>
                <a:cubicBezTo>
                  <a:pt x="312" y="80"/>
                  <a:pt x="311" y="83"/>
                  <a:pt x="312" y="84"/>
                </a:cubicBezTo>
                <a:cubicBezTo>
                  <a:pt x="314" y="83"/>
                  <a:pt x="313" y="81"/>
                  <a:pt x="316" y="82"/>
                </a:cubicBezTo>
                <a:cubicBezTo>
                  <a:pt x="316" y="83"/>
                  <a:pt x="315" y="86"/>
                  <a:pt x="315" y="86"/>
                </a:cubicBezTo>
                <a:cubicBezTo>
                  <a:pt x="316" y="86"/>
                  <a:pt x="317" y="86"/>
                  <a:pt x="318" y="86"/>
                </a:cubicBezTo>
                <a:cubicBezTo>
                  <a:pt x="318" y="85"/>
                  <a:pt x="318" y="85"/>
                  <a:pt x="318" y="85"/>
                </a:cubicBezTo>
                <a:cubicBezTo>
                  <a:pt x="318" y="85"/>
                  <a:pt x="320" y="86"/>
                  <a:pt x="320" y="86"/>
                </a:cubicBezTo>
                <a:cubicBezTo>
                  <a:pt x="320" y="86"/>
                  <a:pt x="321" y="87"/>
                  <a:pt x="320" y="87"/>
                </a:cubicBezTo>
                <a:cubicBezTo>
                  <a:pt x="317" y="88"/>
                  <a:pt x="320" y="89"/>
                  <a:pt x="321" y="90"/>
                </a:cubicBezTo>
                <a:cubicBezTo>
                  <a:pt x="320" y="90"/>
                  <a:pt x="318" y="90"/>
                  <a:pt x="316" y="90"/>
                </a:cubicBezTo>
                <a:cubicBezTo>
                  <a:pt x="316" y="90"/>
                  <a:pt x="316" y="92"/>
                  <a:pt x="316" y="92"/>
                </a:cubicBezTo>
                <a:cubicBezTo>
                  <a:pt x="317" y="93"/>
                  <a:pt x="317" y="92"/>
                  <a:pt x="318" y="93"/>
                </a:cubicBezTo>
                <a:cubicBezTo>
                  <a:pt x="318" y="93"/>
                  <a:pt x="320" y="93"/>
                  <a:pt x="321" y="92"/>
                </a:cubicBezTo>
                <a:cubicBezTo>
                  <a:pt x="322" y="92"/>
                  <a:pt x="323" y="90"/>
                  <a:pt x="324" y="90"/>
                </a:cubicBezTo>
                <a:cubicBezTo>
                  <a:pt x="325" y="89"/>
                  <a:pt x="326" y="90"/>
                  <a:pt x="328" y="90"/>
                </a:cubicBezTo>
                <a:cubicBezTo>
                  <a:pt x="329" y="88"/>
                  <a:pt x="329" y="88"/>
                  <a:pt x="329" y="88"/>
                </a:cubicBezTo>
                <a:cubicBezTo>
                  <a:pt x="332" y="88"/>
                  <a:pt x="330" y="91"/>
                  <a:pt x="334" y="90"/>
                </a:cubicBezTo>
                <a:cubicBezTo>
                  <a:pt x="334" y="90"/>
                  <a:pt x="334" y="88"/>
                  <a:pt x="334" y="88"/>
                </a:cubicBezTo>
                <a:cubicBezTo>
                  <a:pt x="335" y="88"/>
                  <a:pt x="336" y="89"/>
                  <a:pt x="336" y="89"/>
                </a:cubicBezTo>
                <a:cubicBezTo>
                  <a:pt x="338" y="90"/>
                  <a:pt x="340" y="89"/>
                  <a:pt x="342" y="89"/>
                </a:cubicBezTo>
                <a:cubicBezTo>
                  <a:pt x="342" y="89"/>
                  <a:pt x="344" y="91"/>
                  <a:pt x="344" y="92"/>
                </a:cubicBezTo>
                <a:cubicBezTo>
                  <a:pt x="345" y="92"/>
                  <a:pt x="346" y="92"/>
                  <a:pt x="348" y="92"/>
                </a:cubicBezTo>
                <a:cubicBezTo>
                  <a:pt x="349" y="93"/>
                  <a:pt x="351" y="96"/>
                  <a:pt x="353" y="97"/>
                </a:cubicBezTo>
                <a:cubicBezTo>
                  <a:pt x="354" y="98"/>
                  <a:pt x="355" y="97"/>
                  <a:pt x="357" y="98"/>
                </a:cubicBezTo>
                <a:cubicBezTo>
                  <a:pt x="359" y="100"/>
                  <a:pt x="360" y="104"/>
                  <a:pt x="363" y="104"/>
                </a:cubicBezTo>
                <a:cubicBezTo>
                  <a:pt x="371" y="104"/>
                  <a:pt x="368" y="94"/>
                  <a:pt x="365" y="91"/>
                </a:cubicBezTo>
                <a:cubicBezTo>
                  <a:pt x="363" y="88"/>
                  <a:pt x="360" y="86"/>
                  <a:pt x="355" y="86"/>
                </a:cubicBezTo>
                <a:cubicBezTo>
                  <a:pt x="355" y="86"/>
                  <a:pt x="354" y="88"/>
                  <a:pt x="353" y="87"/>
                </a:cubicBezTo>
                <a:cubicBezTo>
                  <a:pt x="353" y="87"/>
                  <a:pt x="351" y="83"/>
                  <a:pt x="351" y="83"/>
                </a:cubicBezTo>
                <a:cubicBezTo>
                  <a:pt x="348" y="81"/>
                  <a:pt x="346" y="82"/>
                  <a:pt x="344" y="82"/>
                </a:cubicBezTo>
                <a:cubicBezTo>
                  <a:pt x="344" y="82"/>
                  <a:pt x="343" y="79"/>
                  <a:pt x="343" y="79"/>
                </a:cubicBezTo>
                <a:cubicBezTo>
                  <a:pt x="339" y="77"/>
                  <a:pt x="338" y="80"/>
                  <a:pt x="336" y="81"/>
                </a:cubicBezTo>
                <a:cubicBezTo>
                  <a:pt x="335" y="81"/>
                  <a:pt x="335" y="81"/>
                  <a:pt x="334" y="81"/>
                </a:cubicBezTo>
                <a:cubicBezTo>
                  <a:pt x="334" y="80"/>
                  <a:pt x="334" y="79"/>
                  <a:pt x="334" y="78"/>
                </a:cubicBezTo>
                <a:cubicBezTo>
                  <a:pt x="332" y="77"/>
                  <a:pt x="329" y="76"/>
                  <a:pt x="327" y="75"/>
                </a:cubicBezTo>
                <a:cubicBezTo>
                  <a:pt x="327" y="76"/>
                  <a:pt x="326" y="76"/>
                  <a:pt x="326" y="76"/>
                </a:cubicBezTo>
                <a:cubicBezTo>
                  <a:pt x="325" y="78"/>
                  <a:pt x="326" y="79"/>
                  <a:pt x="326" y="80"/>
                </a:cubicBezTo>
                <a:cubicBezTo>
                  <a:pt x="323" y="81"/>
                  <a:pt x="323" y="81"/>
                  <a:pt x="323" y="81"/>
                </a:cubicBezTo>
                <a:cubicBezTo>
                  <a:pt x="322" y="80"/>
                  <a:pt x="320" y="75"/>
                  <a:pt x="320" y="75"/>
                </a:cubicBezTo>
                <a:cubicBezTo>
                  <a:pt x="318" y="74"/>
                  <a:pt x="316" y="75"/>
                  <a:pt x="315" y="75"/>
                </a:cubicBezTo>
                <a:cubicBezTo>
                  <a:pt x="314" y="75"/>
                  <a:pt x="312" y="74"/>
                  <a:pt x="310" y="73"/>
                </a:cubicBezTo>
                <a:close/>
                <a:moveTo>
                  <a:pt x="83" y="478"/>
                </a:moveTo>
                <a:cubicBezTo>
                  <a:pt x="82" y="478"/>
                  <a:pt x="80" y="479"/>
                  <a:pt x="79" y="480"/>
                </a:cubicBezTo>
                <a:cubicBezTo>
                  <a:pt x="80" y="482"/>
                  <a:pt x="78" y="481"/>
                  <a:pt x="80" y="482"/>
                </a:cubicBezTo>
                <a:cubicBezTo>
                  <a:pt x="80" y="483"/>
                  <a:pt x="80" y="483"/>
                  <a:pt x="80" y="483"/>
                </a:cubicBezTo>
                <a:cubicBezTo>
                  <a:pt x="80" y="481"/>
                  <a:pt x="79" y="485"/>
                  <a:pt x="80" y="487"/>
                </a:cubicBezTo>
                <a:cubicBezTo>
                  <a:pt x="81" y="489"/>
                  <a:pt x="87" y="491"/>
                  <a:pt x="88" y="493"/>
                </a:cubicBezTo>
                <a:cubicBezTo>
                  <a:pt x="88" y="492"/>
                  <a:pt x="88" y="491"/>
                  <a:pt x="88" y="491"/>
                </a:cubicBezTo>
                <a:cubicBezTo>
                  <a:pt x="87" y="488"/>
                  <a:pt x="86" y="489"/>
                  <a:pt x="86" y="489"/>
                </a:cubicBezTo>
                <a:cubicBezTo>
                  <a:pt x="86" y="489"/>
                  <a:pt x="87" y="488"/>
                  <a:pt x="89" y="487"/>
                </a:cubicBezTo>
                <a:cubicBezTo>
                  <a:pt x="88" y="486"/>
                  <a:pt x="88" y="486"/>
                  <a:pt x="86" y="485"/>
                </a:cubicBezTo>
                <a:cubicBezTo>
                  <a:pt x="86" y="485"/>
                  <a:pt x="88" y="483"/>
                  <a:pt x="87" y="482"/>
                </a:cubicBezTo>
                <a:cubicBezTo>
                  <a:pt x="86" y="481"/>
                  <a:pt x="85" y="482"/>
                  <a:pt x="85" y="481"/>
                </a:cubicBezTo>
                <a:cubicBezTo>
                  <a:pt x="85" y="481"/>
                  <a:pt x="86" y="480"/>
                  <a:pt x="86" y="479"/>
                </a:cubicBezTo>
                <a:cubicBezTo>
                  <a:pt x="85" y="478"/>
                  <a:pt x="84" y="479"/>
                  <a:pt x="83" y="478"/>
                </a:cubicBezTo>
                <a:close/>
                <a:moveTo>
                  <a:pt x="96" y="469"/>
                </a:moveTo>
                <a:cubicBezTo>
                  <a:pt x="96" y="470"/>
                  <a:pt x="96" y="470"/>
                  <a:pt x="96" y="470"/>
                </a:cubicBezTo>
                <a:cubicBezTo>
                  <a:pt x="94" y="470"/>
                  <a:pt x="96" y="470"/>
                  <a:pt x="97" y="471"/>
                </a:cubicBezTo>
                <a:cubicBezTo>
                  <a:pt x="97" y="471"/>
                  <a:pt x="98" y="468"/>
                  <a:pt x="96" y="469"/>
                </a:cubicBezTo>
                <a:close/>
                <a:moveTo>
                  <a:pt x="74" y="467"/>
                </a:moveTo>
                <a:cubicBezTo>
                  <a:pt x="74" y="469"/>
                  <a:pt x="75" y="474"/>
                  <a:pt x="75" y="475"/>
                </a:cubicBezTo>
                <a:cubicBezTo>
                  <a:pt x="75" y="475"/>
                  <a:pt x="74" y="475"/>
                  <a:pt x="74" y="477"/>
                </a:cubicBezTo>
                <a:cubicBezTo>
                  <a:pt x="76" y="477"/>
                  <a:pt x="76" y="477"/>
                  <a:pt x="76" y="477"/>
                </a:cubicBezTo>
                <a:cubicBezTo>
                  <a:pt x="76" y="477"/>
                  <a:pt x="76" y="479"/>
                  <a:pt x="76" y="478"/>
                </a:cubicBezTo>
                <a:cubicBezTo>
                  <a:pt x="76" y="478"/>
                  <a:pt x="76" y="480"/>
                  <a:pt x="76" y="480"/>
                </a:cubicBezTo>
                <a:cubicBezTo>
                  <a:pt x="77" y="481"/>
                  <a:pt x="79" y="479"/>
                  <a:pt x="79" y="479"/>
                </a:cubicBezTo>
                <a:cubicBezTo>
                  <a:pt x="80" y="478"/>
                  <a:pt x="82" y="478"/>
                  <a:pt x="82" y="477"/>
                </a:cubicBezTo>
                <a:cubicBezTo>
                  <a:pt x="83" y="476"/>
                  <a:pt x="82" y="474"/>
                  <a:pt x="82" y="473"/>
                </a:cubicBezTo>
                <a:cubicBezTo>
                  <a:pt x="83" y="471"/>
                  <a:pt x="84" y="469"/>
                  <a:pt x="84" y="467"/>
                </a:cubicBezTo>
                <a:cubicBezTo>
                  <a:pt x="79" y="468"/>
                  <a:pt x="78" y="470"/>
                  <a:pt x="74" y="467"/>
                </a:cubicBezTo>
                <a:close/>
                <a:moveTo>
                  <a:pt x="278" y="385"/>
                </a:moveTo>
                <a:cubicBezTo>
                  <a:pt x="279" y="385"/>
                  <a:pt x="280" y="385"/>
                  <a:pt x="281" y="385"/>
                </a:cubicBezTo>
                <a:cubicBezTo>
                  <a:pt x="282" y="385"/>
                  <a:pt x="282" y="387"/>
                  <a:pt x="283" y="388"/>
                </a:cubicBezTo>
                <a:cubicBezTo>
                  <a:pt x="283" y="388"/>
                  <a:pt x="287" y="387"/>
                  <a:pt x="288" y="387"/>
                </a:cubicBezTo>
                <a:cubicBezTo>
                  <a:pt x="288" y="386"/>
                  <a:pt x="288" y="386"/>
                  <a:pt x="288" y="386"/>
                </a:cubicBezTo>
                <a:cubicBezTo>
                  <a:pt x="290" y="385"/>
                  <a:pt x="295" y="385"/>
                  <a:pt x="296" y="386"/>
                </a:cubicBezTo>
                <a:cubicBezTo>
                  <a:pt x="297" y="386"/>
                  <a:pt x="304" y="389"/>
                  <a:pt x="299" y="388"/>
                </a:cubicBezTo>
                <a:cubicBezTo>
                  <a:pt x="299" y="388"/>
                  <a:pt x="297" y="388"/>
                  <a:pt x="296" y="388"/>
                </a:cubicBezTo>
                <a:cubicBezTo>
                  <a:pt x="296" y="388"/>
                  <a:pt x="293" y="387"/>
                  <a:pt x="291" y="388"/>
                </a:cubicBezTo>
                <a:cubicBezTo>
                  <a:pt x="291" y="388"/>
                  <a:pt x="291" y="389"/>
                  <a:pt x="290" y="390"/>
                </a:cubicBezTo>
                <a:cubicBezTo>
                  <a:pt x="289" y="391"/>
                  <a:pt x="288" y="390"/>
                  <a:pt x="286" y="390"/>
                </a:cubicBezTo>
                <a:cubicBezTo>
                  <a:pt x="284" y="391"/>
                  <a:pt x="283" y="393"/>
                  <a:pt x="282" y="394"/>
                </a:cubicBezTo>
                <a:cubicBezTo>
                  <a:pt x="278" y="395"/>
                  <a:pt x="276" y="396"/>
                  <a:pt x="273" y="399"/>
                </a:cubicBezTo>
                <a:cubicBezTo>
                  <a:pt x="272" y="400"/>
                  <a:pt x="269" y="402"/>
                  <a:pt x="269" y="403"/>
                </a:cubicBezTo>
                <a:cubicBezTo>
                  <a:pt x="269" y="404"/>
                  <a:pt x="269" y="405"/>
                  <a:pt x="269" y="405"/>
                </a:cubicBezTo>
                <a:cubicBezTo>
                  <a:pt x="267" y="405"/>
                  <a:pt x="265" y="406"/>
                  <a:pt x="264" y="405"/>
                </a:cubicBezTo>
                <a:cubicBezTo>
                  <a:pt x="264" y="405"/>
                  <a:pt x="263" y="404"/>
                  <a:pt x="263" y="404"/>
                </a:cubicBezTo>
                <a:cubicBezTo>
                  <a:pt x="261" y="405"/>
                  <a:pt x="262" y="402"/>
                  <a:pt x="262" y="402"/>
                </a:cubicBezTo>
                <a:cubicBezTo>
                  <a:pt x="263" y="401"/>
                  <a:pt x="263" y="402"/>
                  <a:pt x="264" y="401"/>
                </a:cubicBezTo>
                <a:cubicBezTo>
                  <a:pt x="266" y="400"/>
                  <a:pt x="267" y="397"/>
                  <a:pt x="268" y="396"/>
                </a:cubicBezTo>
                <a:cubicBezTo>
                  <a:pt x="270" y="394"/>
                  <a:pt x="274" y="393"/>
                  <a:pt x="275" y="391"/>
                </a:cubicBezTo>
                <a:cubicBezTo>
                  <a:pt x="275" y="390"/>
                  <a:pt x="275" y="389"/>
                  <a:pt x="275" y="388"/>
                </a:cubicBezTo>
                <a:cubicBezTo>
                  <a:pt x="275" y="387"/>
                  <a:pt x="278" y="386"/>
                  <a:pt x="278" y="385"/>
                </a:cubicBezTo>
                <a:close/>
                <a:moveTo>
                  <a:pt x="274" y="332"/>
                </a:moveTo>
                <a:cubicBezTo>
                  <a:pt x="277" y="332"/>
                  <a:pt x="278" y="333"/>
                  <a:pt x="280" y="334"/>
                </a:cubicBezTo>
                <a:cubicBezTo>
                  <a:pt x="280" y="335"/>
                  <a:pt x="280" y="335"/>
                  <a:pt x="280" y="335"/>
                </a:cubicBezTo>
                <a:cubicBezTo>
                  <a:pt x="278" y="335"/>
                  <a:pt x="277" y="334"/>
                  <a:pt x="275" y="334"/>
                </a:cubicBezTo>
                <a:cubicBezTo>
                  <a:pt x="276" y="335"/>
                  <a:pt x="275" y="336"/>
                  <a:pt x="276" y="336"/>
                </a:cubicBezTo>
                <a:cubicBezTo>
                  <a:pt x="276" y="336"/>
                  <a:pt x="277" y="337"/>
                  <a:pt x="277" y="338"/>
                </a:cubicBezTo>
                <a:cubicBezTo>
                  <a:pt x="276" y="338"/>
                  <a:pt x="274" y="337"/>
                  <a:pt x="273" y="338"/>
                </a:cubicBezTo>
                <a:cubicBezTo>
                  <a:pt x="272" y="338"/>
                  <a:pt x="273" y="340"/>
                  <a:pt x="272" y="341"/>
                </a:cubicBezTo>
                <a:cubicBezTo>
                  <a:pt x="272" y="341"/>
                  <a:pt x="270" y="341"/>
                  <a:pt x="270" y="341"/>
                </a:cubicBezTo>
                <a:cubicBezTo>
                  <a:pt x="269" y="343"/>
                  <a:pt x="268" y="346"/>
                  <a:pt x="266" y="347"/>
                </a:cubicBezTo>
                <a:cubicBezTo>
                  <a:pt x="264" y="348"/>
                  <a:pt x="264" y="346"/>
                  <a:pt x="262" y="347"/>
                </a:cubicBezTo>
                <a:cubicBezTo>
                  <a:pt x="262" y="347"/>
                  <a:pt x="254" y="355"/>
                  <a:pt x="254" y="355"/>
                </a:cubicBezTo>
                <a:cubicBezTo>
                  <a:pt x="253" y="356"/>
                  <a:pt x="254" y="357"/>
                  <a:pt x="253" y="358"/>
                </a:cubicBezTo>
                <a:cubicBezTo>
                  <a:pt x="252" y="359"/>
                  <a:pt x="250" y="359"/>
                  <a:pt x="248" y="360"/>
                </a:cubicBezTo>
                <a:cubicBezTo>
                  <a:pt x="248" y="359"/>
                  <a:pt x="247" y="358"/>
                  <a:pt x="246" y="358"/>
                </a:cubicBezTo>
                <a:cubicBezTo>
                  <a:pt x="245" y="357"/>
                  <a:pt x="244" y="358"/>
                  <a:pt x="243" y="358"/>
                </a:cubicBezTo>
                <a:cubicBezTo>
                  <a:pt x="242" y="360"/>
                  <a:pt x="239" y="365"/>
                  <a:pt x="237" y="366"/>
                </a:cubicBezTo>
                <a:cubicBezTo>
                  <a:pt x="237" y="366"/>
                  <a:pt x="234" y="365"/>
                  <a:pt x="233" y="365"/>
                </a:cubicBezTo>
                <a:cubicBezTo>
                  <a:pt x="229" y="365"/>
                  <a:pt x="226" y="366"/>
                  <a:pt x="223" y="368"/>
                </a:cubicBezTo>
                <a:cubicBezTo>
                  <a:pt x="222" y="367"/>
                  <a:pt x="221" y="367"/>
                  <a:pt x="220" y="366"/>
                </a:cubicBezTo>
                <a:cubicBezTo>
                  <a:pt x="219" y="365"/>
                  <a:pt x="219" y="362"/>
                  <a:pt x="218" y="362"/>
                </a:cubicBezTo>
                <a:cubicBezTo>
                  <a:pt x="216" y="361"/>
                  <a:pt x="214" y="362"/>
                  <a:pt x="212" y="361"/>
                </a:cubicBezTo>
                <a:cubicBezTo>
                  <a:pt x="212" y="361"/>
                  <a:pt x="210" y="359"/>
                  <a:pt x="209" y="359"/>
                </a:cubicBezTo>
                <a:cubicBezTo>
                  <a:pt x="205" y="354"/>
                  <a:pt x="214" y="359"/>
                  <a:pt x="218" y="358"/>
                </a:cubicBezTo>
                <a:cubicBezTo>
                  <a:pt x="218" y="358"/>
                  <a:pt x="220" y="356"/>
                  <a:pt x="220" y="356"/>
                </a:cubicBezTo>
                <a:cubicBezTo>
                  <a:pt x="222" y="355"/>
                  <a:pt x="224" y="354"/>
                  <a:pt x="227" y="352"/>
                </a:cubicBezTo>
                <a:cubicBezTo>
                  <a:pt x="227" y="352"/>
                  <a:pt x="228" y="350"/>
                  <a:pt x="229" y="350"/>
                </a:cubicBezTo>
                <a:cubicBezTo>
                  <a:pt x="231" y="349"/>
                  <a:pt x="232" y="350"/>
                  <a:pt x="234" y="350"/>
                </a:cubicBezTo>
                <a:cubicBezTo>
                  <a:pt x="233" y="349"/>
                  <a:pt x="234" y="349"/>
                  <a:pt x="235" y="348"/>
                </a:cubicBezTo>
                <a:cubicBezTo>
                  <a:pt x="231" y="345"/>
                  <a:pt x="229" y="344"/>
                  <a:pt x="228" y="340"/>
                </a:cubicBezTo>
                <a:cubicBezTo>
                  <a:pt x="228" y="339"/>
                  <a:pt x="228" y="338"/>
                  <a:pt x="228" y="337"/>
                </a:cubicBezTo>
                <a:cubicBezTo>
                  <a:pt x="228" y="336"/>
                  <a:pt x="226" y="335"/>
                  <a:pt x="225" y="335"/>
                </a:cubicBezTo>
                <a:cubicBezTo>
                  <a:pt x="225" y="333"/>
                  <a:pt x="225" y="333"/>
                  <a:pt x="225" y="333"/>
                </a:cubicBezTo>
                <a:cubicBezTo>
                  <a:pt x="227" y="334"/>
                  <a:pt x="229" y="333"/>
                  <a:pt x="231" y="334"/>
                </a:cubicBezTo>
                <a:cubicBezTo>
                  <a:pt x="231" y="334"/>
                  <a:pt x="233" y="337"/>
                  <a:pt x="233" y="337"/>
                </a:cubicBezTo>
                <a:cubicBezTo>
                  <a:pt x="234" y="338"/>
                  <a:pt x="234" y="336"/>
                  <a:pt x="236" y="336"/>
                </a:cubicBezTo>
                <a:cubicBezTo>
                  <a:pt x="236" y="340"/>
                  <a:pt x="237" y="342"/>
                  <a:pt x="238" y="346"/>
                </a:cubicBezTo>
                <a:cubicBezTo>
                  <a:pt x="242" y="346"/>
                  <a:pt x="250" y="347"/>
                  <a:pt x="253" y="346"/>
                </a:cubicBezTo>
                <a:cubicBezTo>
                  <a:pt x="256" y="346"/>
                  <a:pt x="258" y="341"/>
                  <a:pt x="260" y="340"/>
                </a:cubicBezTo>
                <a:cubicBezTo>
                  <a:pt x="261" y="339"/>
                  <a:pt x="262" y="339"/>
                  <a:pt x="264" y="338"/>
                </a:cubicBezTo>
                <a:cubicBezTo>
                  <a:pt x="265" y="337"/>
                  <a:pt x="266" y="334"/>
                  <a:pt x="268" y="334"/>
                </a:cubicBezTo>
                <a:cubicBezTo>
                  <a:pt x="270" y="333"/>
                  <a:pt x="271" y="334"/>
                  <a:pt x="272" y="334"/>
                </a:cubicBezTo>
                <a:cubicBezTo>
                  <a:pt x="273" y="334"/>
                  <a:pt x="274" y="332"/>
                  <a:pt x="274" y="332"/>
                </a:cubicBezTo>
                <a:close/>
                <a:moveTo>
                  <a:pt x="189" y="328"/>
                </a:moveTo>
                <a:cubicBezTo>
                  <a:pt x="190" y="328"/>
                  <a:pt x="194" y="329"/>
                  <a:pt x="197" y="330"/>
                </a:cubicBezTo>
                <a:cubicBezTo>
                  <a:pt x="197" y="330"/>
                  <a:pt x="197" y="332"/>
                  <a:pt x="197" y="332"/>
                </a:cubicBezTo>
                <a:cubicBezTo>
                  <a:pt x="199" y="332"/>
                  <a:pt x="202" y="332"/>
                  <a:pt x="206" y="332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2" y="334"/>
                  <a:pt x="199" y="335"/>
                  <a:pt x="197" y="336"/>
                </a:cubicBezTo>
                <a:cubicBezTo>
                  <a:pt x="193" y="336"/>
                  <a:pt x="191" y="334"/>
                  <a:pt x="188" y="334"/>
                </a:cubicBezTo>
                <a:cubicBezTo>
                  <a:pt x="186" y="334"/>
                  <a:pt x="186" y="335"/>
                  <a:pt x="184" y="334"/>
                </a:cubicBezTo>
                <a:cubicBezTo>
                  <a:pt x="183" y="334"/>
                  <a:pt x="182" y="333"/>
                  <a:pt x="181" y="332"/>
                </a:cubicBezTo>
                <a:cubicBezTo>
                  <a:pt x="183" y="332"/>
                  <a:pt x="184" y="332"/>
                  <a:pt x="185" y="331"/>
                </a:cubicBezTo>
                <a:cubicBezTo>
                  <a:pt x="185" y="331"/>
                  <a:pt x="187" y="331"/>
                  <a:pt x="188" y="330"/>
                </a:cubicBezTo>
                <a:cubicBezTo>
                  <a:pt x="189" y="330"/>
                  <a:pt x="188" y="329"/>
                  <a:pt x="189" y="328"/>
                </a:cubicBezTo>
                <a:close/>
                <a:moveTo>
                  <a:pt x="185" y="279"/>
                </a:moveTo>
                <a:cubicBezTo>
                  <a:pt x="188" y="278"/>
                  <a:pt x="190" y="280"/>
                  <a:pt x="193" y="281"/>
                </a:cubicBezTo>
                <a:cubicBezTo>
                  <a:pt x="194" y="281"/>
                  <a:pt x="196" y="281"/>
                  <a:pt x="197" y="282"/>
                </a:cubicBezTo>
                <a:cubicBezTo>
                  <a:pt x="197" y="282"/>
                  <a:pt x="198" y="282"/>
                  <a:pt x="199" y="282"/>
                </a:cubicBezTo>
                <a:cubicBezTo>
                  <a:pt x="198" y="283"/>
                  <a:pt x="198" y="283"/>
                  <a:pt x="198" y="283"/>
                </a:cubicBezTo>
                <a:cubicBezTo>
                  <a:pt x="193" y="283"/>
                  <a:pt x="182" y="285"/>
                  <a:pt x="189" y="287"/>
                </a:cubicBezTo>
                <a:cubicBezTo>
                  <a:pt x="190" y="288"/>
                  <a:pt x="191" y="287"/>
                  <a:pt x="192" y="287"/>
                </a:cubicBezTo>
                <a:cubicBezTo>
                  <a:pt x="194" y="287"/>
                  <a:pt x="197" y="290"/>
                  <a:pt x="198" y="290"/>
                </a:cubicBezTo>
                <a:cubicBezTo>
                  <a:pt x="202" y="291"/>
                  <a:pt x="205" y="289"/>
                  <a:pt x="208" y="288"/>
                </a:cubicBezTo>
                <a:cubicBezTo>
                  <a:pt x="208" y="290"/>
                  <a:pt x="209" y="290"/>
                  <a:pt x="209" y="292"/>
                </a:cubicBezTo>
                <a:cubicBezTo>
                  <a:pt x="209" y="294"/>
                  <a:pt x="206" y="297"/>
                  <a:pt x="205" y="298"/>
                </a:cubicBezTo>
                <a:cubicBezTo>
                  <a:pt x="206" y="299"/>
                  <a:pt x="206" y="299"/>
                  <a:pt x="207" y="299"/>
                </a:cubicBezTo>
                <a:cubicBezTo>
                  <a:pt x="207" y="299"/>
                  <a:pt x="207" y="301"/>
                  <a:pt x="207" y="301"/>
                </a:cubicBezTo>
                <a:cubicBezTo>
                  <a:pt x="205" y="302"/>
                  <a:pt x="202" y="303"/>
                  <a:pt x="198" y="302"/>
                </a:cubicBezTo>
                <a:cubicBezTo>
                  <a:pt x="198" y="302"/>
                  <a:pt x="196" y="300"/>
                  <a:pt x="196" y="300"/>
                </a:cubicBezTo>
                <a:cubicBezTo>
                  <a:pt x="194" y="300"/>
                  <a:pt x="194" y="301"/>
                  <a:pt x="192" y="301"/>
                </a:cubicBezTo>
                <a:cubicBezTo>
                  <a:pt x="192" y="301"/>
                  <a:pt x="191" y="303"/>
                  <a:pt x="191" y="304"/>
                </a:cubicBezTo>
                <a:cubicBezTo>
                  <a:pt x="192" y="305"/>
                  <a:pt x="203" y="310"/>
                  <a:pt x="199" y="309"/>
                </a:cubicBezTo>
                <a:cubicBezTo>
                  <a:pt x="198" y="309"/>
                  <a:pt x="196" y="308"/>
                  <a:pt x="195" y="308"/>
                </a:cubicBezTo>
                <a:cubicBezTo>
                  <a:pt x="194" y="308"/>
                  <a:pt x="191" y="308"/>
                  <a:pt x="191" y="308"/>
                </a:cubicBezTo>
                <a:cubicBezTo>
                  <a:pt x="188" y="309"/>
                  <a:pt x="185" y="309"/>
                  <a:pt x="182" y="311"/>
                </a:cubicBezTo>
                <a:cubicBezTo>
                  <a:pt x="181" y="312"/>
                  <a:pt x="179" y="315"/>
                  <a:pt x="177" y="316"/>
                </a:cubicBezTo>
                <a:cubicBezTo>
                  <a:pt x="176" y="316"/>
                  <a:pt x="177" y="313"/>
                  <a:pt x="177" y="312"/>
                </a:cubicBezTo>
                <a:cubicBezTo>
                  <a:pt x="178" y="311"/>
                  <a:pt x="178" y="313"/>
                  <a:pt x="180" y="312"/>
                </a:cubicBezTo>
                <a:cubicBezTo>
                  <a:pt x="181" y="311"/>
                  <a:pt x="180" y="310"/>
                  <a:pt x="181" y="310"/>
                </a:cubicBezTo>
                <a:cubicBezTo>
                  <a:pt x="182" y="307"/>
                  <a:pt x="185" y="307"/>
                  <a:pt x="189" y="306"/>
                </a:cubicBezTo>
                <a:cubicBezTo>
                  <a:pt x="189" y="305"/>
                  <a:pt x="189" y="305"/>
                  <a:pt x="189" y="305"/>
                </a:cubicBezTo>
                <a:cubicBezTo>
                  <a:pt x="183" y="303"/>
                  <a:pt x="183" y="303"/>
                  <a:pt x="179" y="306"/>
                </a:cubicBezTo>
                <a:cubicBezTo>
                  <a:pt x="178" y="307"/>
                  <a:pt x="176" y="308"/>
                  <a:pt x="175" y="309"/>
                </a:cubicBezTo>
                <a:cubicBezTo>
                  <a:pt x="175" y="310"/>
                  <a:pt x="176" y="311"/>
                  <a:pt x="175" y="312"/>
                </a:cubicBezTo>
                <a:cubicBezTo>
                  <a:pt x="175" y="313"/>
                  <a:pt x="174" y="314"/>
                  <a:pt x="173" y="314"/>
                </a:cubicBezTo>
                <a:cubicBezTo>
                  <a:pt x="168" y="313"/>
                  <a:pt x="165" y="313"/>
                  <a:pt x="161" y="310"/>
                </a:cubicBezTo>
                <a:cubicBezTo>
                  <a:pt x="161" y="308"/>
                  <a:pt x="161" y="308"/>
                  <a:pt x="161" y="308"/>
                </a:cubicBezTo>
                <a:cubicBezTo>
                  <a:pt x="165" y="307"/>
                  <a:pt x="163" y="307"/>
                  <a:pt x="163" y="304"/>
                </a:cubicBezTo>
                <a:cubicBezTo>
                  <a:pt x="165" y="303"/>
                  <a:pt x="166" y="301"/>
                  <a:pt x="168" y="300"/>
                </a:cubicBezTo>
                <a:cubicBezTo>
                  <a:pt x="168" y="299"/>
                  <a:pt x="168" y="299"/>
                  <a:pt x="168" y="298"/>
                </a:cubicBezTo>
                <a:cubicBezTo>
                  <a:pt x="168" y="297"/>
                  <a:pt x="165" y="295"/>
                  <a:pt x="165" y="294"/>
                </a:cubicBezTo>
                <a:cubicBezTo>
                  <a:pt x="161" y="292"/>
                  <a:pt x="168" y="294"/>
                  <a:pt x="169" y="294"/>
                </a:cubicBezTo>
                <a:cubicBezTo>
                  <a:pt x="171" y="295"/>
                  <a:pt x="173" y="295"/>
                  <a:pt x="175" y="295"/>
                </a:cubicBezTo>
                <a:cubicBezTo>
                  <a:pt x="174" y="294"/>
                  <a:pt x="177" y="292"/>
                  <a:pt x="173" y="292"/>
                </a:cubicBezTo>
                <a:cubicBezTo>
                  <a:pt x="173" y="292"/>
                  <a:pt x="173" y="291"/>
                  <a:pt x="173" y="290"/>
                </a:cubicBezTo>
                <a:cubicBezTo>
                  <a:pt x="169" y="287"/>
                  <a:pt x="157" y="287"/>
                  <a:pt x="153" y="288"/>
                </a:cubicBezTo>
                <a:cubicBezTo>
                  <a:pt x="153" y="287"/>
                  <a:pt x="152" y="284"/>
                  <a:pt x="154" y="284"/>
                </a:cubicBezTo>
                <a:cubicBezTo>
                  <a:pt x="154" y="284"/>
                  <a:pt x="156" y="285"/>
                  <a:pt x="157" y="285"/>
                </a:cubicBezTo>
                <a:cubicBezTo>
                  <a:pt x="159" y="284"/>
                  <a:pt x="159" y="284"/>
                  <a:pt x="159" y="284"/>
                </a:cubicBezTo>
                <a:cubicBezTo>
                  <a:pt x="161" y="283"/>
                  <a:pt x="160" y="284"/>
                  <a:pt x="160" y="283"/>
                </a:cubicBezTo>
                <a:cubicBezTo>
                  <a:pt x="163" y="283"/>
                  <a:pt x="164" y="284"/>
                  <a:pt x="167" y="284"/>
                </a:cubicBezTo>
                <a:cubicBezTo>
                  <a:pt x="169" y="283"/>
                  <a:pt x="169" y="283"/>
                  <a:pt x="169" y="283"/>
                </a:cubicBezTo>
                <a:cubicBezTo>
                  <a:pt x="170" y="282"/>
                  <a:pt x="172" y="283"/>
                  <a:pt x="174" y="283"/>
                </a:cubicBezTo>
                <a:cubicBezTo>
                  <a:pt x="175" y="281"/>
                  <a:pt x="175" y="281"/>
                  <a:pt x="175" y="281"/>
                </a:cubicBezTo>
                <a:cubicBezTo>
                  <a:pt x="177" y="280"/>
                  <a:pt x="179" y="281"/>
                  <a:pt x="181" y="281"/>
                </a:cubicBezTo>
                <a:cubicBezTo>
                  <a:pt x="182" y="280"/>
                  <a:pt x="184" y="279"/>
                  <a:pt x="185" y="279"/>
                </a:cubicBezTo>
                <a:close/>
                <a:moveTo>
                  <a:pt x="365" y="263"/>
                </a:moveTo>
                <a:cubicBezTo>
                  <a:pt x="365" y="263"/>
                  <a:pt x="366" y="264"/>
                  <a:pt x="366" y="265"/>
                </a:cubicBezTo>
                <a:cubicBezTo>
                  <a:pt x="367" y="265"/>
                  <a:pt x="366" y="264"/>
                  <a:pt x="367" y="264"/>
                </a:cubicBezTo>
                <a:cubicBezTo>
                  <a:pt x="366" y="264"/>
                  <a:pt x="366" y="263"/>
                  <a:pt x="365" y="263"/>
                </a:cubicBezTo>
                <a:close/>
                <a:moveTo>
                  <a:pt x="361" y="259"/>
                </a:moveTo>
                <a:cubicBezTo>
                  <a:pt x="363" y="262"/>
                  <a:pt x="363" y="265"/>
                  <a:pt x="362" y="259"/>
                </a:cubicBezTo>
                <a:lnTo>
                  <a:pt x="361" y="259"/>
                </a:lnTo>
                <a:close/>
                <a:moveTo>
                  <a:pt x="318" y="253"/>
                </a:moveTo>
                <a:cubicBezTo>
                  <a:pt x="318" y="254"/>
                  <a:pt x="318" y="254"/>
                  <a:pt x="318" y="254"/>
                </a:cubicBezTo>
                <a:cubicBezTo>
                  <a:pt x="316" y="255"/>
                  <a:pt x="313" y="253"/>
                  <a:pt x="316" y="255"/>
                </a:cubicBezTo>
                <a:cubicBezTo>
                  <a:pt x="316" y="255"/>
                  <a:pt x="317" y="256"/>
                  <a:pt x="318" y="257"/>
                </a:cubicBezTo>
                <a:cubicBezTo>
                  <a:pt x="319" y="256"/>
                  <a:pt x="322" y="256"/>
                  <a:pt x="320" y="254"/>
                </a:cubicBezTo>
                <a:cubicBezTo>
                  <a:pt x="319" y="253"/>
                  <a:pt x="320" y="253"/>
                  <a:pt x="318" y="253"/>
                </a:cubicBezTo>
                <a:close/>
                <a:moveTo>
                  <a:pt x="346" y="249"/>
                </a:moveTo>
                <a:cubicBezTo>
                  <a:pt x="343" y="249"/>
                  <a:pt x="341" y="253"/>
                  <a:pt x="344" y="253"/>
                </a:cubicBezTo>
                <a:cubicBezTo>
                  <a:pt x="345" y="252"/>
                  <a:pt x="349" y="248"/>
                  <a:pt x="346" y="249"/>
                </a:cubicBezTo>
                <a:close/>
                <a:moveTo>
                  <a:pt x="357" y="245"/>
                </a:moveTo>
                <a:cubicBezTo>
                  <a:pt x="357" y="247"/>
                  <a:pt x="357" y="247"/>
                  <a:pt x="357" y="247"/>
                </a:cubicBezTo>
                <a:cubicBezTo>
                  <a:pt x="356" y="247"/>
                  <a:pt x="355" y="246"/>
                  <a:pt x="353" y="246"/>
                </a:cubicBezTo>
                <a:cubicBezTo>
                  <a:pt x="353" y="248"/>
                  <a:pt x="353" y="248"/>
                  <a:pt x="353" y="248"/>
                </a:cubicBezTo>
                <a:cubicBezTo>
                  <a:pt x="354" y="248"/>
                  <a:pt x="356" y="249"/>
                  <a:pt x="358" y="249"/>
                </a:cubicBezTo>
                <a:cubicBezTo>
                  <a:pt x="360" y="248"/>
                  <a:pt x="358" y="244"/>
                  <a:pt x="357" y="245"/>
                </a:cubicBezTo>
                <a:close/>
                <a:moveTo>
                  <a:pt x="352" y="241"/>
                </a:moveTo>
                <a:cubicBezTo>
                  <a:pt x="352" y="241"/>
                  <a:pt x="353" y="243"/>
                  <a:pt x="353" y="243"/>
                </a:cubicBezTo>
                <a:cubicBezTo>
                  <a:pt x="355" y="243"/>
                  <a:pt x="354" y="241"/>
                  <a:pt x="352" y="241"/>
                </a:cubicBezTo>
                <a:close/>
                <a:moveTo>
                  <a:pt x="377" y="233"/>
                </a:moveTo>
                <a:cubicBezTo>
                  <a:pt x="377" y="233"/>
                  <a:pt x="376" y="234"/>
                  <a:pt x="376" y="234"/>
                </a:cubicBezTo>
                <a:cubicBezTo>
                  <a:pt x="376" y="235"/>
                  <a:pt x="376" y="236"/>
                  <a:pt x="376" y="237"/>
                </a:cubicBezTo>
                <a:cubicBezTo>
                  <a:pt x="375" y="237"/>
                  <a:pt x="375" y="236"/>
                  <a:pt x="375" y="236"/>
                </a:cubicBezTo>
                <a:cubicBezTo>
                  <a:pt x="373" y="235"/>
                  <a:pt x="373" y="237"/>
                  <a:pt x="372" y="237"/>
                </a:cubicBezTo>
                <a:cubicBezTo>
                  <a:pt x="372" y="240"/>
                  <a:pt x="371" y="244"/>
                  <a:pt x="368" y="245"/>
                </a:cubicBezTo>
                <a:cubicBezTo>
                  <a:pt x="368" y="245"/>
                  <a:pt x="367" y="245"/>
                  <a:pt x="366" y="245"/>
                </a:cubicBezTo>
                <a:cubicBezTo>
                  <a:pt x="366" y="246"/>
                  <a:pt x="366" y="247"/>
                  <a:pt x="365" y="247"/>
                </a:cubicBezTo>
                <a:cubicBezTo>
                  <a:pt x="367" y="248"/>
                  <a:pt x="366" y="248"/>
                  <a:pt x="367" y="249"/>
                </a:cubicBezTo>
                <a:cubicBezTo>
                  <a:pt x="368" y="249"/>
                  <a:pt x="368" y="248"/>
                  <a:pt x="369" y="248"/>
                </a:cubicBezTo>
                <a:cubicBezTo>
                  <a:pt x="369" y="250"/>
                  <a:pt x="369" y="250"/>
                  <a:pt x="369" y="250"/>
                </a:cubicBezTo>
                <a:cubicBezTo>
                  <a:pt x="370" y="250"/>
                  <a:pt x="371" y="250"/>
                  <a:pt x="371" y="251"/>
                </a:cubicBezTo>
                <a:cubicBezTo>
                  <a:pt x="372" y="250"/>
                  <a:pt x="373" y="247"/>
                  <a:pt x="375" y="248"/>
                </a:cubicBezTo>
                <a:cubicBezTo>
                  <a:pt x="376" y="248"/>
                  <a:pt x="375" y="251"/>
                  <a:pt x="375" y="251"/>
                </a:cubicBezTo>
                <a:cubicBezTo>
                  <a:pt x="375" y="252"/>
                  <a:pt x="375" y="252"/>
                  <a:pt x="375" y="252"/>
                </a:cubicBezTo>
                <a:cubicBezTo>
                  <a:pt x="379" y="254"/>
                  <a:pt x="377" y="253"/>
                  <a:pt x="379" y="257"/>
                </a:cubicBezTo>
                <a:cubicBezTo>
                  <a:pt x="380" y="257"/>
                  <a:pt x="382" y="257"/>
                  <a:pt x="381" y="256"/>
                </a:cubicBezTo>
                <a:cubicBezTo>
                  <a:pt x="382" y="256"/>
                  <a:pt x="383" y="257"/>
                  <a:pt x="384" y="257"/>
                </a:cubicBezTo>
                <a:cubicBezTo>
                  <a:pt x="385" y="256"/>
                  <a:pt x="387" y="254"/>
                  <a:pt x="385" y="255"/>
                </a:cubicBezTo>
                <a:cubicBezTo>
                  <a:pt x="385" y="254"/>
                  <a:pt x="385" y="253"/>
                  <a:pt x="385" y="253"/>
                </a:cubicBezTo>
                <a:cubicBezTo>
                  <a:pt x="390" y="254"/>
                  <a:pt x="389" y="254"/>
                  <a:pt x="393" y="253"/>
                </a:cubicBezTo>
                <a:cubicBezTo>
                  <a:pt x="393" y="252"/>
                  <a:pt x="396" y="252"/>
                  <a:pt x="397" y="252"/>
                </a:cubicBezTo>
                <a:cubicBezTo>
                  <a:pt x="397" y="252"/>
                  <a:pt x="399" y="250"/>
                  <a:pt x="399" y="250"/>
                </a:cubicBezTo>
                <a:cubicBezTo>
                  <a:pt x="397" y="250"/>
                  <a:pt x="396" y="250"/>
                  <a:pt x="395" y="249"/>
                </a:cubicBezTo>
                <a:cubicBezTo>
                  <a:pt x="395" y="247"/>
                  <a:pt x="396" y="243"/>
                  <a:pt x="395" y="241"/>
                </a:cubicBezTo>
                <a:cubicBezTo>
                  <a:pt x="388" y="235"/>
                  <a:pt x="388" y="235"/>
                  <a:pt x="388" y="235"/>
                </a:cubicBezTo>
                <a:cubicBezTo>
                  <a:pt x="387" y="235"/>
                  <a:pt x="385" y="236"/>
                  <a:pt x="384" y="235"/>
                </a:cubicBezTo>
                <a:cubicBezTo>
                  <a:pt x="383" y="234"/>
                  <a:pt x="383" y="234"/>
                  <a:pt x="383" y="234"/>
                </a:cubicBezTo>
                <a:cubicBezTo>
                  <a:pt x="381" y="234"/>
                  <a:pt x="381" y="235"/>
                  <a:pt x="380" y="235"/>
                </a:cubicBezTo>
                <a:cubicBezTo>
                  <a:pt x="380" y="235"/>
                  <a:pt x="380" y="233"/>
                  <a:pt x="380" y="233"/>
                </a:cubicBezTo>
                <a:cubicBezTo>
                  <a:pt x="379" y="232"/>
                  <a:pt x="378" y="233"/>
                  <a:pt x="377" y="233"/>
                </a:cubicBezTo>
                <a:close/>
                <a:moveTo>
                  <a:pt x="355" y="218"/>
                </a:moveTo>
                <a:cubicBezTo>
                  <a:pt x="355" y="219"/>
                  <a:pt x="355" y="219"/>
                  <a:pt x="355" y="219"/>
                </a:cubicBezTo>
                <a:cubicBezTo>
                  <a:pt x="351" y="222"/>
                  <a:pt x="353" y="221"/>
                  <a:pt x="353" y="224"/>
                </a:cubicBezTo>
                <a:cubicBezTo>
                  <a:pt x="353" y="224"/>
                  <a:pt x="354" y="223"/>
                  <a:pt x="355" y="223"/>
                </a:cubicBezTo>
                <a:cubicBezTo>
                  <a:pt x="355" y="222"/>
                  <a:pt x="357" y="217"/>
                  <a:pt x="355" y="218"/>
                </a:cubicBezTo>
                <a:close/>
                <a:moveTo>
                  <a:pt x="295" y="171"/>
                </a:moveTo>
                <a:cubicBezTo>
                  <a:pt x="294" y="178"/>
                  <a:pt x="294" y="182"/>
                  <a:pt x="296" y="188"/>
                </a:cubicBezTo>
                <a:cubicBezTo>
                  <a:pt x="297" y="188"/>
                  <a:pt x="301" y="188"/>
                  <a:pt x="303" y="189"/>
                </a:cubicBezTo>
                <a:cubicBezTo>
                  <a:pt x="304" y="189"/>
                  <a:pt x="305" y="191"/>
                  <a:pt x="305" y="191"/>
                </a:cubicBezTo>
                <a:cubicBezTo>
                  <a:pt x="307" y="192"/>
                  <a:pt x="308" y="191"/>
                  <a:pt x="310" y="191"/>
                </a:cubicBezTo>
                <a:cubicBezTo>
                  <a:pt x="310" y="191"/>
                  <a:pt x="310" y="190"/>
                  <a:pt x="310" y="190"/>
                </a:cubicBezTo>
                <a:cubicBezTo>
                  <a:pt x="310" y="188"/>
                  <a:pt x="310" y="187"/>
                  <a:pt x="310" y="185"/>
                </a:cubicBezTo>
                <a:cubicBezTo>
                  <a:pt x="309" y="184"/>
                  <a:pt x="306" y="183"/>
                  <a:pt x="306" y="182"/>
                </a:cubicBezTo>
                <a:cubicBezTo>
                  <a:pt x="304" y="181"/>
                  <a:pt x="305" y="179"/>
                  <a:pt x="304" y="177"/>
                </a:cubicBezTo>
                <a:cubicBezTo>
                  <a:pt x="298" y="171"/>
                  <a:pt x="298" y="171"/>
                  <a:pt x="298" y="171"/>
                </a:cubicBezTo>
                <a:cubicBezTo>
                  <a:pt x="297" y="171"/>
                  <a:pt x="296" y="172"/>
                  <a:pt x="295" y="171"/>
                </a:cubicBezTo>
                <a:close/>
                <a:moveTo>
                  <a:pt x="177" y="153"/>
                </a:moveTo>
                <a:cubicBezTo>
                  <a:pt x="176" y="153"/>
                  <a:pt x="173" y="155"/>
                  <a:pt x="172" y="156"/>
                </a:cubicBezTo>
                <a:cubicBezTo>
                  <a:pt x="169" y="157"/>
                  <a:pt x="166" y="156"/>
                  <a:pt x="163" y="157"/>
                </a:cubicBezTo>
                <a:cubicBezTo>
                  <a:pt x="161" y="158"/>
                  <a:pt x="161" y="158"/>
                  <a:pt x="161" y="158"/>
                </a:cubicBezTo>
                <a:cubicBezTo>
                  <a:pt x="160" y="159"/>
                  <a:pt x="159" y="158"/>
                  <a:pt x="157" y="159"/>
                </a:cubicBezTo>
                <a:cubicBezTo>
                  <a:pt x="155" y="160"/>
                  <a:pt x="152" y="161"/>
                  <a:pt x="150" y="162"/>
                </a:cubicBezTo>
                <a:cubicBezTo>
                  <a:pt x="151" y="164"/>
                  <a:pt x="153" y="168"/>
                  <a:pt x="153" y="169"/>
                </a:cubicBezTo>
                <a:cubicBezTo>
                  <a:pt x="151" y="172"/>
                  <a:pt x="151" y="172"/>
                  <a:pt x="151" y="172"/>
                </a:cubicBezTo>
                <a:cubicBezTo>
                  <a:pt x="151" y="176"/>
                  <a:pt x="152" y="177"/>
                  <a:pt x="151" y="179"/>
                </a:cubicBezTo>
                <a:cubicBezTo>
                  <a:pt x="153" y="179"/>
                  <a:pt x="153" y="179"/>
                  <a:pt x="153" y="179"/>
                </a:cubicBezTo>
                <a:cubicBezTo>
                  <a:pt x="153" y="180"/>
                  <a:pt x="152" y="181"/>
                  <a:pt x="153" y="181"/>
                </a:cubicBezTo>
                <a:cubicBezTo>
                  <a:pt x="152" y="181"/>
                  <a:pt x="150" y="181"/>
                  <a:pt x="149" y="181"/>
                </a:cubicBezTo>
                <a:cubicBezTo>
                  <a:pt x="150" y="184"/>
                  <a:pt x="152" y="188"/>
                  <a:pt x="151" y="191"/>
                </a:cubicBezTo>
                <a:cubicBezTo>
                  <a:pt x="150" y="192"/>
                  <a:pt x="148" y="193"/>
                  <a:pt x="148" y="193"/>
                </a:cubicBezTo>
                <a:cubicBezTo>
                  <a:pt x="147" y="196"/>
                  <a:pt x="148" y="197"/>
                  <a:pt x="147" y="199"/>
                </a:cubicBezTo>
                <a:cubicBezTo>
                  <a:pt x="147" y="200"/>
                  <a:pt x="149" y="200"/>
                  <a:pt x="149" y="200"/>
                </a:cubicBezTo>
                <a:cubicBezTo>
                  <a:pt x="151" y="201"/>
                  <a:pt x="151" y="203"/>
                  <a:pt x="153" y="203"/>
                </a:cubicBezTo>
                <a:cubicBezTo>
                  <a:pt x="153" y="204"/>
                  <a:pt x="153" y="204"/>
                  <a:pt x="153" y="204"/>
                </a:cubicBezTo>
                <a:cubicBezTo>
                  <a:pt x="154" y="204"/>
                  <a:pt x="154" y="204"/>
                  <a:pt x="154" y="204"/>
                </a:cubicBezTo>
                <a:cubicBezTo>
                  <a:pt x="156" y="206"/>
                  <a:pt x="156" y="211"/>
                  <a:pt x="159" y="212"/>
                </a:cubicBezTo>
                <a:cubicBezTo>
                  <a:pt x="166" y="215"/>
                  <a:pt x="170" y="206"/>
                  <a:pt x="172" y="203"/>
                </a:cubicBezTo>
                <a:cubicBezTo>
                  <a:pt x="173" y="204"/>
                  <a:pt x="173" y="203"/>
                  <a:pt x="174" y="203"/>
                </a:cubicBezTo>
                <a:cubicBezTo>
                  <a:pt x="175" y="205"/>
                  <a:pt x="175" y="205"/>
                  <a:pt x="175" y="205"/>
                </a:cubicBezTo>
                <a:cubicBezTo>
                  <a:pt x="179" y="206"/>
                  <a:pt x="181" y="205"/>
                  <a:pt x="185" y="204"/>
                </a:cubicBezTo>
                <a:cubicBezTo>
                  <a:pt x="186" y="204"/>
                  <a:pt x="187" y="204"/>
                  <a:pt x="187" y="203"/>
                </a:cubicBezTo>
                <a:cubicBezTo>
                  <a:pt x="188" y="203"/>
                  <a:pt x="187" y="201"/>
                  <a:pt x="188" y="200"/>
                </a:cubicBezTo>
                <a:cubicBezTo>
                  <a:pt x="188" y="200"/>
                  <a:pt x="190" y="199"/>
                  <a:pt x="190" y="199"/>
                </a:cubicBezTo>
                <a:cubicBezTo>
                  <a:pt x="191" y="197"/>
                  <a:pt x="190" y="195"/>
                  <a:pt x="190" y="195"/>
                </a:cubicBezTo>
                <a:cubicBezTo>
                  <a:pt x="190" y="195"/>
                  <a:pt x="190" y="193"/>
                  <a:pt x="190" y="193"/>
                </a:cubicBezTo>
                <a:cubicBezTo>
                  <a:pt x="191" y="192"/>
                  <a:pt x="192" y="193"/>
                  <a:pt x="193" y="192"/>
                </a:cubicBezTo>
                <a:cubicBezTo>
                  <a:pt x="194" y="191"/>
                  <a:pt x="194" y="189"/>
                  <a:pt x="195" y="188"/>
                </a:cubicBezTo>
                <a:cubicBezTo>
                  <a:pt x="196" y="187"/>
                  <a:pt x="198" y="187"/>
                  <a:pt x="199" y="186"/>
                </a:cubicBezTo>
                <a:cubicBezTo>
                  <a:pt x="199" y="185"/>
                  <a:pt x="199" y="185"/>
                  <a:pt x="199" y="185"/>
                </a:cubicBezTo>
                <a:cubicBezTo>
                  <a:pt x="204" y="180"/>
                  <a:pt x="204" y="180"/>
                  <a:pt x="204" y="180"/>
                </a:cubicBezTo>
                <a:cubicBezTo>
                  <a:pt x="206" y="179"/>
                  <a:pt x="207" y="180"/>
                  <a:pt x="209" y="179"/>
                </a:cubicBezTo>
                <a:cubicBezTo>
                  <a:pt x="211" y="178"/>
                  <a:pt x="213" y="175"/>
                  <a:pt x="215" y="175"/>
                </a:cubicBezTo>
                <a:cubicBezTo>
                  <a:pt x="217" y="174"/>
                  <a:pt x="218" y="176"/>
                  <a:pt x="219" y="175"/>
                </a:cubicBezTo>
                <a:cubicBezTo>
                  <a:pt x="221" y="174"/>
                  <a:pt x="221" y="174"/>
                  <a:pt x="221" y="174"/>
                </a:cubicBezTo>
                <a:cubicBezTo>
                  <a:pt x="222" y="174"/>
                  <a:pt x="224" y="175"/>
                  <a:pt x="226" y="174"/>
                </a:cubicBezTo>
                <a:cubicBezTo>
                  <a:pt x="226" y="174"/>
                  <a:pt x="228" y="172"/>
                  <a:pt x="229" y="172"/>
                </a:cubicBezTo>
                <a:cubicBezTo>
                  <a:pt x="228" y="172"/>
                  <a:pt x="229" y="170"/>
                  <a:pt x="229" y="169"/>
                </a:cubicBezTo>
                <a:cubicBezTo>
                  <a:pt x="227" y="169"/>
                  <a:pt x="225" y="169"/>
                  <a:pt x="223" y="168"/>
                </a:cubicBezTo>
                <a:cubicBezTo>
                  <a:pt x="222" y="167"/>
                  <a:pt x="222" y="164"/>
                  <a:pt x="221" y="164"/>
                </a:cubicBezTo>
                <a:cubicBezTo>
                  <a:pt x="219" y="162"/>
                  <a:pt x="207" y="160"/>
                  <a:pt x="203" y="160"/>
                </a:cubicBezTo>
                <a:cubicBezTo>
                  <a:pt x="203" y="160"/>
                  <a:pt x="202" y="162"/>
                  <a:pt x="202" y="162"/>
                </a:cubicBezTo>
                <a:cubicBezTo>
                  <a:pt x="196" y="161"/>
                  <a:pt x="189" y="160"/>
                  <a:pt x="183" y="157"/>
                </a:cubicBezTo>
                <a:cubicBezTo>
                  <a:pt x="181" y="156"/>
                  <a:pt x="178" y="153"/>
                  <a:pt x="177" y="153"/>
                </a:cubicBezTo>
                <a:close/>
                <a:moveTo>
                  <a:pt x="277" y="149"/>
                </a:moveTo>
                <a:cubicBezTo>
                  <a:pt x="276" y="149"/>
                  <a:pt x="275" y="152"/>
                  <a:pt x="278" y="151"/>
                </a:cubicBezTo>
                <a:cubicBezTo>
                  <a:pt x="279" y="151"/>
                  <a:pt x="280" y="148"/>
                  <a:pt x="277" y="149"/>
                </a:cubicBezTo>
                <a:close/>
                <a:moveTo>
                  <a:pt x="325" y="141"/>
                </a:moveTo>
                <a:cubicBezTo>
                  <a:pt x="325" y="142"/>
                  <a:pt x="324" y="145"/>
                  <a:pt x="324" y="146"/>
                </a:cubicBezTo>
                <a:cubicBezTo>
                  <a:pt x="326" y="146"/>
                  <a:pt x="326" y="146"/>
                  <a:pt x="326" y="146"/>
                </a:cubicBezTo>
                <a:cubicBezTo>
                  <a:pt x="324" y="148"/>
                  <a:pt x="328" y="146"/>
                  <a:pt x="327" y="146"/>
                </a:cubicBezTo>
                <a:cubicBezTo>
                  <a:pt x="327" y="146"/>
                  <a:pt x="328" y="144"/>
                  <a:pt x="327" y="142"/>
                </a:cubicBezTo>
                <a:cubicBezTo>
                  <a:pt x="327" y="142"/>
                  <a:pt x="325" y="141"/>
                  <a:pt x="325" y="141"/>
                </a:cubicBezTo>
                <a:close/>
                <a:moveTo>
                  <a:pt x="206" y="126"/>
                </a:moveTo>
                <a:cubicBezTo>
                  <a:pt x="206" y="127"/>
                  <a:pt x="204" y="128"/>
                  <a:pt x="204" y="128"/>
                </a:cubicBezTo>
                <a:cubicBezTo>
                  <a:pt x="204" y="129"/>
                  <a:pt x="204" y="130"/>
                  <a:pt x="204" y="131"/>
                </a:cubicBezTo>
                <a:cubicBezTo>
                  <a:pt x="203" y="132"/>
                  <a:pt x="200" y="133"/>
                  <a:pt x="199" y="134"/>
                </a:cubicBezTo>
                <a:cubicBezTo>
                  <a:pt x="198" y="134"/>
                  <a:pt x="198" y="136"/>
                  <a:pt x="197" y="137"/>
                </a:cubicBezTo>
                <a:cubicBezTo>
                  <a:pt x="196" y="136"/>
                  <a:pt x="197" y="140"/>
                  <a:pt x="197" y="140"/>
                </a:cubicBezTo>
                <a:cubicBezTo>
                  <a:pt x="200" y="141"/>
                  <a:pt x="201" y="140"/>
                  <a:pt x="204" y="141"/>
                </a:cubicBezTo>
                <a:cubicBezTo>
                  <a:pt x="205" y="138"/>
                  <a:pt x="204" y="136"/>
                  <a:pt x="205" y="134"/>
                </a:cubicBezTo>
                <a:cubicBezTo>
                  <a:pt x="206" y="133"/>
                  <a:pt x="207" y="133"/>
                  <a:pt x="207" y="133"/>
                </a:cubicBezTo>
                <a:cubicBezTo>
                  <a:pt x="208" y="132"/>
                  <a:pt x="208" y="129"/>
                  <a:pt x="209" y="127"/>
                </a:cubicBezTo>
                <a:cubicBezTo>
                  <a:pt x="208" y="127"/>
                  <a:pt x="206" y="126"/>
                  <a:pt x="206" y="126"/>
                </a:cubicBezTo>
                <a:close/>
                <a:moveTo>
                  <a:pt x="223" y="120"/>
                </a:moveTo>
                <a:cubicBezTo>
                  <a:pt x="220" y="123"/>
                  <a:pt x="223" y="123"/>
                  <a:pt x="225" y="124"/>
                </a:cubicBezTo>
                <a:cubicBezTo>
                  <a:pt x="225" y="121"/>
                  <a:pt x="225" y="121"/>
                  <a:pt x="225" y="121"/>
                </a:cubicBezTo>
                <a:lnTo>
                  <a:pt x="223" y="120"/>
                </a:lnTo>
                <a:close/>
                <a:moveTo>
                  <a:pt x="230" y="112"/>
                </a:moveTo>
                <a:cubicBezTo>
                  <a:pt x="230" y="112"/>
                  <a:pt x="230" y="114"/>
                  <a:pt x="230" y="114"/>
                </a:cubicBezTo>
                <a:cubicBezTo>
                  <a:pt x="229" y="114"/>
                  <a:pt x="229" y="116"/>
                  <a:pt x="229" y="117"/>
                </a:cubicBezTo>
                <a:cubicBezTo>
                  <a:pt x="231" y="117"/>
                  <a:pt x="231" y="116"/>
                  <a:pt x="233" y="116"/>
                </a:cubicBezTo>
                <a:cubicBezTo>
                  <a:pt x="233" y="115"/>
                  <a:pt x="235" y="111"/>
                  <a:pt x="230" y="112"/>
                </a:cubicBezTo>
                <a:close/>
                <a:moveTo>
                  <a:pt x="276" y="110"/>
                </a:moveTo>
                <a:cubicBezTo>
                  <a:pt x="276" y="112"/>
                  <a:pt x="276" y="112"/>
                  <a:pt x="276" y="112"/>
                </a:cubicBezTo>
                <a:cubicBezTo>
                  <a:pt x="274" y="112"/>
                  <a:pt x="274" y="112"/>
                  <a:pt x="274" y="112"/>
                </a:cubicBezTo>
                <a:cubicBezTo>
                  <a:pt x="275" y="112"/>
                  <a:pt x="272" y="112"/>
                  <a:pt x="272" y="112"/>
                </a:cubicBezTo>
                <a:cubicBezTo>
                  <a:pt x="274" y="114"/>
                  <a:pt x="273" y="115"/>
                  <a:pt x="274" y="118"/>
                </a:cubicBezTo>
                <a:cubicBezTo>
                  <a:pt x="272" y="118"/>
                  <a:pt x="273" y="117"/>
                  <a:pt x="272" y="119"/>
                </a:cubicBezTo>
                <a:cubicBezTo>
                  <a:pt x="274" y="119"/>
                  <a:pt x="273" y="124"/>
                  <a:pt x="272" y="126"/>
                </a:cubicBezTo>
                <a:cubicBezTo>
                  <a:pt x="274" y="126"/>
                  <a:pt x="277" y="127"/>
                  <a:pt x="278" y="128"/>
                </a:cubicBezTo>
                <a:cubicBezTo>
                  <a:pt x="277" y="130"/>
                  <a:pt x="277" y="131"/>
                  <a:pt x="276" y="133"/>
                </a:cubicBezTo>
                <a:cubicBezTo>
                  <a:pt x="277" y="133"/>
                  <a:pt x="278" y="133"/>
                  <a:pt x="279" y="133"/>
                </a:cubicBezTo>
                <a:cubicBezTo>
                  <a:pt x="279" y="133"/>
                  <a:pt x="280" y="134"/>
                  <a:pt x="280" y="134"/>
                </a:cubicBezTo>
                <a:cubicBezTo>
                  <a:pt x="280" y="134"/>
                  <a:pt x="280" y="137"/>
                  <a:pt x="280" y="137"/>
                </a:cubicBezTo>
                <a:cubicBezTo>
                  <a:pt x="276" y="136"/>
                  <a:pt x="270" y="136"/>
                  <a:pt x="268" y="136"/>
                </a:cubicBezTo>
                <a:cubicBezTo>
                  <a:pt x="266" y="135"/>
                  <a:pt x="262" y="136"/>
                  <a:pt x="260" y="136"/>
                </a:cubicBezTo>
                <a:cubicBezTo>
                  <a:pt x="260" y="136"/>
                  <a:pt x="260" y="133"/>
                  <a:pt x="260" y="133"/>
                </a:cubicBezTo>
                <a:cubicBezTo>
                  <a:pt x="259" y="132"/>
                  <a:pt x="257" y="133"/>
                  <a:pt x="256" y="133"/>
                </a:cubicBezTo>
                <a:cubicBezTo>
                  <a:pt x="256" y="133"/>
                  <a:pt x="255" y="131"/>
                  <a:pt x="254" y="131"/>
                </a:cubicBezTo>
                <a:cubicBezTo>
                  <a:pt x="254" y="130"/>
                  <a:pt x="254" y="130"/>
                  <a:pt x="254" y="130"/>
                </a:cubicBezTo>
                <a:cubicBezTo>
                  <a:pt x="252" y="129"/>
                  <a:pt x="250" y="130"/>
                  <a:pt x="247" y="130"/>
                </a:cubicBezTo>
                <a:cubicBezTo>
                  <a:pt x="246" y="129"/>
                  <a:pt x="244" y="127"/>
                  <a:pt x="243" y="126"/>
                </a:cubicBezTo>
                <a:cubicBezTo>
                  <a:pt x="240" y="125"/>
                  <a:pt x="236" y="127"/>
                  <a:pt x="234" y="126"/>
                </a:cubicBezTo>
                <a:cubicBezTo>
                  <a:pt x="234" y="126"/>
                  <a:pt x="233" y="124"/>
                  <a:pt x="233" y="124"/>
                </a:cubicBezTo>
                <a:cubicBezTo>
                  <a:pt x="231" y="124"/>
                  <a:pt x="229" y="124"/>
                  <a:pt x="227" y="124"/>
                </a:cubicBezTo>
                <a:cubicBezTo>
                  <a:pt x="227" y="126"/>
                  <a:pt x="227" y="126"/>
                  <a:pt x="227" y="126"/>
                </a:cubicBezTo>
                <a:cubicBezTo>
                  <a:pt x="225" y="127"/>
                  <a:pt x="223" y="126"/>
                  <a:pt x="221" y="126"/>
                </a:cubicBezTo>
                <a:cubicBezTo>
                  <a:pt x="220" y="131"/>
                  <a:pt x="218" y="132"/>
                  <a:pt x="225" y="133"/>
                </a:cubicBezTo>
                <a:cubicBezTo>
                  <a:pt x="223" y="133"/>
                  <a:pt x="221" y="135"/>
                  <a:pt x="220" y="135"/>
                </a:cubicBezTo>
                <a:cubicBezTo>
                  <a:pt x="218" y="135"/>
                  <a:pt x="217" y="134"/>
                  <a:pt x="217" y="134"/>
                </a:cubicBezTo>
                <a:cubicBezTo>
                  <a:pt x="216" y="134"/>
                  <a:pt x="216" y="136"/>
                  <a:pt x="215" y="136"/>
                </a:cubicBezTo>
                <a:cubicBezTo>
                  <a:pt x="216" y="138"/>
                  <a:pt x="216" y="138"/>
                  <a:pt x="216" y="138"/>
                </a:cubicBezTo>
                <a:cubicBezTo>
                  <a:pt x="219" y="138"/>
                  <a:pt x="226" y="137"/>
                  <a:pt x="221" y="139"/>
                </a:cubicBezTo>
                <a:cubicBezTo>
                  <a:pt x="220" y="140"/>
                  <a:pt x="220" y="140"/>
                  <a:pt x="220" y="140"/>
                </a:cubicBezTo>
                <a:cubicBezTo>
                  <a:pt x="218" y="141"/>
                  <a:pt x="216" y="140"/>
                  <a:pt x="215" y="141"/>
                </a:cubicBezTo>
                <a:cubicBezTo>
                  <a:pt x="214" y="142"/>
                  <a:pt x="214" y="142"/>
                  <a:pt x="213" y="142"/>
                </a:cubicBezTo>
                <a:cubicBezTo>
                  <a:pt x="214" y="142"/>
                  <a:pt x="214" y="144"/>
                  <a:pt x="214" y="144"/>
                </a:cubicBezTo>
                <a:cubicBezTo>
                  <a:pt x="217" y="146"/>
                  <a:pt x="221" y="145"/>
                  <a:pt x="224" y="144"/>
                </a:cubicBezTo>
                <a:cubicBezTo>
                  <a:pt x="224" y="145"/>
                  <a:pt x="224" y="144"/>
                  <a:pt x="225" y="144"/>
                </a:cubicBezTo>
                <a:cubicBezTo>
                  <a:pt x="225" y="145"/>
                  <a:pt x="225" y="147"/>
                  <a:pt x="225" y="147"/>
                </a:cubicBezTo>
                <a:cubicBezTo>
                  <a:pt x="226" y="147"/>
                  <a:pt x="227" y="147"/>
                  <a:pt x="227" y="147"/>
                </a:cubicBezTo>
                <a:cubicBezTo>
                  <a:pt x="227" y="146"/>
                  <a:pt x="227" y="143"/>
                  <a:pt x="227" y="143"/>
                </a:cubicBezTo>
                <a:cubicBezTo>
                  <a:pt x="228" y="143"/>
                  <a:pt x="229" y="143"/>
                  <a:pt x="230" y="143"/>
                </a:cubicBezTo>
                <a:cubicBezTo>
                  <a:pt x="229" y="143"/>
                  <a:pt x="230" y="148"/>
                  <a:pt x="230" y="148"/>
                </a:cubicBezTo>
                <a:cubicBezTo>
                  <a:pt x="230" y="148"/>
                  <a:pt x="232" y="147"/>
                  <a:pt x="232" y="148"/>
                </a:cubicBezTo>
                <a:cubicBezTo>
                  <a:pt x="232" y="147"/>
                  <a:pt x="233" y="145"/>
                  <a:pt x="233" y="145"/>
                </a:cubicBezTo>
                <a:cubicBezTo>
                  <a:pt x="235" y="145"/>
                  <a:pt x="235" y="145"/>
                  <a:pt x="235" y="145"/>
                </a:cubicBezTo>
                <a:cubicBezTo>
                  <a:pt x="235" y="143"/>
                  <a:pt x="232" y="140"/>
                  <a:pt x="235" y="140"/>
                </a:cubicBezTo>
                <a:cubicBezTo>
                  <a:pt x="235" y="140"/>
                  <a:pt x="235" y="136"/>
                  <a:pt x="235" y="138"/>
                </a:cubicBezTo>
                <a:cubicBezTo>
                  <a:pt x="235" y="138"/>
                  <a:pt x="235" y="135"/>
                  <a:pt x="235" y="135"/>
                </a:cubicBezTo>
                <a:cubicBezTo>
                  <a:pt x="235" y="135"/>
                  <a:pt x="237" y="135"/>
                  <a:pt x="237" y="135"/>
                </a:cubicBezTo>
                <a:cubicBezTo>
                  <a:pt x="237" y="137"/>
                  <a:pt x="237" y="141"/>
                  <a:pt x="237" y="144"/>
                </a:cubicBezTo>
                <a:cubicBezTo>
                  <a:pt x="242" y="143"/>
                  <a:pt x="245" y="145"/>
                  <a:pt x="250" y="142"/>
                </a:cubicBezTo>
                <a:cubicBezTo>
                  <a:pt x="250" y="142"/>
                  <a:pt x="251" y="140"/>
                  <a:pt x="251" y="140"/>
                </a:cubicBezTo>
                <a:cubicBezTo>
                  <a:pt x="252" y="140"/>
                  <a:pt x="253" y="140"/>
                  <a:pt x="254" y="140"/>
                </a:cubicBezTo>
                <a:cubicBezTo>
                  <a:pt x="255" y="140"/>
                  <a:pt x="256" y="142"/>
                  <a:pt x="256" y="142"/>
                </a:cubicBezTo>
                <a:cubicBezTo>
                  <a:pt x="256" y="142"/>
                  <a:pt x="259" y="142"/>
                  <a:pt x="258" y="142"/>
                </a:cubicBezTo>
                <a:cubicBezTo>
                  <a:pt x="262" y="143"/>
                  <a:pt x="262" y="142"/>
                  <a:pt x="265" y="141"/>
                </a:cubicBezTo>
                <a:cubicBezTo>
                  <a:pt x="265" y="141"/>
                  <a:pt x="265" y="139"/>
                  <a:pt x="265" y="139"/>
                </a:cubicBezTo>
                <a:cubicBezTo>
                  <a:pt x="265" y="138"/>
                  <a:pt x="267" y="139"/>
                  <a:pt x="267" y="138"/>
                </a:cubicBezTo>
                <a:cubicBezTo>
                  <a:pt x="267" y="139"/>
                  <a:pt x="267" y="140"/>
                  <a:pt x="267" y="141"/>
                </a:cubicBezTo>
                <a:cubicBezTo>
                  <a:pt x="267" y="142"/>
                  <a:pt x="263" y="146"/>
                  <a:pt x="261" y="147"/>
                </a:cubicBezTo>
                <a:cubicBezTo>
                  <a:pt x="257" y="148"/>
                  <a:pt x="255" y="146"/>
                  <a:pt x="250" y="148"/>
                </a:cubicBezTo>
                <a:cubicBezTo>
                  <a:pt x="250" y="148"/>
                  <a:pt x="247" y="148"/>
                  <a:pt x="246" y="149"/>
                </a:cubicBezTo>
                <a:cubicBezTo>
                  <a:pt x="246" y="149"/>
                  <a:pt x="246" y="151"/>
                  <a:pt x="245" y="151"/>
                </a:cubicBezTo>
                <a:cubicBezTo>
                  <a:pt x="244" y="151"/>
                  <a:pt x="243" y="151"/>
                  <a:pt x="242" y="151"/>
                </a:cubicBezTo>
                <a:cubicBezTo>
                  <a:pt x="239" y="152"/>
                  <a:pt x="237" y="155"/>
                  <a:pt x="240" y="158"/>
                </a:cubicBezTo>
                <a:cubicBezTo>
                  <a:pt x="240" y="158"/>
                  <a:pt x="242" y="159"/>
                  <a:pt x="242" y="160"/>
                </a:cubicBezTo>
                <a:cubicBezTo>
                  <a:pt x="245" y="160"/>
                  <a:pt x="251" y="159"/>
                  <a:pt x="253" y="158"/>
                </a:cubicBezTo>
                <a:cubicBezTo>
                  <a:pt x="254" y="158"/>
                  <a:pt x="254" y="156"/>
                  <a:pt x="255" y="156"/>
                </a:cubicBezTo>
                <a:cubicBezTo>
                  <a:pt x="257" y="154"/>
                  <a:pt x="258" y="155"/>
                  <a:pt x="260" y="154"/>
                </a:cubicBezTo>
                <a:cubicBezTo>
                  <a:pt x="261" y="153"/>
                  <a:pt x="262" y="149"/>
                  <a:pt x="264" y="149"/>
                </a:cubicBezTo>
                <a:cubicBezTo>
                  <a:pt x="266" y="148"/>
                  <a:pt x="267" y="150"/>
                  <a:pt x="269" y="150"/>
                </a:cubicBezTo>
                <a:cubicBezTo>
                  <a:pt x="269" y="149"/>
                  <a:pt x="271" y="148"/>
                  <a:pt x="272" y="148"/>
                </a:cubicBezTo>
                <a:cubicBezTo>
                  <a:pt x="275" y="147"/>
                  <a:pt x="277" y="148"/>
                  <a:pt x="279" y="147"/>
                </a:cubicBezTo>
                <a:cubicBezTo>
                  <a:pt x="279" y="147"/>
                  <a:pt x="280" y="145"/>
                  <a:pt x="280" y="145"/>
                </a:cubicBezTo>
                <a:cubicBezTo>
                  <a:pt x="281" y="145"/>
                  <a:pt x="282" y="145"/>
                  <a:pt x="283" y="145"/>
                </a:cubicBezTo>
                <a:cubicBezTo>
                  <a:pt x="285" y="147"/>
                  <a:pt x="282" y="149"/>
                  <a:pt x="288" y="148"/>
                </a:cubicBezTo>
                <a:cubicBezTo>
                  <a:pt x="291" y="148"/>
                  <a:pt x="292" y="144"/>
                  <a:pt x="292" y="144"/>
                </a:cubicBezTo>
                <a:cubicBezTo>
                  <a:pt x="293" y="144"/>
                  <a:pt x="295" y="145"/>
                  <a:pt x="296" y="146"/>
                </a:cubicBezTo>
                <a:cubicBezTo>
                  <a:pt x="300" y="146"/>
                  <a:pt x="303" y="144"/>
                  <a:pt x="305" y="146"/>
                </a:cubicBezTo>
                <a:cubicBezTo>
                  <a:pt x="306" y="146"/>
                  <a:pt x="306" y="146"/>
                  <a:pt x="306" y="146"/>
                </a:cubicBezTo>
                <a:cubicBezTo>
                  <a:pt x="306" y="145"/>
                  <a:pt x="307" y="143"/>
                  <a:pt x="308" y="143"/>
                </a:cubicBezTo>
                <a:cubicBezTo>
                  <a:pt x="308" y="142"/>
                  <a:pt x="309" y="143"/>
                  <a:pt x="310" y="142"/>
                </a:cubicBezTo>
                <a:cubicBezTo>
                  <a:pt x="309" y="137"/>
                  <a:pt x="309" y="130"/>
                  <a:pt x="306" y="126"/>
                </a:cubicBezTo>
                <a:cubicBezTo>
                  <a:pt x="306" y="125"/>
                  <a:pt x="304" y="125"/>
                  <a:pt x="303" y="124"/>
                </a:cubicBezTo>
                <a:cubicBezTo>
                  <a:pt x="304" y="123"/>
                  <a:pt x="301" y="124"/>
                  <a:pt x="301" y="124"/>
                </a:cubicBezTo>
                <a:cubicBezTo>
                  <a:pt x="301" y="126"/>
                  <a:pt x="301" y="127"/>
                  <a:pt x="301" y="128"/>
                </a:cubicBezTo>
                <a:cubicBezTo>
                  <a:pt x="302" y="129"/>
                  <a:pt x="302" y="129"/>
                  <a:pt x="302" y="129"/>
                </a:cubicBezTo>
                <a:cubicBezTo>
                  <a:pt x="302" y="131"/>
                  <a:pt x="301" y="130"/>
                  <a:pt x="300" y="132"/>
                </a:cubicBezTo>
                <a:cubicBezTo>
                  <a:pt x="300" y="132"/>
                  <a:pt x="300" y="134"/>
                  <a:pt x="300" y="134"/>
                </a:cubicBezTo>
                <a:cubicBezTo>
                  <a:pt x="300" y="134"/>
                  <a:pt x="299" y="136"/>
                  <a:pt x="299" y="136"/>
                </a:cubicBezTo>
                <a:cubicBezTo>
                  <a:pt x="298" y="133"/>
                  <a:pt x="298" y="132"/>
                  <a:pt x="298" y="130"/>
                </a:cubicBezTo>
                <a:cubicBezTo>
                  <a:pt x="296" y="130"/>
                  <a:pt x="295" y="131"/>
                  <a:pt x="294" y="131"/>
                </a:cubicBezTo>
                <a:cubicBezTo>
                  <a:pt x="294" y="129"/>
                  <a:pt x="295" y="126"/>
                  <a:pt x="294" y="124"/>
                </a:cubicBezTo>
                <a:cubicBezTo>
                  <a:pt x="294" y="123"/>
                  <a:pt x="294" y="123"/>
                  <a:pt x="294" y="123"/>
                </a:cubicBezTo>
                <a:cubicBezTo>
                  <a:pt x="293" y="123"/>
                  <a:pt x="292" y="123"/>
                  <a:pt x="291" y="123"/>
                </a:cubicBezTo>
                <a:cubicBezTo>
                  <a:pt x="291" y="123"/>
                  <a:pt x="291" y="125"/>
                  <a:pt x="290" y="125"/>
                </a:cubicBezTo>
                <a:cubicBezTo>
                  <a:pt x="289" y="126"/>
                  <a:pt x="289" y="125"/>
                  <a:pt x="288" y="126"/>
                </a:cubicBezTo>
                <a:cubicBezTo>
                  <a:pt x="286" y="124"/>
                  <a:pt x="285" y="122"/>
                  <a:pt x="284" y="121"/>
                </a:cubicBezTo>
                <a:cubicBezTo>
                  <a:pt x="282" y="120"/>
                  <a:pt x="281" y="120"/>
                  <a:pt x="280" y="119"/>
                </a:cubicBezTo>
                <a:cubicBezTo>
                  <a:pt x="278" y="117"/>
                  <a:pt x="280" y="111"/>
                  <a:pt x="276" y="110"/>
                </a:cubicBezTo>
                <a:close/>
                <a:moveTo>
                  <a:pt x="213" y="94"/>
                </a:moveTo>
                <a:cubicBezTo>
                  <a:pt x="213" y="94"/>
                  <a:pt x="212" y="96"/>
                  <a:pt x="212" y="96"/>
                </a:cubicBezTo>
                <a:cubicBezTo>
                  <a:pt x="211" y="97"/>
                  <a:pt x="210" y="96"/>
                  <a:pt x="208" y="97"/>
                </a:cubicBezTo>
                <a:cubicBezTo>
                  <a:pt x="211" y="99"/>
                  <a:pt x="209" y="100"/>
                  <a:pt x="207" y="102"/>
                </a:cubicBezTo>
                <a:cubicBezTo>
                  <a:pt x="202" y="100"/>
                  <a:pt x="195" y="99"/>
                  <a:pt x="189" y="101"/>
                </a:cubicBezTo>
                <a:cubicBezTo>
                  <a:pt x="185" y="102"/>
                  <a:pt x="182" y="107"/>
                  <a:pt x="179" y="109"/>
                </a:cubicBezTo>
                <a:cubicBezTo>
                  <a:pt x="175" y="111"/>
                  <a:pt x="174" y="111"/>
                  <a:pt x="171" y="111"/>
                </a:cubicBezTo>
                <a:cubicBezTo>
                  <a:pt x="170" y="112"/>
                  <a:pt x="171" y="114"/>
                  <a:pt x="169" y="114"/>
                </a:cubicBezTo>
                <a:cubicBezTo>
                  <a:pt x="169" y="115"/>
                  <a:pt x="167" y="114"/>
                  <a:pt x="167" y="114"/>
                </a:cubicBezTo>
                <a:cubicBezTo>
                  <a:pt x="165" y="116"/>
                  <a:pt x="165" y="118"/>
                  <a:pt x="165" y="120"/>
                </a:cubicBezTo>
                <a:cubicBezTo>
                  <a:pt x="162" y="120"/>
                  <a:pt x="161" y="119"/>
                  <a:pt x="159" y="120"/>
                </a:cubicBezTo>
                <a:cubicBezTo>
                  <a:pt x="158" y="121"/>
                  <a:pt x="157" y="122"/>
                  <a:pt x="157" y="122"/>
                </a:cubicBezTo>
                <a:cubicBezTo>
                  <a:pt x="155" y="123"/>
                  <a:pt x="154" y="122"/>
                  <a:pt x="153" y="123"/>
                </a:cubicBezTo>
                <a:cubicBezTo>
                  <a:pt x="152" y="123"/>
                  <a:pt x="152" y="125"/>
                  <a:pt x="152" y="125"/>
                </a:cubicBezTo>
                <a:cubicBezTo>
                  <a:pt x="153" y="125"/>
                  <a:pt x="155" y="125"/>
                  <a:pt x="156" y="126"/>
                </a:cubicBezTo>
                <a:cubicBezTo>
                  <a:pt x="157" y="126"/>
                  <a:pt x="160" y="133"/>
                  <a:pt x="161" y="134"/>
                </a:cubicBezTo>
                <a:cubicBezTo>
                  <a:pt x="161" y="133"/>
                  <a:pt x="163" y="134"/>
                  <a:pt x="163" y="134"/>
                </a:cubicBezTo>
                <a:cubicBezTo>
                  <a:pt x="164" y="133"/>
                  <a:pt x="165" y="131"/>
                  <a:pt x="165" y="131"/>
                </a:cubicBezTo>
                <a:cubicBezTo>
                  <a:pt x="170" y="130"/>
                  <a:pt x="169" y="132"/>
                  <a:pt x="170" y="133"/>
                </a:cubicBezTo>
                <a:cubicBezTo>
                  <a:pt x="170" y="133"/>
                  <a:pt x="173" y="133"/>
                  <a:pt x="172" y="132"/>
                </a:cubicBezTo>
                <a:cubicBezTo>
                  <a:pt x="172" y="132"/>
                  <a:pt x="174" y="132"/>
                  <a:pt x="174" y="132"/>
                </a:cubicBezTo>
                <a:cubicBezTo>
                  <a:pt x="175" y="130"/>
                  <a:pt x="174" y="131"/>
                  <a:pt x="176" y="130"/>
                </a:cubicBezTo>
                <a:cubicBezTo>
                  <a:pt x="177" y="131"/>
                  <a:pt x="176" y="131"/>
                  <a:pt x="177" y="132"/>
                </a:cubicBezTo>
                <a:cubicBezTo>
                  <a:pt x="177" y="128"/>
                  <a:pt x="177" y="128"/>
                  <a:pt x="177" y="128"/>
                </a:cubicBezTo>
                <a:cubicBezTo>
                  <a:pt x="176" y="128"/>
                  <a:pt x="176" y="124"/>
                  <a:pt x="178" y="126"/>
                </a:cubicBezTo>
                <a:cubicBezTo>
                  <a:pt x="179" y="126"/>
                  <a:pt x="180" y="132"/>
                  <a:pt x="181" y="133"/>
                </a:cubicBezTo>
                <a:cubicBezTo>
                  <a:pt x="182" y="134"/>
                  <a:pt x="182" y="134"/>
                  <a:pt x="182" y="134"/>
                </a:cubicBezTo>
                <a:cubicBezTo>
                  <a:pt x="187" y="131"/>
                  <a:pt x="188" y="128"/>
                  <a:pt x="188" y="122"/>
                </a:cubicBezTo>
                <a:cubicBezTo>
                  <a:pt x="188" y="123"/>
                  <a:pt x="190" y="125"/>
                  <a:pt x="190" y="126"/>
                </a:cubicBezTo>
                <a:cubicBezTo>
                  <a:pt x="189" y="127"/>
                  <a:pt x="192" y="126"/>
                  <a:pt x="192" y="126"/>
                </a:cubicBezTo>
                <a:cubicBezTo>
                  <a:pt x="192" y="125"/>
                  <a:pt x="192" y="124"/>
                  <a:pt x="192" y="124"/>
                </a:cubicBezTo>
                <a:cubicBezTo>
                  <a:pt x="193" y="123"/>
                  <a:pt x="194" y="123"/>
                  <a:pt x="195" y="123"/>
                </a:cubicBezTo>
                <a:cubicBezTo>
                  <a:pt x="194" y="120"/>
                  <a:pt x="195" y="120"/>
                  <a:pt x="194" y="117"/>
                </a:cubicBezTo>
                <a:cubicBezTo>
                  <a:pt x="194" y="117"/>
                  <a:pt x="195" y="116"/>
                  <a:pt x="195" y="116"/>
                </a:cubicBezTo>
                <a:cubicBezTo>
                  <a:pt x="195" y="115"/>
                  <a:pt x="195" y="115"/>
                  <a:pt x="195" y="115"/>
                </a:cubicBezTo>
                <a:cubicBezTo>
                  <a:pt x="197" y="115"/>
                  <a:pt x="196" y="116"/>
                  <a:pt x="197" y="117"/>
                </a:cubicBezTo>
                <a:cubicBezTo>
                  <a:pt x="197" y="117"/>
                  <a:pt x="199" y="116"/>
                  <a:pt x="199" y="116"/>
                </a:cubicBezTo>
                <a:cubicBezTo>
                  <a:pt x="199" y="116"/>
                  <a:pt x="199" y="114"/>
                  <a:pt x="199" y="113"/>
                </a:cubicBezTo>
                <a:cubicBezTo>
                  <a:pt x="200" y="112"/>
                  <a:pt x="201" y="113"/>
                  <a:pt x="201" y="112"/>
                </a:cubicBezTo>
                <a:cubicBezTo>
                  <a:pt x="202" y="112"/>
                  <a:pt x="203" y="112"/>
                  <a:pt x="203" y="112"/>
                </a:cubicBezTo>
                <a:cubicBezTo>
                  <a:pt x="202" y="115"/>
                  <a:pt x="201" y="117"/>
                  <a:pt x="200" y="120"/>
                </a:cubicBezTo>
                <a:cubicBezTo>
                  <a:pt x="201" y="121"/>
                  <a:pt x="203" y="122"/>
                  <a:pt x="205" y="123"/>
                </a:cubicBezTo>
                <a:cubicBezTo>
                  <a:pt x="208" y="117"/>
                  <a:pt x="206" y="121"/>
                  <a:pt x="211" y="119"/>
                </a:cubicBezTo>
                <a:cubicBezTo>
                  <a:pt x="215" y="117"/>
                  <a:pt x="212" y="109"/>
                  <a:pt x="215" y="109"/>
                </a:cubicBezTo>
                <a:cubicBezTo>
                  <a:pt x="221" y="112"/>
                  <a:pt x="221" y="112"/>
                  <a:pt x="221" y="112"/>
                </a:cubicBezTo>
                <a:cubicBezTo>
                  <a:pt x="221" y="110"/>
                  <a:pt x="220" y="110"/>
                  <a:pt x="220" y="110"/>
                </a:cubicBezTo>
                <a:cubicBezTo>
                  <a:pt x="220" y="109"/>
                  <a:pt x="220" y="108"/>
                  <a:pt x="220" y="108"/>
                </a:cubicBezTo>
                <a:cubicBezTo>
                  <a:pt x="220" y="107"/>
                  <a:pt x="221" y="107"/>
                  <a:pt x="222" y="107"/>
                </a:cubicBezTo>
                <a:cubicBezTo>
                  <a:pt x="223" y="106"/>
                  <a:pt x="223" y="103"/>
                  <a:pt x="224" y="102"/>
                </a:cubicBezTo>
                <a:cubicBezTo>
                  <a:pt x="222" y="99"/>
                  <a:pt x="218" y="93"/>
                  <a:pt x="213" y="94"/>
                </a:cubicBezTo>
                <a:close/>
                <a:moveTo>
                  <a:pt x="269" y="92"/>
                </a:moveTo>
                <a:cubicBezTo>
                  <a:pt x="268" y="92"/>
                  <a:pt x="267" y="94"/>
                  <a:pt x="266" y="94"/>
                </a:cubicBezTo>
                <a:cubicBezTo>
                  <a:pt x="264" y="95"/>
                  <a:pt x="264" y="93"/>
                  <a:pt x="262" y="94"/>
                </a:cubicBezTo>
                <a:cubicBezTo>
                  <a:pt x="260" y="95"/>
                  <a:pt x="260" y="95"/>
                  <a:pt x="260" y="95"/>
                </a:cubicBezTo>
                <a:cubicBezTo>
                  <a:pt x="259" y="96"/>
                  <a:pt x="258" y="95"/>
                  <a:pt x="256" y="96"/>
                </a:cubicBezTo>
                <a:cubicBezTo>
                  <a:pt x="256" y="96"/>
                  <a:pt x="256" y="97"/>
                  <a:pt x="256" y="97"/>
                </a:cubicBezTo>
                <a:cubicBezTo>
                  <a:pt x="253" y="99"/>
                  <a:pt x="250" y="99"/>
                  <a:pt x="245" y="100"/>
                </a:cubicBezTo>
                <a:cubicBezTo>
                  <a:pt x="245" y="103"/>
                  <a:pt x="245" y="107"/>
                  <a:pt x="245" y="110"/>
                </a:cubicBezTo>
                <a:cubicBezTo>
                  <a:pt x="246" y="110"/>
                  <a:pt x="247" y="110"/>
                  <a:pt x="248" y="110"/>
                </a:cubicBezTo>
                <a:cubicBezTo>
                  <a:pt x="249" y="111"/>
                  <a:pt x="253" y="114"/>
                  <a:pt x="255" y="114"/>
                </a:cubicBezTo>
                <a:cubicBezTo>
                  <a:pt x="258" y="114"/>
                  <a:pt x="261" y="111"/>
                  <a:pt x="263" y="110"/>
                </a:cubicBezTo>
                <a:cubicBezTo>
                  <a:pt x="265" y="110"/>
                  <a:pt x="266" y="111"/>
                  <a:pt x="268" y="110"/>
                </a:cubicBezTo>
                <a:cubicBezTo>
                  <a:pt x="268" y="110"/>
                  <a:pt x="270" y="108"/>
                  <a:pt x="271" y="107"/>
                </a:cubicBezTo>
                <a:cubicBezTo>
                  <a:pt x="271" y="106"/>
                  <a:pt x="271" y="105"/>
                  <a:pt x="271" y="104"/>
                </a:cubicBezTo>
                <a:cubicBezTo>
                  <a:pt x="271" y="103"/>
                  <a:pt x="266" y="101"/>
                  <a:pt x="268" y="100"/>
                </a:cubicBezTo>
                <a:cubicBezTo>
                  <a:pt x="269" y="100"/>
                  <a:pt x="273" y="100"/>
                  <a:pt x="274" y="100"/>
                </a:cubicBezTo>
                <a:cubicBezTo>
                  <a:pt x="275" y="99"/>
                  <a:pt x="276" y="96"/>
                  <a:pt x="276" y="94"/>
                </a:cubicBezTo>
                <a:cubicBezTo>
                  <a:pt x="275" y="93"/>
                  <a:pt x="274" y="94"/>
                  <a:pt x="272" y="94"/>
                </a:cubicBezTo>
                <a:cubicBezTo>
                  <a:pt x="272" y="93"/>
                  <a:pt x="271" y="92"/>
                  <a:pt x="269" y="92"/>
                </a:cubicBezTo>
                <a:close/>
                <a:moveTo>
                  <a:pt x="231" y="90"/>
                </a:moveTo>
                <a:cubicBezTo>
                  <a:pt x="226" y="90"/>
                  <a:pt x="224" y="97"/>
                  <a:pt x="229" y="100"/>
                </a:cubicBezTo>
                <a:cubicBezTo>
                  <a:pt x="230" y="101"/>
                  <a:pt x="232" y="100"/>
                  <a:pt x="235" y="100"/>
                </a:cubicBezTo>
                <a:cubicBezTo>
                  <a:pt x="235" y="100"/>
                  <a:pt x="237" y="97"/>
                  <a:pt x="237" y="97"/>
                </a:cubicBezTo>
                <a:cubicBezTo>
                  <a:pt x="238" y="94"/>
                  <a:pt x="234" y="90"/>
                  <a:pt x="231" y="90"/>
                </a:cubicBezTo>
                <a:close/>
                <a:moveTo>
                  <a:pt x="250" y="84"/>
                </a:moveTo>
                <a:cubicBezTo>
                  <a:pt x="250" y="85"/>
                  <a:pt x="250" y="85"/>
                  <a:pt x="250" y="85"/>
                </a:cubicBezTo>
                <a:cubicBezTo>
                  <a:pt x="245" y="85"/>
                  <a:pt x="245" y="85"/>
                  <a:pt x="242" y="87"/>
                </a:cubicBezTo>
                <a:cubicBezTo>
                  <a:pt x="242" y="88"/>
                  <a:pt x="242" y="88"/>
                  <a:pt x="241" y="89"/>
                </a:cubicBezTo>
                <a:cubicBezTo>
                  <a:pt x="242" y="89"/>
                  <a:pt x="242" y="90"/>
                  <a:pt x="244" y="90"/>
                </a:cubicBezTo>
                <a:cubicBezTo>
                  <a:pt x="246" y="89"/>
                  <a:pt x="246" y="89"/>
                  <a:pt x="246" y="89"/>
                </a:cubicBezTo>
                <a:cubicBezTo>
                  <a:pt x="246" y="89"/>
                  <a:pt x="252" y="89"/>
                  <a:pt x="253" y="89"/>
                </a:cubicBezTo>
                <a:cubicBezTo>
                  <a:pt x="254" y="89"/>
                  <a:pt x="254" y="91"/>
                  <a:pt x="254" y="92"/>
                </a:cubicBezTo>
                <a:cubicBezTo>
                  <a:pt x="256" y="92"/>
                  <a:pt x="257" y="92"/>
                  <a:pt x="258" y="92"/>
                </a:cubicBezTo>
                <a:cubicBezTo>
                  <a:pt x="258" y="92"/>
                  <a:pt x="258" y="91"/>
                  <a:pt x="258" y="90"/>
                </a:cubicBezTo>
                <a:cubicBezTo>
                  <a:pt x="258" y="89"/>
                  <a:pt x="260" y="89"/>
                  <a:pt x="261" y="88"/>
                </a:cubicBezTo>
                <a:cubicBezTo>
                  <a:pt x="261" y="88"/>
                  <a:pt x="262" y="87"/>
                  <a:pt x="260" y="88"/>
                </a:cubicBezTo>
                <a:cubicBezTo>
                  <a:pt x="260" y="86"/>
                  <a:pt x="260" y="87"/>
                  <a:pt x="260" y="85"/>
                </a:cubicBezTo>
                <a:cubicBezTo>
                  <a:pt x="259" y="85"/>
                  <a:pt x="257" y="85"/>
                  <a:pt x="256" y="85"/>
                </a:cubicBezTo>
                <a:cubicBezTo>
                  <a:pt x="254" y="85"/>
                  <a:pt x="253" y="83"/>
                  <a:pt x="250" y="84"/>
                </a:cubicBezTo>
                <a:close/>
              </a:path>
            </a:pathLst>
          </a:custGeom>
          <a:solidFill>
            <a:srgbClr val="A5A5A5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1" name="Google Shape;581;p102"/>
          <p:cNvSpPr/>
          <p:nvPr/>
        </p:nvSpPr>
        <p:spPr>
          <a:xfrm>
            <a:off x="6446491" y="4309596"/>
            <a:ext cx="206183" cy="331029"/>
          </a:xfrm>
          <a:custGeom>
            <a:avLst/>
            <a:gdLst/>
            <a:ahLst/>
            <a:cxnLst/>
            <a:rect l="l" t="t" r="r" b="b"/>
            <a:pathLst>
              <a:path w="72" h="120" extrusionOk="0">
                <a:moveTo>
                  <a:pt x="1" y="95"/>
                </a:moveTo>
                <a:cubicBezTo>
                  <a:pt x="2" y="95"/>
                  <a:pt x="2" y="97"/>
                  <a:pt x="2" y="97"/>
                </a:cubicBezTo>
                <a:cubicBezTo>
                  <a:pt x="3" y="97"/>
                  <a:pt x="5" y="95"/>
                  <a:pt x="6" y="95"/>
                </a:cubicBezTo>
                <a:cubicBezTo>
                  <a:pt x="7" y="95"/>
                  <a:pt x="6" y="97"/>
                  <a:pt x="6" y="97"/>
                </a:cubicBezTo>
                <a:cubicBezTo>
                  <a:pt x="4" y="103"/>
                  <a:pt x="10" y="101"/>
                  <a:pt x="13" y="100"/>
                </a:cubicBezTo>
                <a:cubicBezTo>
                  <a:pt x="12" y="101"/>
                  <a:pt x="12" y="102"/>
                  <a:pt x="11" y="103"/>
                </a:cubicBezTo>
                <a:cubicBezTo>
                  <a:pt x="11" y="103"/>
                  <a:pt x="13" y="109"/>
                  <a:pt x="14" y="109"/>
                </a:cubicBezTo>
                <a:cubicBezTo>
                  <a:pt x="15" y="110"/>
                  <a:pt x="15" y="110"/>
                  <a:pt x="15" y="110"/>
                </a:cubicBezTo>
                <a:cubicBezTo>
                  <a:pt x="15" y="110"/>
                  <a:pt x="15" y="115"/>
                  <a:pt x="14" y="118"/>
                </a:cubicBezTo>
                <a:cubicBezTo>
                  <a:pt x="29" y="118"/>
                  <a:pt x="29" y="118"/>
                  <a:pt x="29" y="118"/>
                </a:cubicBezTo>
                <a:cubicBezTo>
                  <a:pt x="29" y="118"/>
                  <a:pt x="32" y="118"/>
                  <a:pt x="34" y="117"/>
                </a:cubicBezTo>
                <a:cubicBezTo>
                  <a:pt x="35" y="116"/>
                  <a:pt x="36" y="118"/>
                  <a:pt x="39" y="116"/>
                </a:cubicBezTo>
                <a:cubicBezTo>
                  <a:pt x="42" y="115"/>
                  <a:pt x="45" y="116"/>
                  <a:pt x="45" y="116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4" y="115"/>
                  <a:pt x="57" y="116"/>
                  <a:pt x="58" y="117"/>
                </a:cubicBezTo>
                <a:cubicBezTo>
                  <a:pt x="59" y="119"/>
                  <a:pt x="59" y="119"/>
                  <a:pt x="61" y="119"/>
                </a:cubicBezTo>
                <a:cubicBezTo>
                  <a:pt x="63" y="119"/>
                  <a:pt x="64" y="118"/>
                  <a:pt x="66" y="119"/>
                </a:cubicBezTo>
                <a:cubicBezTo>
                  <a:pt x="69" y="119"/>
                  <a:pt x="71" y="120"/>
                  <a:pt x="71" y="120"/>
                </a:cubicBezTo>
                <a:cubicBezTo>
                  <a:pt x="71" y="120"/>
                  <a:pt x="70" y="117"/>
                  <a:pt x="70" y="116"/>
                </a:cubicBezTo>
                <a:cubicBezTo>
                  <a:pt x="69" y="114"/>
                  <a:pt x="72" y="111"/>
                  <a:pt x="72" y="111"/>
                </a:cubicBezTo>
                <a:cubicBezTo>
                  <a:pt x="72" y="111"/>
                  <a:pt x="68" y="108"/>
                  <a:pt x="66" y="104"/>
                </a:cubicBezTo>
                <a:cubicBezTo>
                  <a:pt x="64" y="101"/>
                  <a:pt x="64" y="102"/>
                  <a:pt x="61" y="99"/>
                </a:cubicBezTo>
                <a:cubicBezTo>
                  <a:pt x="58" y="96"/>
                  <a:pt x="59" y="95"/>
                  <a:pt x="57" y="92"/>
                </a:cubicBezTo>
                <a:cubicBezTo>
                  <a:pt x="55" y="89"/>
                  <a:pt x="54" y="86"/>
                  <a:pt x="53" y="84"/>
                </a:cubicBezTo>
                <a:cubicBezTo>
                  <a:pt x="53" y="81"/>
                  <a:pt x="51" y="81"/>
                  <a:pt x="50" y="80"/>
                </a:cubicBezTo>
                <a:cubicBezTo>
                  <a:pt x="48" y="79"/>
                  <a:pt x="49" y="77"/>
                  <a:pt x="52" y="76"/>
                </a:cubicBezTo>
                <a:cubicBezTo>
                  <a:pt x="54" y="75"/>
                  <a:pt x="58" y="65"/>
                  <a:pt x="58" y="65"/>
                </a:cubicBezTo>
                <a:cubicBezTo>
                  <a:pt x="60" y="59"/>
                  <a:pt x="60" y="59"/>
                  <a:pt x="60" y="59"/>
                </a:cubicBezTo>
                <a:cubicBezTo>
                  <a:pt x="60" y="59"/>
                  <a:pt x="59" y="52"/>
                  <a:pt x="58" y="51"/>
                </a:cubicBezTo>
                <a:cubicBezTo>
                  <a:pt x="56" y="50"/>
                  <a:pt x="53" y="45"/>
                  <a:pt x="51" y="44"/>
                </a:cubicBezTo>
                <a:cubicBezTo>
                  <a:pt x="50" y="43"/>
                  <a:pt x="51" y="40"/>
                  <a:pt x="53" y="38"/>
                </a:cubicBezTo>
                <a:cubicBezTo>
                  <a:pt x="55" y="37"/>
                  <a:pt x="64" y="38"/>
                  <a:pt x="64" y="38"/>
                </a:cubicBezTo>
                <a:cubicBezTo>
                  <a:pt x="64" y="38"/>
                  <a:pt x="64" y="36"/>
                  <a:pt x="63" y="34"/>
                </a:cubicBezTo>
                <a:cubicBezTo>
                  <a:pt x="62" y="32"/>
                  <a:pt x="63" y="30"/>
                  <a:pt x="62" y="29"/>
                </a:cubicBezTo>
                <a:cubicBezTo>
                  <a:pt x="61" y="27"/>
                  <a:pt x="60" y="24"/>
                  <a:pt x="60" y="21"/>
                </a:cubicBezTo>
                <a:cubicBezTo>
                  <a:pt x="60" y="19"/>
                  <a:pt x="61" y="18"/>
                  <a:pt x="61" y="18"/>
                </a:cubicBezTo>
                <a:cubicBezTo>
                  <a:pt x="61" y="18"/>
                  <a:pt x="61" y="17"/>
                  <a:pt x="61" y="15"/>
                </a:cubicBezTo>
                <a:cubicBezTo>
                  <a:pt x="62" y="14"/>
                  <a:pt x="61" y="12"/>
                  <a:pt x="60" y="11"/>
                </a:cubicBezTo>
                <a:cubicBezTo>
                  <a:pt x="58" y="9"/>
                  <a:pt x="60" y="8"/>
                  <a:pt x="59" y="6"/>
                </a:cubicBezTo>
                <a:cubicBezTo>
                  <a:pt x="57" y="4"/>
                  <a:pt x="53" y="0"/>
                  <a:pt x="53" y="0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8"/>
                  <a:pt x="55" y="9"/>
                  <a:pt x="55" y="11"/>
                </a:cubicBezTo>
                <a:cubicBezTo>
                  <a:pt x="55" y="12"/>
                  <a:pt x="54" y="19"/>
                  <a:pt x="52" y="19"/>
                </a:cubicBezTo>
                <a:cubicBezTo>
                  <a:pt x="50" y="19"/>
                  <a:pt x="49" y="19"/>
                  <a:pt x="49" y="21"/>
                </a:cubicBezTo>
                <a:cubicBezTo>
                  <a:pt x="49" y="22"/>
                  <a:pt x="47" y="24"/>
                  <a:pt x="46" y="26"/>
                </a:cubicBezTo>
                <a:cubicBezTo>
                  <a:pt x="44" y="27"/>
                  <a:pt x="46" y="28"/>
                  <a:pt x="45" y="30"/>
                </a:cubicBezTo>
                <a:cubicBezTo>
                  <a:pt x="44" y="32"/>
                  <a:pt x="44" y="34"/>
                  <a:pt x="43" y="34"/>
                </a:cubicBezTo>
                <a:cubicBezTo>
                  <a:pt x="41" y="35"/>
                  <a:pt x="41" y="38"/>
                  <a:pt x="41" y="38"/>
                </a:cubicBezTo>
                <a:cubicBezTo>
                  <a:pt x="41" y="38"/>
                  <a:pt x="43" y="41"/>
                  <a:pt x="41" y="42"/>
                </a:cubicBezTo>
                <a:cubicBezTo>
                  <a:pt x="40" y="43"/>
                  <a:pt x="37" y="45"/>
                  <a:pt x="35" y="45"/>
                </a:cubicBezTo>
                <a:cubicBezTo>
                  <a:pt x="33" y="46"/>
                  <a:pt x="33" y="46"/>
                  <a:pt x="32" y="49"/>
                </a:cubicBezTo>
                <a:cubicBezTo>
                  <a:pt x="32" y="52"/>
                  <a:pt x="33" y="53"/>
                  <a:pt x="31" y="55"/>
                </a:cubicBezTo>
                <a:cubicBezTo>
                  <a:pt x="29" y="56"/>
                  <a:pt x="30" y="56"/>
                  <a:pt x="29" y="59"/>
                </a:cubicBezTo>
                <a:cubicBezTo>
                  <a:pt x="28" y="62"/>
                  <a:pt x="26" y="61"/>
                  <a:pt x="25" y="63"/>
                </a:cubicBezTo>
                <a:cubicBezTo>
                  <a:pt x="24" y="66"/>
                  <a:pt x="23" y="67"/>
                  <a:pt x="23" y="69"/>
                </a:cubicBezTo>
                <a:cubicBezTo>
                  <a:pt x="23" y="71"/>
                  <a:pt x="25" y="73"/>
                  <a:pt x="23" y="74"/>
                </a:cubicBezTo>
                <a:cubicBezTo>
                  <a:pt x="21" y="75"/>
                  <a:pt x="21" y="80"/>
                  <a:pt x="17" y="79"/>
                </a:cubicBezTo>
                <a:cubicBezTo>
                  <a:pt x="17" y="77"/>
                  <a:pt x="18" y="74"/>
                  <a:pt x="16" y="73"/>
                </a:cubicBezTo>
                <a:cubicBezTo>
                  <a:pt x="14" y="72"/>
                  <a:pt x="13" y="72"/>
                  <a:pt x="13" y="72"/>
                </a:cubicBezTo>
                <a:cubicBezTo>
                  <a:pt x="13" y="72"/>
                  <a:pt x="12" y="71"/>
                  <a:pt x="10" y="73"/>
                </a:cubicBezTo>
                <a:cubicBezTo>
                  <a:pt x="8" y="75"/>
                  <a:pt x="4" y="74"/>
                  <a:pt x="4" y="76"/>
                </a:cubicBezTo>
                <a:cubicBezTo>
                  <a:pt x="3" y="79"/>
                  <a:pt x="3" y="82"/>
                  <a:pt x="2" y="82"/>
                </a:cubicBezTo>
                <a:cubicBezTo>
                  <a:pt x="0" y="83"/>
                  <a:pt x="1" y="83"/>
                  <a:pt x="1" y="85"/>
                </a:cubicBezTo>
                <a:cubicBezTo>
                  <a:pt x="1" y="87"/>
                  <a:pt x="2" y="88"/>
                  <a:pt x="2" y="88"/>
                </a:cubicBezTo>
                <a:cubicBezTo>
                  <a:pt x="1" y="91"/>
                  <a:pt x="1" y="91"/>
                  <a:pt x="1" y="91"/>
                </a:cubicBezTo>
                <a:lnTo>
                  <a:pt x="1" y="95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2" name="Google Shape;582;p102"/>
          <p:cNvSpPr/>
          <p:nvPr/>
        </p:nvSpPr>
        <p:spPr>
          <a:xfrm>
            <a:off x="8781517" y="4269734"/>
            <a:ext cx="135738" cy="142117"/>
          </a:xfrm>
          <a:custGeom>
            <a:avLst/>
            <a:gdLst/>
            <a:ahLst/>
            <a:cxnLst/>
            <a:rect l="l" t="t" r="r" b="b"/>
            <a:pathLst>
              <a:path w="47" h="51" extrusionOk="0">
                <a:moveTo>
                  <a:pt x="5" y="39"/>
                </a:moveTo>
                <a:cubicBezTo>
                  <a:pt x="5" y="40"/>
                  <a:pt x="6" y="42"/>
                  <a:pt x="7" y="43"/>
                </a:cubicBezTo>
                <a:cubicBezTo>
                  <a:pt x="8" y="43"/>
                  <a:pt x="8" y="43"/>
                  <a:pt x="8" y="43"/>
                </a:cubicBezTo>
                <a:cubicBezTo>
                  <a:pt x="9" y="44"/>
                  <a:pt x="9" y="47"/>
                  <a:pt x="9" y="48"/>
                </a:cubicBezTo>
                <a:cubicBezTo>
                  <a:pt x="11" y="48"/>
                  <a:pt x="11" y="47"/>
                  <a:pt x="13" y="47"/>
                </a:cubicBezTo>
                <a:cubicBezTo>
                  <a:pt x="13" y="48"/>
                  <a:pt x="13" y="49"/>
                  <a:pt x="13" y="50"/>
                </a:cubicBezTo>
                <a:cubicBezTo>
                  <a:pt x="15" y="50"/>
                  <a:pt x="16" y="50"/>
                  <a:pt x="17" y="51"/>
                </a:cubicBezTo>
                <a:cubicBezTo>
                  <a:pt x="17" y="51"/>
                  <a:pt x="17" y="51"/>
                  <a:pt x="17" y="51"/>
                </a:cubicBezTo>
                <a:cubicBezTo>
                  <a:pt x="21" y="46"/>
                  <a:pt x="21" y="46"/>
                  <a:pt x="21" y="46"/>
                </a:cubicBezTo>
                <a:cubicBezTo>
                  <a:pt x="24" y="45"/>
                  <a:pt x="24" y="45"/>
                  <a:pt x="24" y="45"/>
                </a:cubicBezTo>
                <a:cubicBezTo>
                  <a:pt x="25" y="43"/>
                  <a:pt x="25" y="43"/>
                  <a:pt x="25" y="43"/>
                </a:cubicBezTo>
                <a:cubicBezTo>
                  <a:pt x="31" y="42"/>
                  <a:pt x="31" y="42"/>
                  <a:pt x="31" y="42"/>
                </a:cubicBezTo>
                <a:cubicBezTo>
                  <a:pt x="34" y="44"/>
                  <a:pt x="34" y="44"/>
                  <a:pt x="34" y="44"/>
                </a:cubicBezTo>
                <a:cubicBezTo>
                  <a:pt x="35" y="40"/>
                  <a:pt x="35" y="40"/>
                  <a:pt x="35" y="40"/>
                </a:cubicBezTo>
                <a:cubicBezTo>
                  <a:pt x="37" y="39"/>
                  <a:pt x="37" y="39"/>
                  <a:pt x="37" y="39"/>
                </a:cubicBezTo>
                <a:cubicBezTo>
                  <a:pt x="42" y="37"/>
                  <a:pt x="42" y="37"/>
                  <a:pt x="42" y="37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31"/>
                  <a:pt x="44" y="31"/>
                  <a:pt x="44" y="31"/>
                </a:cubicBezTo>
                <a:cubicBezTo>
                  <a:pt x="45" y="26"/>
                  <a:pt x="45" y="26"/>
                  <a:pt x="45" y="26"/>
                </a:cubicBezTo>
                <a:cubicBezTo>
                  <a:pt x="47" y="21"/>
                  <a:pt x="47" y="21"/>
                  <a:pt x="47" y="21"/>
                </a:cubicBezTo>
                <a:cubicBezTo>
                  <a:pt x="46" y="17"/>
                  <a:pt x="46" y="17"/>
                  <a:pt x="46" y="17"/>
                </a:cubicBezTo>
                <a:cubicBezTo>
                  <a:pt x="45" y="12"/>
                  <a:pt x="45" y="12"/>
                  <a:pt x="45" y="12"/>
                </a:cubicBezTo>
                <a:cubicBezTo>
                  <a:pt x="43" y="8"/>
                  <a:pt x="43" y="8"/>
                  <a:pt x="43" y="8"/>
                </a:cubicBezTo>
                <a:cubicBezTo>
                  <a:pt x="43" y="3"/>
                  <a:pt x="43" y="3"/>
                  <a:pt x="43" y="3"/>
                </a:cubicBezTo>
                <a:cubicBezTo>
                  <a:pt x="39" y="4"/>
                  <a:pt x="39" y="4"/>
                  <a:pt x="39" y="4"/>
                </a:cubicBezTo>
                <a:cubicBezTo>
                  <a:pt x="37" y="1"/>
                  <a:pt x="37" y="1"/>
                  <a:pt x="37" y="1"/>
                </a:cubicBezTo>
                <a:cubicBezTo>
                  <a:pt x="34" y="0"/>
                  <a:pt x="34" y="0"/>
                  <a:pt x="34" y="0"/>
                </a:cubicBezTo>
                <a:cubicBezTo>
                  <a:pt x="32" y="4"/>
                  <a:pt x="32" y="4"/>
                  <a:pt x="32" y="4"/>
                </a:cubicBezTo>
                <a:cubicBezTo>
                  <a:pt x="32" y="8"/>
                  <a:pt x="32" y="8"/>
                  <a:pt x="32" y="8"/>
                </a:cubicBezTo>
                <a:cubicBezTo>
                  <a:pt x="29" y="9"/>
                  <a:pt x="29" y="9"/>
                  <a:pt x="29" y="9"/>
                </a:cubicBezTo>
                <a:cubicBezTo>
                  <a:pt x="26" y="7"/>
                  <a:pt x="26" y="7"/>
                  <a:pt x="26" y="7"/>
                </a:cubicBezTo>
                <a:cubicBezTo>
                  <a:pt x="25" y="5"/>
                  <a:pt x="25" y="5"/>
                  <a:pt x="25" y="5"/>
                </a:cubicBezTo>
                <a:cubicBezTo>
                  <a:pt x="20" y="4"/>
                  <a:pt x="20" y="4"/>
                  <a:pt x="20" y="4"/>
                </a:cubicBezTo>
                <a:cubicBezTo>
                  <a:pt x="18" y="6"/>
                  <a:pt x="18" y="6"/>
                  <a:pt x="18" y="6"/>
                </a:cubicBezTo>
                <a:cubicBezTo>
                  <a:pt x="14" y="9"/>
                  <a:pt x="14" y="9"/>
                  <a:pt x="14" y="9"/>
                </a:cubicBezTo>
                <a:cubicBezTo>
                  <a:pt x="11" y="9"/>
                  <a:pt x="11" y="9"/>
                  <a:pt x="11" y="9"/>
                </a:cubicBezTo>
                <a:cubicBezTo>
                  <a:pt x="8" y="9"/>
                  <a:pt x="8" y="9"/>
                  <a:pt x="8" y="9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7"/>
                  <a:pt x="0" y="17"/>
                  <a:pt x="0" y="17"/>
                </a:cubicBezTo>
                <a:cubicBezTo>
                  <a:pt x="1" y="24"/>
                  <a:pt x="1" y="24"/>
                  <a:pt x="1" y="24"/>
                </a:cubicBezTo>
                <a:cubicBezTo>
                  <a:pt x="4" y="29"/>
                  <a:pt x="4" y="29"/>
                  <a:pt x="4" y="29"/>
                </a:cubicBezTo>
                <a:cubicBezTo>
                  <a:pt x="4" y="33"/>
                  <a:pt x="4" y="33"/>
                  <a:pt x="4" y="33"/>
                </a:cubicBezTo>
                <a:lnTo>
                  <a:pt x="5" y="39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3" name="Google Shape;583;p102"/>
          <p:cNvSpPr/>
          <p:nvPr/>
        </p:nvSpPr>
        <p:spPr>
          <a:xfrm>
            <a:off x="6963667" y="4796607"/>
            <a:ext cx="56701" cy="62392"/>
          </a:xfrm>
          <a:custGeom>
            <a:avLst/>
            <a:gdLst/>
            <a:ahLst/>
            <a:cxnLst/>
            <a:rect l="l" t="t" r="r" b="b"/>
            <a:pathLst>
              <a:path w="20" h="22" extrusionOk="0">
                <a:moveTo>
                  <a:pt x="1" y="3"/>
                </a:moveTo>
                <a:cubicBezTo>
                  <a:pt x="1" y="3"/>
                  <a:pt x="2" y="0"/>
                  <a:pt x="4" y="2"/>
                </a:cubicBezTo>
                <a:cubicBezTo>
                  <a:pt x="6" y="5"/>
                  <a:pt x="5" y="7"/>
                  <a:pt x="8" y="5"/>
                </a:cubicBezTo>
                <a:cubicBezTo>
                  <a:pt x="10" y="3"/>
                  <a:pt x="9" y="0"/>
                  <a:pt x="11" y="1"/>
                </a:cubicBezTo>
                <a:cubicBezTo>
                  <a:pt x="12" y="2"/>
                  <a:pt x="17" y="2"/>
                  <a:pt x="17" y="2"/>
                </a:cubicBezTo>
                <a:cubicBezTo>
                  <a:pt x="17" y="2"/>
                  <a:pt x="15" y="7"/>
                  <a:pt x="17" y="8"/>
                </a:cubicBezTo>
                <a:cubicBezTo>
                  <a:pt x="20" y="10"/>
                  <a:pt x="20" y="9"/>
                  <a:pt x="20" y="9"/>
                </a:cubicBezTo>
                <a:cubicBezTo>
                  <a:pt x="20" y="9"/>
                  <a:pt x="20" y="11"/>
                  <a:pt x="18" y="13"/>
                </a:cubicBezTo>
                <a:cubicBezTo>
                  <a:pt x="17" y="14"/>
                  <a:pt x="15" y="16"/>
                  <a:pt x="15" y="16"/>
                </a:cubicBezTo>
                <a:cubicBezTo>
                  <a:pt x="14" y="21"/>
                  <a:pt x="14" y="21"/>
                  <a:pt x="14" y="21"/>
                </a:cubicBezTo>
                <a:cubicBezTo>
                  <a:pt x="14" y="21"/>
                  <a:pt x="11" y="22"/>
                  <a:pt x="9" y="22"/>
                </a:cubicBezTo>
                <a:cubicBezTo>
                  <a:pt x="9" y="22"/>
                  <a:pt x="7" y="22"/>
                  <a:pt x="6" y="22"/>
                </a:cubicBezTo>
                <a:cubicBezTo>
                  <a:pt x="5" y="16"/>
                  <a:pt x="5" y="13"/>
                  <a:pt x="5" y="7"/>
                </a:cubicBezTo>
                <a:cubicBezTo>
                  <a:pt x="3" y="7"/>
                  <a:pt x="3" y="7"/>
                  <a:pt x="2" y="6"/>
                </a:cubicBezTo>
                <a:cubicBezTo>
                  <a:pt x="2" y="7"/>
                  <a:pt x="2" y="7"/>
                  <a:pt x="2" y="7"/>
                </a:cubicBezTo>
                <a:cubicBezTo>
                  <a:pt x="0" y="3"/>
                  <a:pt x="0" y="3"/>
                  <a:pt x="0" y="3"/>
                </a:cubicBezTo>
                <a:lnTo>
                  <a:pt x="1" y="3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4" name="Google Shape;584;p102"/>
          <p:cNvSpPr/>
          <p:nvPr/>
        </p:nvSpPr>
        <p:spPr>
          <a:xfrm>
            <a:off x="8542689" y="3897111"/>
            <a:ext cx="209620" cy="488744"/>
          </a:xfrm>
          <a:custGeom>
            <a:avLst/>
            <a:gdLst/>
            <a:ahLst/>
            <a:cxnLst/>
            <a:rect l="l" t="t" r="r" b="b"/>
            <a:pathLst>
              <a:path w="73" h="177" extrusionOk="0">
                <a:moveTo>
                  <a:pt x="56" y="177"/>
                </a:moveTo>
                <a:cubicBezTo>
                  <a:pt x="57" y="174"/>
                  <a:pt x="57" y="174"/>
                  <a:pt x="57" y="174"/>
                </a:cubicBezTo>
                <a:cubicBezTo>
                  <a:pt x="58" y="168"/>
                  <a:pt x="58" y="168"/>
                  <a:pt x="58" y="168"/>
                </a:cubicBezTo>
                <a:cubicBezTo>
                  <a:pt x="62" y="164"/>
                  <a:pt x="62" y="164"/>
                  <a:pt x="62" y="164"/>
                </a:cubicBezTo>
                <a:cubicBezTo>
                  <a:pt x="62" y="158"/>
                  <a:pt x="62" y="158"/>
                  <a:pt x="62" y="158"/>
                </a:cubicBezTo>
                <a:cubicBezTo>
                  <a:pt x="59" y="152"/>
                  <a:pt x="59" y="152"/>
                  <a:pt x="59" y="152"/>
                </a:cubicBezTo>
                <a:cubicBezTo>
                  <a:pt x="54" y="147"/>
                  <a:pt x="54" y="147"/>
                  <a:pt x="54" y="147"/>
                </a:cubicBezTo>
                <a:cubicBezTo>
                  <a:pt x="51" y="139"/>
                  <a:pt x="51" y="139"/>
                  <a:pt x="51" y="139"/>
                </a:cubicBezTo>
                <a:cubicBezTo>
                  <a:pt x="50" y="131"/>
                  <a:pt x="50" y="131"/>
                  <a:pt x="50" y="131"/>
                </a:cubicBezTo>
                <a:cubicBezTo>
                  <a:pt x="54" y="129"/>
                  <a:pt x="54" y="129"/>
                  <a:pt x="54" y="129"/>
                </a:cubicBezTo>
                <a:cubicBezTo>
                  <a:pt x="54" y="124"/>
                  <a:pt x="54" y="124"/>
                  <a:pt x="54" y="124"/>
                </a:cubicBezTo>
                <a:cubicBezTo>
                  <a:pt x="50" y="121"/>
                  <a:pt x="50" y="121"/>
                  <a:pt x="50" y="121"/>
                </a:cubicBezTo>
                <a:cubicBezTo>
                  <a:pt x="46" y="116"/>
                  <a:pt x="46" y="116"/>
                  <a:pt x="46" y="116"/>
                </a:cubicBezTo>
                <a:cubicBezTo>
                  <a:pt x="45" y="108"/>
                  <a:pt x="45" y="108"/>
                  <a:pt x="45" y="108"/>
                </a:cubicBezTo>
                <a:cubicBezTo>
                  <a:pt x="46" y="102"/>
                  <a:pt x="46" y="102"/>
                  <a:pt x="46" y="102"/>
                </a:cubicBezTo>
                <a:cubicBezTo>
                  <a:pt x="47" y="98"/>
                  <a:pt x="47" y="98"/>
                  <a:pt x="47" y="98"/>
                </a:cubicBezTo>
                <a:cubicBezTo>
                  <a:pt x="45" y="93"/>
                  <a:pt x="45" y="93"/>
                  <a:pt x="45" y="93"/>
                </a:cubicBezTo>
                <a:cubicBezTo>
                  <a:pt x="46" y="90"/>
                  <a:pt x="46" y="90"/>
                  <a:pt x="46" y="90"/>
                </a:cubicBezTo>
                <a:cubicBezTo>
                  <a:pt x="49" y="89"/>
                  <a:pt x="49" y="89"/>
                  <a:pt x="49" y="89"/>
                </a:cubicBezTo>
                <a:cubicBezTo>
                  <a:pt x="52" y="86"/>
                  <a:pt x="52" y="86"/>
                  <a:pt x="52" y="86"/>
                </a:cubicBezTo>
                <a:cubicBezTo>
                  <a:pt x="55" y="86"/>
                  <a:pt x="55" y="86"/>
                  <a:pt x="55" y="86"/>
                </a:cubicBezTo>
                <a:cubicBezTo>
                  <a:pt x="54" y="83"/>
                  <a:pt x="54" y="83"/>
                  <a:pt x="54" y="83"/>
                </a:cubicBezTo>
                <a:cubicBezTo>
                  <a:pt x="56" y="79"/>
                  <a:pt x="56" y="79"/>
                  <a:pt x="56" y="79"/>
                </a:cubicBezTo>
                <a:cubicBezTo>
                  <a:pt x="58" y="79"/>
                  <a:pt x="58" y="79"/>
                  <a:pt x="58" y="79"/>
                </a:cubicBezTo>
                <a:cubicBezTo>
                  <a:pt x="61" y="81"/>
                  <a:pt x="61" y="81"/>
                  <a:pt x="61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8" y="79"/>
                  <a:pt x="68" y="79"/>
                  <a:pt x="68" y="79"/>
                </a:cubicBezTo>
                <a:cubicBezTo>
                  <a:pt x="69" y="76"/>
                  <a:pt x="69" y="76"/>
                  <a:pt x="69" y="76"/>
                </a:cubicBezTo>
                <a:cubicBezTo>
                  <a:pt x="72" y="71"/>
                  <a:pt x="72" y="71"/>
                  <a:pt x="72" y="71"/>
                </a:cubicBezTo>
                <a:cubicBezTo>
                  <a:pt x="73" y="68"/>
                  <a:pt x="73" y="68"/>
                  <a:pt x="73" y="68"/>
                </a:cubicBezTo>
                <a:cubicBezTo>
                  <a:pt x="67" y="66"/>
                  <a:pt x="67" y="66"/>
                  <a:pt x="67" y="66"/>
                </a:cubicBezTo>
                <a:cubicBezTo>
                  <a:pt x="66" y="62"/>
                  <a:pt x="66" y="62"/>
                  <a:pt x="66" y="62"/>
                </a:cubicBezTo>
                <a:cubicBezTo>
                  <a:pt x="64" y="57"/>
                  <a:pt x="64" y="57"/>
                  <a:pt x="64" y="57"/>
                </a:cubicBezTo>
                <a:cubicBezTo>
                  <a:pt x="62" y="57"/>
                  <a:pt x="62" y="57"/>
                  <a:pt x="62" y="57"/>
                </a:cubicBezTo>
                <a:cubicBezTo>
                  <a:pt x="58" y="56"/>
                  <a:pt x="58" y="56"/>
                  <a:pt x="58" y="56"/>
                </a:cubicBezTo>
                <a:cubicBezTo>
                  <a:pt x="58" y="54"/>
                  <a:pt x="58" y="54"/>
                  <a:pt x="58" y="54"/>
                </a:cubicBezTo>
                <a:cubicBezTo>
                  <a:pt x="61" y="49"/>
                  <a:pt x="61" y="49"/>
                  <a:pt x="61" y="49"/>
                </a:cubicBezTo>
                <a:cubicBezTo>
                  <a:pt x="61" y="47"/>
                  <a:pt x="61" y="47"/>
                  <a:pt x="61" y="47"/>
                </a:cubicBezTo>
                <a:cubicBezTo>
                  <a:pt x="58" y="47"/>
                  <a:pt x="58" y="47"/>
                  <a:pt x="58" y="47"/>
                </a:cubicBezTo>
                <a:cubicBezTo>
                  <a:pt x="56" y="44"/>
                  <a:pt x="56" y="44"/>
                  <a:pt x="56" y="44"/>
                </a:cubicBezTo>
                <a:cubicBezTo>
                  <a:pt x="57" y="41"/>
                  <a:pt x="57" y="41"/>
                  <a:pt x="57" y="41"/>
                </a:cubicBezTo>
                <a:cubicBezTo>
                  <a:pt x="55" y="38"/>
                  <a:pt x="55" y="38"/>
                  <a:pt x="55" y="38"/>
                </a:cubicBezTo>
                <a:cubicBezTo>
                  <a:pt x="53" y="38"/>
                  <a:pt x="53" y="38"/>
                  <a:pt x="53" y="38"/>
                </a:cubicBezTo>
                <a:cubicBezTo>
                  <a:pt x="49" y="40"/>
                  <a:pt x="49" y="40"/>
                  <a:pt x="49" y="40"/>
                </a:cubicBezTo>
                <a:cubicBezTo>
                  <a:pt x="48" y="41"/>
                  <a:pt x="48" y="41"/>
                  <a:pt x="48" y="41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37"/>
                  <a:pt x="46" y="37"/>
                  <a:pt x="46" y="37"/>
                </a:cubicBezTo>
                <a:cubicBezTo>
                  <a:pt x="44" y="34"/>
                  <a:pt x="44" y="34"/>
                  <a:pt x="44" y="34"/>
                </a:cubicBezTo>
                <a:cubicBezTo>
                  <a:pt x="44" y="32"/>
                  <a:pt x="44" y="32"/>
                  <a:pt x="44" y="32"/>
                </a:cubicBezTo>
                <a:cubicBezTo>
                  <a:pt x="47" y="28"/>
                  <a:pt x="47" y="28"/>
                  <a:pt x="47" y="28"/>
                </a:cubicBezTo>
                <a:cubicBezTo>
                  <a:pt x="49" y="23"/>
                  <a:pt x="49" y="23"/>
                  <a:pt x="49" y="23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5"/>
                  <a:pt x="50" y="15"/>
                  <a:pt x="50" y="15"/>
                </a:cubicBezTo>
                <a:cubicBezTo>
                  <a:pt x="49" y="12"/>
                  <a:pt x="49" y="12"/>
                  <a:pt x="49" y="12"/>
                </a:cubicBezTo>
                <a:cubicBezTo>
                  <a:pt x="50" y="7"/>
                  <a:pt x="50" y="7"/>
                  <a:pt x="50" y="7"/>
                </a:cubicBezTo>
                <a:cubicBezTo>
                  <a:pt x="49" y="4"/>
                  <a:pt x="49" y="4"/>
                  <a:pt x="49" y="4"/>
                </a:cubicBezTo>
                <a:cubicBezTo>
                  <a:pt x="48" y="0"/>
                  <a:pt x="48" y="0"/>
                  <a:pt x="48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2" y="1"/>
                  <a:pt x="42" y="1"/>
                  <a:pt x="42" y="1"/>
                </a:cubicBezTo>
                <a:cubicBezTo>
                  <a:pt x="42" y="6"/>
                  <a:pt x="42" y="6"/>
                  <a:pt x="42" y="6"/>
                </a:cubicBezTo>
                <a:cubicBezTo>
                  <a:pt x="39" y="12"/>
                  <a:pt x="39" y="12"/>
                  <a:pt x="39" y="12"/>
                </a:cubicBezTo>
                <a:cubicBezTo>
                  <a:pt x="36" y="11"/>
                  <a:pt x="36" y="11"/>
                  <a:pt x="36" y="11"/>
                </a:cubicBezTo>
                <a:cubicBezTo>
                  <a:pt x="31" y="12"/>
                  <a:pt x="31" y="12"/>
                  <a:pt x="31" y="12"/>
                </a:cubicBezTo>
                <a:cubicBezTo>
                  <a:pt x="28" y="17"/>
                  <a:pt x="28" y="17"/>
                  <a:pt x="28" y="17"/>
                </a:cubicBezTo>
                <a:cubicBezTo>
                  <a:pt x="28" y="20"/>
                  <a:pt x="28" y="20"/>
                  <a:pt x="28" y="20"/>
                </a:cubicBezTo>
                <a:cubicBezTo>
                  <a:pt x="24" y="23"/>
                  <a:pt x="24" y="23"/>
                  <a:pt x="24" y="23"/>
                </a:cubicBezTo>
                <a:cubicBezTo>
                  <a:pt x="22" y="27"/>
                  <a:pt x="22" y="27"/>
                  <a:pt x="22" y="27"/>
                </a:cubicBezTo>
                <a:cubicBezTo>
                  <a:pt x="18" y="29"/>
                  <a:pt x="18" y="29"/>
                  <a:pt x="18" y="29"/>
                </a:cubicBezTo>
                <a:cubicBezTo>
                  <a:pt x="17" y="30"/>
                  <a:pt x="17" y="30"/>
                  <a:pt x="17" y="30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4"/>
                  <a:pt x="19" y="34"/>
                  <a:pt x="19" y="34"/>
                </a:cubicBezTo>
                <a:cubicBezTo>
                  <a:pt x="16" y="39"/>
                  <a:pt x="16" y="39"/>
                  <a:pt x="16" y="39"/>
                </a:cubicBezTo>
                <a:cubicBezTo>
                  <a:pt x="14" y="45"/>
                  <a:pt x="14" y="45"/>
                  <a:pt x="14" y="45"/>
                </a:cubicBezTo>
                <a:cubicBezTo>
                  <a:pt x="9" y="41"/>
                  <a:pt x="9" y="41"/>
                  <a:pt x="9" y="41"/>
                </a:cubicBezTo>
                <a:cubicBezTo>
                  <a:pt x="9" y="50"/>
                  <a:pt x="9" y="50"/>
                  <a:pt x="9" y="50"/>
                </a:cubicBezTo>
                <a:cubicBezTo>
                  <a:pt x="10" y="53"/>
                  <a:pt x="10" y="53"/>
                  <a:pt x="10" y="53"/>
                </a:cubicBezTo>
                <a:cubicBezTo>
                  <a:pt x="11" y="58"/>
                  <a:pt x="11" y="58"/>
                  <a:pt x="11" y="58"/>
                </a:cubicBezTo>
                <a:cubicBezTo>
                  <a:pt x="10" y="60"/>
                  <a:pt x="10" y="60"/>
                  <a:pt x="10" y="60"/>
                </a:cubicBezTo>
                <a:cubicBezTo>
                  <a:pt x="9" y="62"/>
                  <a:pt x="9" y="62"/>
                  <a:pt x="9" y="62"/>
                </a:cubicBezTo>
                <a:cubicBezTo>
                  <a:pt x="7" y="64"/>
                  <a:pt x="7" y="64"/>
                  <a:pt x="7" y="64"/>
                </a:cubicBezTo>
                <a:cubicBezTo>
                  <a:pt x="5" y="62"/>
                  <a:pt x="5" y="62"/>
                  <a:pt x="5" y="62"/>
                </a:cubicBezTo>
                <a:cubicBezTo>
                  <a:pt x="2" y="63"/>
                  <a:pt x="2" y="63"/>
                  <a:pt x="2" y="63"/>
                </a:cubicBezTo>
                <a:cubicBezTo>
                  <a:pt x="3" y="67"/>
                  <a:pt x="3" y="67"/>
                  <a:pt x="3" y="67"/>
                </a:cubicBezTo>
                <a:cubicBezTo>
                  <a:pt x="4" y="70"/>
                  <a:pt x="4" y="70"/>
                  <a:pt x="4" y="70"/>
                </a:cubicBezTo>
                <a:cubicBezTo>
                  <a:pt x="4" y="74"/>
                  <a:pt x="4" y="74"/>
                  <a:pt x="4" y="74"/>
                </a:cubicBezTo>
                <a:cubicBezTo>
                  <a:pt x="1" y="72"/>
                  <a:pt x="1" y="72"/>
                  <a:pt x="1" y="72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78"/>
                  <a:pt x="0" y="78"/>
                  <a:pt x="0" y="78"/>
                </a:cubicBezTo>
                <a:cubicBezTo>
                  <a:pt x="1" y="80"/>
                  <a:pt x="1" y="81"/>
                  <a:pt x="2" y="83"/>
                </a:cubicBezTo>
                <a:cubicBezTo>
                  <a:pt x="3" y="83"/>
                  <a:pt x="3" y="83"/>
                  <a:pt x="3" y="83"/>
                </a:cubicBezTo>
                <a:cubicBezTo>
                  <a:pt x="3" y="82"/>
                  <a:pt x="3" y="81"/>
                  <a:pt x="4" y="81"/>
                </a:cubicBezTo>
                <a:cubicBezTo>
                  <a:pt x="4" y="81"/>
                  <a:pt x="5" y="81"/>
                  <a:pt x="6" y="81"/>
                </a:cubicBezTo>
                <a:cubicBezTo>
                  <a:pt x="6" y="79"/>
                  <a:pt x="6" y="79"/>
                  <a:pt x="6" y="79"/>
                </a:cubicBezTo>
                <a:cubicBezTo>
                  <a:pt x="7" y="79"/>
                  <a:pt x="8" y="80"/>
                  <a:pt x="8" y="79"/>
                </a:cubicBezTo>
                <a:cubicBezTo>
                  <a:pt x="9" y="81"/>
                  <a:pt x="8" y="83"/>
                  <a:pt x="8" y="85"/>
                </a:cubicBezTo>
                <a:cubicBezTo>
                  <a:pt x="10" y="85"/>
                  <a:pt x="10" y="85"/>
                  <a:pt x="10" y="85"/>
                </a:cubicBezTo>
                <a:cubicBezTo>
                  <a:pt x="11" y="87"/>
                  <a:pt x="10" y="88"/>
                  <a:pt x="10" y="89"/>
                </a:cubicBezTo>
                <a:cubicBezTo>
                  <a:pt x="11" y="90"/>
                  <a:pt x="12" y="90"/>
                  <a:pt x="12" y="91"/>
                </a:cubicBezTo>
                <a:cubicBezTo>
                  <a:pt x="13" y="93"/>
                  <a:pt x="11" y="96"/>
                  <a:pt x="12" y="99"/>
                </a:cubicBezTo>
                <a:cubicBezTo>
                  <a:pt x="13" y="99"/>
                  <a:pt x="15" y="99"/>
                  <a:pt x="15" y="99"/>
                </a:cubicBezTo>
                <a:cubicBezTo>
                  <a:pt x="15" y="101"/>
                  <a:pt x="16" y="103"/>
                  <a:pt x="16" y="105"/>
                </a:cubicBezTo>
                <a:cubicBezTo>
                  <a:pt x="17" y="110"/>
                  <a:pt x="13" y="116"/>
                  <a:pt x="12" y="123"/>
                </a:cubicBezTo>
                <a:cubicBezTo>
                  <a:pt x="13" y="123"/>
                  <a:pt x="14" y="124"/>
                  <a:pt x="14" y="125"/>
                </a:cubicBezTo>
                <a:cubicBezTo>
                  <a:pt x="16" y="125"/>
                  <a:pt x="16" y="124"/>
                  <a:pt x="17" y="124"/>
                </a:cubicBezTo>
                <a:cubicBezTo>
                  <a:pt x="17" y="124"/>
                  <a:pt x="18" y="125"/>
                  <a:pt x="18" y="125"/>
                </a:cubicBezTo>
                <a:cubicBezTo>
                  <a:pt x="20" y="125"/>
                  <a:pt x="21" y="125"/>
                  <a:pt x="24" y="125"/>
                </a:cubicBezTo>
                <a:cubicBezTo>
                  <a:pt x="25" y="124"/>
                  <a:pt x="25" y="123"/>
                  <a:pt x="26" y="122"/>
                </a:cubicBezTo>
                <a:cubicBezTo>
                  <a:pt x="26" y="122"/>
                  <a:pt x="27" y="122"/>
                  <a:pt x="28" y="122"/>
                </a:cubicBezTo>
                <a:cubicBezTo>
                  <a:pt x="31" y="121"/>
                  <a:pt x="31" y="118"/>
                  <a:pt x="32" y="114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5" y="113"/>
                  <a:pt x="38" y="116"/>
                  <a:pt x="38" y="117"/>
                </a:cubicBezTo>
                <a:cubicBezTo>
                  <a:pt x="39" y="118"/>
                  <a:pt x="38" y="119"/>
                  <a:pt x="39" y="119"/>
                </a:cubicBezTo>
                <a:cubicBezTo>
                  <a:pt x="40" y="120"/>
                  <a:pt x="42" y="120"/>
                  <a:pt x="42" y="120"/>
                </a:cubicBezTo>
                <a:cubicBezTo>
                  <a:pt x="42" y="123"/>
                  <a:pt x="42" y="124"/>
                  <a:pt x="41" y="127"/>
                </a:cubicBezTo>
                <a:cubicBezTo>
                  <a:pt x="42" y="128"/>
                  <a:pt x="44" y="129"/>
                  <a:pt x="44" y="129"/>
                </a:cubicBezTo>
                <a:cubicBezTo>
                  <a:pt x="45" y="130"/>
                  <a:pt x="47" y="143"/>
                  <a:pt x="48" y="145"/>
                </a:cubicBezTo>
                <a:cubicBezTo>
                  <a:pt x="48" y="146"/>
                  <a:pt x="47" y="147"/>
                  <a:pt x="48" y="148"/>
                </a:cubicBezTo>
                <a:cubicBezTo>
                  <a:pt x="48" y="148"/>
                  <a:pt x="50" y="149"/>
                  <a:pt x="50" y="149"/>
                </a:cubicBezTo>
                <a:cubicBezTo>
                  <a:pt x="51" y="150"/>
                  <a:pt x="53" y="165"/>
                  <a:pt x="53" y="167"/>
                </a:cubicBezTo>
                <a:cubicBezTo>
                  <a:pt x="53" y="167"/>
                  <a:pt x="51" y="168"/>
                  <a:pt x="51" y="169"/>
                </a:cubicBezTo>
                <a:cubicBezTo>
                  <a:pt x="51" y="169"/>
                  <a:pt x="53" y="169"/>
                  <a:pt x="53" y="169"/>
                </a:cubicBezTo>
                <a:cubicBezTo>
                  <a:pt x="54" y="170"/>
                  <a:pt x="55" y="174"/>
                  <a:pt x="55" y="177"/>
                </a:cubicBezTo>
                <a:lnTo>
                  <a:pt x="56" y="177"/>
                </a:ln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5" name="Google Shape;585;p102"/>
          <p:cNvSpPr/>
          <p:nvPr/>
        </p:nvSpPr>
        <p:spPr>
          <a:xfrm>
            <a:off x="8537926" y="3889174"/>
            <a:ext cx="221579" cy="500148"/>
          </a:xfrm>
          <a:custGeom>
            <a:avLst/>
            <a:gdLst/>
            <a:ahLst/>
            <a:cxnLst/>
            <a:rect l="l" t="t" r="r" b="b"/>
            <a:pathLst>
              <a:path w="73" h="177" extrusionOk="0">
                <a:moveTo>
                  <a:pt x="56" y="177"/>
                </a:moveTo>
                <a:cubicBezTo>
                  <a:pt x="57" y="174"/>
                  <a:pt x="57" y="174"/>
                  <a:pt x="57" y="174"/>
                </a:cubicBezTo>
                <a:cubicBezTo>
                  <a:pt x="58" y="168"/>
                  <a:pt x="58" y="168"/>
                  <a:pt x="58" y="168"/>
                </a:cubicBezTo>
                <a:cubicBezTo>
                  <a:pt x="62" y="164"/>
                  <a:pt x="62" y="164"/>
                  <a:pt x="62" y="164"/>
                </a:cubicBezTo>
                <a:cubicBezTo>
                  <a:pt x="62" y="158"/>
                  <a:pt x="62" y="158"/>
                  <a:pt x="62" y="158"/>
                </a:cubicBezTo>
                <a:cubicBezTo>
                  <a:pt x="59" y="152"/>
                  <a:pt x="59" y="152"/>
                  <a:pt x="59" y="152"/>
                </a:cubicBezTo>
                <a:cubicBezTo>
                  <a:pt x="54" y="147"/>
                  <a:pt x="54" y="147"/>
                  <a:pt x="54" y="147"/>
                </a:cubicBezTo>
                <a:cubicBezTo>
                  <a:pt x="51" y="139"/>
                  <a:pt x="51" y="139"/>
                  <a:pt x="51" y="139"/>
                </a:cubicBezTo>
                <a:cubicBezTo>
                  <a:pt x="50" y="131"/>
                  <a:pt x="50" y="131"/>
                  <a:pt x="50" y="131"/>
                </a:cubicBezTo>
                <a:cubicBezTo>
                  <a:pt x="54" y="129"/>
                  <a:pt x="54" y="129"/>
                  <a:pt x="54" y="129"/>
                </a:cubicBezTo>
                <a:cubicBezTo>
                  <a:pt x="54" y="124"/>
                  <a:pt x="54" y="124"/>
                  <a:pt x="54" y="124"/>
                </a:cubicBezTo>
                <a:cubicBezTo>
                  <a:pt x="50" y="121"/>
                  <a:pt x="50" y="121"/>
                  <a:pt x="50" y="121"/>
                </a:cubicBezTo>
                <a:cubicBezTo>
                  <a:pt x="46" y="116"/>
                  <a:pt x="46" y="116"/>
                  <a:pt x="46" y="116"/>
                </a:cubicBezTo>
                <a:cubicBezTo>
                  <a:pt x="45" y="108"/>
                  <a:pt x="45" y="108"/>
                  <a:pt x="45" y="108"/>
                </a:cubicBezTo>
                <a:cubicBezTo>
                  <a:pt x="46" y="102"/>
                  <a:pt x="46" y="102"/>
                  <a:pt x="46" y="102"/>
                </a:cubicBezTo>
                <a:cubicBezTo>
                  <a:pt x="47" y="98"/>
                  <a:pt x="47" y="98"/>
                  <a:pt x="47" y="98"/>
                </a:cubicBezTo>
                <a:cubicBezTo>
                  <a:pt x="45" y="93"/>
                  <a:pt x="45" y="93"/>
                  <a:pt x="45" y="93"/>
                </a:cubicBezTo>
                <a:cubicBezTo>
                  <a:pt x="46" y="90"/>
                  <a:pt x="46" y="90"/>
                  <a:pt x="46" y="90"/>
                </a:cubicBezTo>
                <a:cubicBezTo>
                  <a:pt x="49" y="89"/>
                  <a:pt x="49" y="89"/>
                  <a:pt x="49" y="89"/>
                </a:cubicBezTo>
                <a:cubicBezTo>
                  <a:pt x="52" y="86"/>
                  <a:pt x="52" y="86"/>
                  <a:pt x="52" y="86"/>
                </a:cubicBezTo>
                <a:cubicBezTo>
                  <a:pt x="55" y="86"/>
                  <a:pt x="55" y="86"/>
                  <a:pt x="55" y="86"/>
                </a:cubicBezTo>
                <a:cubicBezTo>
                  <a:pt x="54" y="83"/>
                  <a:pt x="54" y="83"/>
                  <a:pt x="54" y="83"/>
                </a:cubicBezTo>
                <a:cubicBezTo>
                  <a:pt x="56" y="79"/>
                  <a:pt x="56" y="79"/>
                  <a:pt x="56" y="79"/>
                </a:cubicBezTo>
                <a:cubicBezTo>
                  <a:pt x="58" y="79"/>
                  <a:pt x="58" y="79"/>
                  <a:pt x="58" y="79"/>
                </a:cubicBezTo>
                <a:cubicBezTo>
                  <a:pt x="61" y="81"/>
                  <a:pt x="61" y="81"/>
                  <a:pt x="61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8" y="79"/>
                  <a:pt x="68" y="79"/>
                  <a:pt x="68" y="79"/>
                </a:cubicBezTo>
                <a:cubicBezTo>
                  <a:pt x="69" y="76"/>
                  <a:pt x="69" y="76"/>
                  <a:pt x="69" y="76"/>
                </a:cubicBezTo>
                <a:cubicBezTo>
                  <a:pt x="72" y="71"/>
                  <a:pt x="72" y="71"/>
                  <a:pt x="72" y="71"/>
                </a:cubicBezTo>
                <a:cubicBezTo>
                  <a:pt x="73" y="68"/>
                  <a:pt x="73" y="68"/>
                  <a:pt x="73" y="68"/>
                </a:cubicBezTo>
                <a:cubicBezTo>
                  <a:pt x="67" y="66"/>
                  <a:pt x="67" y="66"/>
                  <a:pt x="67" y="66"/>
                </a:cubicBezTo>
                <a:cubicBezTo>
                  <a:pt x="66" y="62"/>
                  <a:pt x="66" y="62"/>
                  <a:pt x="66" y="62"/>
                </a:cubicBezTo>
                <a:cubicBezTo>
                  <a:pt x="64" y="57"/>
                  <a:pt x="64" y="57"/>
                  <a:pt x="64" y="57"/>
                </a:cubicBezTo>
                <a:cubicBezTo>
                  <a:pt x="62" y="57"/>
                  <a:pt x="62" y="57"/>
                  <a:pt x="62" y="57"/>
                </a:cubicBezTo>
                <a:cubicBezTo>
                  <a:pt x="58" y="56"/>
                  <a:pt x="58" y="56"/>
                  <a:pt x="58" y="56"/>
                </a:cubicBezTo>
                <a:cubicBezTo>
                  <a:pt x="58" y="54"/>
                  <a:pt x="58" y="54"/>
                  <a:pt x="58" y="54"/>
                </a:cubicBezTo>
                <a:cubicBezTo>
                  <a:pt x="61" y="49"/>
                  <a:pt x="61" y="49"/>
                  <a:pt x="61" y="49"/>
                </a:cubicBezTo>
                <a:cubicBezTo>
                  <a:pt x="61" y="47"/>
                  <a:pt x="61" y="47"/>
                  <a:pt x="61" y="47"/>
                </a:cubicBezTo>
                <a:cubicBezTo>
                  <a:pt x="58" y="47"/>
                  <a:pt x="58" y="47"/>
                  <a:pt x="58" y="47"/>
                </a:cubicBezTo>
                <a:cubicBezTo>
                  <a:pt x="56" y="44"/>
                  <a:pt x="56" y="44"/>
                  <a:pt x="56" y="44"/>
                </a:cubicBezTo>
                <a:cubicBezTo>
                  <a:pt x="57" y="41"/>
                  <a:pt x="57" y="41"/>
                  <a:pt x="57" y="41"/>
                </a:cubicBezTo>
                <a:cubicBezTo>
                  <a:pt x="55" y="38"/>
                  <a:pt x="55" y="38"/>
                  <a:pt x="55" y="38"/>
                </a:cubicBezTo>
                <a:cubicBezTo>
                  <a:pt x="53" y="38"/>
                  <a:pt x="53" y="38"/>
                  <a:pt x="53" y="38"/>
                </a:cubicBezTo>
                <a:cubicBezTo>
                  <a:pt x="49" y="40"/>
                  <a:pt x="49" y="40"/>
                  <a:pt x="49" y="40"/>
                </a:cubicBezTo>
                <a:cubicBezTo>
                  <a:pt x="48" y="41"/>
                  <a:pt x="48" y="41"/>
                  <a:pt x="48" y="41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37"/>
                  <a:pt x="46" y="37"/>
                  <a:pt x="46" y="37"/>
                </a:cubicBezTo>
                <a:cubicBezTo>
                  <a:pt x="44" y="34"/>
                  <a:pt x="44" y="34"/>
                  <a:pt x="44" y="34"/>
                </a:cubicBezTo>
                <a:cubicBezTo>
                  <a:pt x="44" y="32"/>
                  <a:pt x="44" y="32"/>
                  <a:pt x="44" y="32"/>
                </a:cubicBezTo>
                <a:cubicBezTo>
                  <a:pt x="47" y="28"/>
                  <a:pt x="47" y="28"/>
                  <a:pt x="47" y="28"/>
                </a:cubicBezTo>
                <a:cubicBezTo>
                  <a:pt x="49" y="23"/>
                  <a:pt x="49" y="23"/>
                  <a:pt x="49" y="23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5"/>
                  <a:pt x="50" y="15"/>
                  <a:pt x="50" y="15"/>
                </a:cubicBezTo>
                <a:cubicBezTo>
                  <a:pt x="49" y="12"/>
                  <a:pt x="49" y="12"/>
                  <a:pt x="49" y="12"/>
                </a:cubicBezTo>
                <a:cubicBezTo>
                  <a:pt x="50" y="7"/>
                  <a:pt x="50" y="7"/>
                  <a:pt x="50" y="7"/>
                </a:cubicBezTo>
                <a:cubicBezTo>
                  <a:pt x="49" y="4"/>
                  <a:pt x="49" y="4"/>
                  <a:pt x="49" y="4"/>
                </a:cubicBezTo>
                <a:cubicBezTo>
                  <a:pt x="48" y="0"/>
                  <a:pt x="48" y="0"/>
                  <a:pt x="48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2" y="1"/>
                  <a:pt x="42" y="1"/>
                  <a:pt x="42" y="1"/>
                </a:cubicBezTo>
                <a:cubicBezTo>
                  <a:pt x="42" y="6"/>
                  <a:pt x="42" y="6"/>
                  <a:pt x="42" y="6"/>
                </a:cubicBezTo>
                <a:cubicBezTo>
                  <a:pt x="39" y="12"/>
                  <a:pt x="39" y="12"/>
                  <a:pt x="39" y="12"/>
                </a:cubicBezTo>
                <a:cubicBezTo>
                  <a:pt x="36" y="11"/>
                  <a:pt x="36" y="11"/>
                  <a:pt x="36" y="11"/>
                </a:cubicBezTo>
                <a:cubicBezTo>
                  <a:pt x="31" y="12"/>
                  <a:pt x="31" y="12"/>
                  <a:pt x="31" y="12"/>
                </a:cubicBezTo>
                <a:cubicBezTo>
                  <a:pt x="28" y="17"/>
                  <a:pt x="28" y="17"/>
                  <a:pt x="28" y="17"/>
                </a:cubicBezTo>
                <a:cubicBezTo>
                  <a:pt x="28" y="20"/>
                  <a:pt x="28" y="20"/>
                  <a:pt x="28" y="20"/>
                </a:cubicBezTo>
                <a:cubicBezTo>
                  <a:pt x="24" y="23"/>
                  <a:pt x="24" y="23"/>
                  <a:pt x="24" y="23"/>
                </a:cubicBezTo>
                <a:cubicBezTo>
                  <a:pt x="22" y="27"/>
                  <a:pt x="22" y="27"/>
                  <a:pt x="22" y="27"/>
                </a:cubicBezTo>
                <a:cubicBezTo>
                  <a:pt x="18" y="29"/>
                  <a:pt x="18" y="29"/>
                  <a:pt x="18" y="29"/>
                </a:cubicBezTo>
                <a:cubicBezTo>
                  <a:pt x="17" y="30"/>
                  <a:pt x="17" y="30"/>
                  <a:pt x="17" y="30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4"/>
                  <a:pt x="19" y="34"/>
                  <a:pt x="19" y="34"/>
                </a:cubicBezTo>
                <a:cubicBezTo>
                  <a:pt x="16" y="39"/>
                  <a:pt x="16" y="39"/>
                  <a:pt x="16" y="39"/>
                </a:cubicBezTo>
                <a:cubicBezTo>
                  <a:pt x="14" y="45"/>
                  <a:pt x="14" y="45"/>
                  <a:pt x="14" y="45"/>
                </a:cubicBezTo>
                <a:cubicBezTo>
                  <a:pt x="9" y="41"/>
                  <a:pt x="9" y="41"/>
                  <a:pt x="9" y="41"/>
                </a:cubicBezTo>
                <a:cubicBezTo>
                  <a:pt x="9" y="50"/>
                  <a:pt x="9" y="50"/>
                  <a:pt x="9" y="50"/>
                </a:cubicBezTo>
                <a:cubicBezTo>
                  <a:pt x="10" y="53"/>
                  <a:pt x="10" y="53"/>
                  <a:pt x="10" y="53"/>
                </a:cubicBezTo>
                <a:cubicBezTo>
                  <a:pt x="11" y="58"/>
                  <a:pt x="11" y="58"/>
                  <a:pt x="11" y="58"/>
                </a:cubicBezTo>
                <a:cubicBezTo>
                  <a:pt x="10" y="60"/>
                  <a:pt x="10" y="60"/>
                  <a:pt x="10" y="60"/>
                </a:cubicBezTo>
                <a:cubicBezTo>
                  <a:pt x="9" y="62"/>
                  <a:pt x="9" y="62"/>
                  <a:pt x="9" y="62"/>
                </a:cubicBezTo>
                <a:cubicBezTo>
                  <a:pt x="7" y="64"/>
                  <a:pt x="7" y="64"/>
                  <a:pt x="7" y="64"/>
                </a:cubicBezTo>
                <a:cubicBezTo>
                  <a:pt x="5" y="62"/>
                  <a:pt x="5" y="62"/>
                  <a:pt x="5" y="62"/>
                </a:cubicBezTo>
                <a:cubicBezTo>
                  <a:pt x="2" y="63"/>
                  <a:pt x="2" y="63"/>
                  <a:pt x="2" y="63"/>
                </a:cubicBezTo>
                <a:cubicBezTo>
                  <a:pt x="3" y="67"/>
                  <a:pt x="3" y="67"/>
                  <a:pt x="3" y="67"/>
                </a:cubicBezTo>
                <a:cubicBezTo>
                  <a:pt x="4" y="70"/>
                  <a:pt x="4" y="70"/>
                  <a:pt x="4" y="70"/>
                </a:cubicBezTo>
                <a:cubicBezTo>
                  <a:pt x="4" y="74"/>
                  <a:pt x="4" y="74"/>
                  <a:pt x="4" y="74"/>
                </a:cubicBezTo>
                <a:cubicBezTo>
                  <a:pt x="1" y="72"/>
                  <a:pt x="1" y="72"/>
                  <a:pt x="1" y="72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78"/>
                  <a:pt x="0" y="78"/>
                  <a:pt x="0" y="78"/>
                </a:cubicBezTo>
                <a:cubicBezTo>
                  <a:pt x="1" y="80"/>
                  <a:pt x="1" y="81"/>
                  <a:pt x="2" y="83"/>
                </a:cubicBezTo>
                <a:cubicBezTo>
                  <a:pt x="3" y="83"/>
                  <a:pt x="3" y="83"/>
                  <a:pt x="3" y="83"/>
                </a:cubicBezTo>
                <a:cubicBezTo>
                  <a:pt x="3" y="82"/>
                  <a:pt x="3" y="81"/>
                  <a:pt x="4" y="81"/>
                </a:cubicBezTo>
                <a:cubicBezTo>
                  <a:pt x="4" y="81"/>
                  <a:pt x="5" y="81"/>
                  <a:pt x="6" y="81"/>
                </a:cubicBezTo>
                <a:cubicBezTo>
                  <a:pt x="6" y="79"/>
                  <a:pt x="6" y="79"/>
                  <a:pt x="6" y="79"/>
                </a:cubicBezTo>
                <a:cubicBezTo>
                  <a:pt x="7" y="79"/>
                  <a:pt x="8" y="80"/>
                  <a:pt x="8" y="79"/>
                </a:cubicBezTo>
                <a:cubicBezTo>
                  <a:pt x="9" y="81"/>
                  <a:pt x="8" y="83"/>
                  <a:pt x="8" y="85"/>
                </a:cubicBezTo>
                <a:cubicBezTo>
                  <a:pt x="10" y="85"/>
                  <a:pt x="10" y="85"/>
                  <a:pt x="10" y="85"/>
                </a:cubicBezTo>
                <a:cubicBezTo>
                  <a:pt x="11" y="87"/>
                  <a:pt x="10" y="88"/>
                  <a:pt x="10" y="89"/>
                </a:cubicBezTo>
                <a:cubicBezTo>
                  <a:pt x="11" y="90"/>
                  <a:pt x="12" y="90"/>
                  <a:pt x="12" y="91"/>
                </a:cubicBezTo>
                <a:cubicBezTo>
                  <a:pt x="13" y="93"/>
                  <a:pt x="11" y="96"/>
                  <a:pt x="12" y="99"/>
                </a:cubicBezTo>
                <a:cubicBezTo>
                  <a:pt x="13" y="99"/>
                  <a:pt x="15" y="99"/>
                  <a:pt x="15" y="99"/>
                </a:cubicBezTo>
                <a:cubicBezTo>
                  <a:pt x="15" y="101"/>
                  <a:pt x="16" y="103"/>
                  <a:pt x="16" y="105"/>
                </a:cubicBezTo>
                <a:cubicBezTo>
                  <a:pt x="17" y="110"/>
                  <a:pt x="13" y="116"/>
                  <a:pt x="12" y="123"/>
                </a:cubicBezTo>
                <a:cubicBezTo>
                  <a:pt x="13" y="123"/>
                  <a:pt x="14" y="124"/>
                  <a:pt x="14" y="125"/>
                </a:cubicBezTo>
                <a:cubicBezTo>
                  <a:pt x="16" y="125"/>
                  <a:pt x="16" y="124"/>
                  <a:pt x="17" y="124"/>
                </a:cubicBezTo>
                <a:cubicBezTo>
                  <a:pt x="17" y="124"/>
                  <a:pt x="18" y="125"/>
                  <a:pt x="18" y="125"/>
                </a:cubicBezTo>
                <a:cubicBezTo>
                  <a:pt x="20" y="125"/>
                  <a:pt x="21" y="125"/>
                  <a:pt x="24" y="125"/>
                </a:cubicBezTo>
                <a:cubicBezTo>
                  <a:pt x="25" y="124"/>
                  <a:pt x="25" y="123"/>
                  <a:pt x="26" y="122"/>
                </a:cubicBezTo>
                <a:cubicBezTo>
                  <a:pt x="26" y="122"/>
                  <a:pt x="27" y="122"/>
                  <a:pt x="28" y="122"/>
                </a:cubicBezTo>
                <a:cubicBezTo>
                  <a:pt x="31" y="121"/>
                  <a:pt x="31" y="118"/>
                  <a:pt x="32" y="114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5" y="113"/>
                  <a:pt x="38" y="116"/>
                  <a:pt x="38" y="117"/>
                </a:cubicBezTo>
                <a:cubicBezTo>
                  <a:pt x="39" y="118"/>
                  <a:pt x="38" y="119"/>
                  <a:pt x="39" y="119"/>
                </a:cubicBezTo>
                <a:cubicBezTo>
                  <a:pt x="40" y="120"/>
                  <a:pt x="42" y="120"/>
                  <a:pt x="42" y="120"/>
                </a:cubicBezTo>
                <a:cubicBezTo>
                  <a:pt x="42" y="123"/>
                  <a:pt x="42" y="124"/>
                  <a:pt x="41" y="127"/>
                </a:cubicBezTo>
                <a:cubicBezTo>
                  <a:pt x="42" y="128"/>
                  <a:pt x="44" y="129"/>
                  <a:pt x="44" y="129"/>
                </a:cubicBezTo>
                <a:cubicBezTo>
                  <a:pt x="45" y="130"/>
                  <a:pt x="47" y="143"/>
                  <a:pt x="48" y="145"/>
                </a:cubicBezTo>
                <a:cubicBezTo>
                  <a:pt x="48" y="146"/>
                  <a:pt x="47" y="147"/>
                  <a:pt x="48" y="148"/>
                </a:cubicBezTo>
                <a:cubicBezTo>
                  <a:pt x="48" y="148"/>
                  <a:pt x="50" y="149"/>
                  <a:pt x="50" y="149"/>
                </a:cubicBezTo>
                <a:cubicBezTo>
                  <a:pt x="51" y="150"/>
                  <a:pt x="53" y="165"/>
                  <a:pt x="53" y="167"/>
                </a:cubicBezTo>
                <a:cubicBezTo>
                  <a:pt x="53" y="167"/>
                  <a:pt x="51" y="168"/>
                  <a:pt x="51" y="169"/>
                </a:cubicBezTo>
                <a:cubicBezTo>
                  <a:pt x="51" y="169"/>
                  <a:pt x="53" y="169"/>
                  <a:pt x="53" y="169"/>
                </a:cubicBezTo>
                <a:cubicBezTo>
                  <a:pt x="54" y="170"/>
                  <a:pt x="55" y="174"/>
                  <a:pt x="55" y="177"/>
                </a:cubicBezTo>
                <a:lnTo>
                  <a:pt x="56" y="177"/>
                </a:ln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6" name="Google Shape;586;p102"/>
          <p:cNvSpPr/>
          <p:nvPr/>
        </p:nvSpPr>
        <p:spPr>
          <a:xfrm>
            <a:off x="6095979" y="4231605"/>
            <a:ext cx="189002" cy="176779"/>
          </a:xfrm>
          <a:custGeom>
            <a:avLst/>
            <a:gdLst/>
            <a:ahLst/>
            <a:cxnLst/>
            <a:rect l="l" t="t" r="r" b="b"/>
            <a:pathLst>
              <a:path w="65" h="64" extrusionOk="0">
                <a:moveTo>
                  <a:pt x="49" y="47"/>
                </a:moveTo>
                <a:cubicBezTo>
                  <a:pt x="43" y="46"/>
                  <a:pt x="43" y="46"/>
                  <a:pt x="43" y="46"/>
                </a:cubicBez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31" y="46"/>
                  <a:pt x="29" y="47"/>
                </a:cubicBezTo>
                <a:cubicBezTo>
                  <a:pt x="28" y="48"/>
                  <a:pt x="26" y="50"/>
                  <a:pt x="26" y="52"/>
                </a:cubicBezTo>
                <a:cubicBezTo>
                  <a:pt x="26" y="54"/>
                  <a:pt x="28" y="56"/>
                  <a:pt x="27" y="57"/>
                </a:cubicBezTo>
                <a:cubicBezTo>
                  <a:pt x="27" y="59"/>
                  <a:pt x="26" y="63"/>
                  <a:pt x="26" y="63"/>
                </a:cubicBezTo>
                <a:cubicBezTo>
                  <a:pt x="26" y="63"/>
                  <a:pt x="22" y="64"/>
                  <a:pt x="20" y="64"/>
                </a:cubicBezTo>
                <a:cubicBezTo>
                  <a:pt x="18" y="63"/>
                  <a:pt x="19" y="59"/>
                  <a:pt x="19" y="59"/>
                </a:cubicBezTo>
                <a:cubicBezTo>
                  <a:pt x="15" y="59"/>
                  <a:pt x="15" y="59"/>
                  <a:pt x="15" y="59"/>
                </a:cubicBezTo>
                <a:cubicBezTo>
                  <a:pt x="13" y="61"/>
                  <a:pt x="13" y="61"/>
                  <a:pt x="13" y="61"/>
                </a:cubicBezTo>
                <a:cubicBezTo>
                  <a:pt x="9" y="61"/>
                  <a:pt x="9" y="61"/>
                  <a:pt x="9" y="61"/>
                </a:cubicBezTo>
                <a:cubicBezTo>
                  <a:pt x="8" y="58"/>
                  <a:pt x="8" y="58"/>
                  <a:pt x="8" y="58"/>
                </a:cubicBezTo>
                <a:cubicBezTo>
                  <a:pt x="1" y="57"/>
                  <a:pt x="1" y="57"/>
                  <a:pt x="1" y="57"/>
                </a:cubicBezTo>
                <a:cubicBezTo>
                  <a:pt x="1" y="57"/>
                  <a:pt x="0" y="51"/>
                  <a:pt x="2" y="50"/>
                </a:cubicBezTo>
                <a:cubicBezTo>
                  <a:pt x="5" y="49"/>
                  <a:pt x="4" y="47"/>
                  <a:pt x="3" y="45"/>
                </a:cubicBezTo>
                <a:cubicBezTo>
                  <a:pt x="2" y="44"/>
                  <a:pt x="4" y="41"/>
                  <a:pt x="4" y="41"/>
                </a:cubicBezTo>
                <a:cubicBezTo>
                  <a:pt x="4" y="41"/>
                  <a:pt x="5" y="38"/>
                  <a:pt x="7" y="38"/>
                </a:cubicBezTo>
                <a:cubicBezTo>
                  <a:pt x="8" y="37"/>
                  <a:pt x="9" y="38"/>
                  <a:pt x="9" y="38"/>
                </a:cubicBezTo>
                <a:cubicBezTo>
                  <a:pt x="9" y="38"/>
                  <a:pt x="10" y="33"/>
                  <a:pt x="11" y="31"/>
                </a:cubicBezTo>
                <a:cubicBezTo>
                  <a:pt x="12" y="29"/>
                  <a:pt x="12" y="28"/>
                  <a:pt x="14" y="27"/>
                </a:cubicBezTo>
                <a:cubicBezTo>
                  <a:pt x="16" y="26"/>
                  <a:pt x="19" y="24"/>
                  <a:pt x="21" y="24"/>
                </a:cubicBezTo>
                <a:cubicBezTo>
                  <a:pt x="22" y="25"/>
                  <a:pt x="25" y="22"/>
                  <a:pt x="25" y="20"/>
                </a:cubicBezTo>
                <a:cubicBezTo>
                  <a:pt x="25" y="19"/>
                  <a:pt x="25" y="17"/>
                  <a:pt x="27" y="15"/>
                </a:cubicBezTo>
                <a:cubicBezTo>
                  <a:pt x="30" y="13"/>
                  <a:pt x="32" y="14"/>
                  <a:pt x="32" y="12"/>
                </a:cubicBezTo>
                <a:cubicBezTo>
                  <a:pt x="32" y="10"/>
                  <a:pt x="33" y="6"/>
                  <a:pt x="35" y="6"/>
                </a:cubicBezTo>
                <a:cubicBezTo>
                  <a:pt x="38" y="6"/>
                  <a:pt x="40" y="5"/>
                  <a:pt x="40" y="3"/>
                </a:cubicBezTo>
                <a:cubicBezTo>
                  <a:pt x="40" y="1"/>
                  <a:pt x="42" y="0"/>
                  <a:pt x="43" y="2"/>
                </a:cubicBezTo>
                <a:cubicBezTo>
                  <a:pt x="44" y="3"/>
                  <a:pt x="45" y="1"/>
                  <a:pt x="46" y="2"/>
                </a:cubicBezTo>
                <a:cubicBezTo>
                  <a:pt x="48" y="3"/>
                  <a:pt x="49" y="5"/>
                  <a:pt x="49" y="5"/>
                </a:cubicBezTo>
                <a:cubicBezTo>
                  <a:pt x="47" y="9"/>
                  <a:pt x="47" y="9"/>
                  <a:pt x="47" y="9"/>
                </a:cubicBezTo>
                <a:cubicBezTo>
                  <a:pt x="50" y="13"/>
                  <a:pt x="50" y="13"/>
                  <a:pt x="50" y="13"/>
                </a:cubicBezTo>
                <a:cubicBezTo>
                  <a:pt x="56" y="17"/>
                  <a:pt x="56" y="17"/>
                  <a:pt x="56" y="17"/>
                </a:cubicBezTo>
                <a:cubicBezTo>
                  <a:pt x="56" y="20"/>
                  <a:pt x="56" y="20"/>
                  <a:pt x="56" y="20"/>
                </a:cubicBezTo>
                <a:cubicBezTo>
                  <a:pt x="60" y="28"/>
                  <a:pt x="60" y="28"/>
                  <a:pt x="60" y="28"/>
                </a:cubicBezTo>
                <a:cubicBezTo>
                  <a:pt x="60" y="28"/>
                  <a:pt x="63" y="27"/>
                  <a:pt x="63" y="28"/>
                </a:cubicBezTo>
                <a:cubicBezTo>
                  <a:pt x="63" y="30"/>
                  <a:pt x="62" y="32"/>
                  <a:pt x="62" y="32"/>
                </a:cubicBezTo>
                <a:cubicBezTo>
                  <a:pt x="64" y="40"/>
                  <a:pt x="64" y="40"/>
                  <a:pt x="64" y="40"/>
                </a:cubicBezTo>
                <a:cubicBezTo>
                  <a:pt x="64" y="40"/>
                  <a:pt x="65" y="42"/>
                  <a:pt x="63" y="43"/>
                </a:cubicBezTo>
                <a:cubicBezTo>
                  <a:pt x="62" y="45"/>
                  <a:pt x="60" y="45"/>
                  <a:pt x="60" y="45"/>
                </a:cubicBezTo>
                <a:cubicBezTo>
                  <a:pt x="60" y="45"/>
                  <a:pt x="60" y="48"/>
                  <a:pt x="59" y="48"/>
                </a:cubicBezTo>
                <a:cubicBezTo>
                  <a:pt x="57" y="48"/>
                  <a:pt x="57" y="48"/>
                  <a:pt x="57" y="48"/>
                </a:cubicBezTo>
                <a:cubicBezTo>
                  <a:pt x="57" y="48"/>
                  <a:pt x="54" y="48"/>
                  <a:pt x="53" y="47"/>
                </a:cubicBezTo>
                <a:cubicBezTo>
                  <a:pt x="51" y="47"/>
                  <a:pt x="49" y="47"/>
                  <a:pt x="49" y="47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7" name="Google Shape;587;p102"/>
          <p:cNvSpPr/>
          <p:nvPr/>
        </p:nvSpPr>
        <p:spPr>
          <a:xfrm>
            <a:off x="6809029" y="3332109"/>
            <a:ext cx="151202" cy="109188"/>
          </a:xfrm>
          <a:custGeom>
            <a:avLst/>
            <a:gdLst/>
            <a:ahLst/>
            <a:cxnLst/>
            <a:rect l="l" t="t" r="r" b="b"/>
            <a:pathLst>
              <a:path w="53" h="39" extrusionOk="0">
                <a:moveTo>
                  <a:pt x="52" y="4"/>
                </a:moveTo>
                <a:cubicBezTo>
                  <a:pt x="52" y="4"/>
                  <a:pt x="50" y="2"/>
                  <a:pt x="49" y="2"/>
                </a:cubicBezTo>
                <a:cubicBezTo>
                  <a:pt x="46" y="1"/>
                  <a:pt x="46" y="1"/>
                  <a:pt x="42" y="3"/>
                </a:cubicBezTo>
                <a:cubicBezTo>
                  <a:pt x="39" y="4"/>
                  <a:pt x="38" y="1"/>
                  <a:pt x="36" y="1"/>
                </a:cubicBezTo>
                <a:cubicBezTo>
                  <a:pt x="34" y="0"/>
                  <a:pt x="33" y="2"/>
                  <a:pt x="31" y="4"/>
                </a:cubicBezTo>
                <a:cubicBezTo>
                  <a:pt x="29" y="6"/>
                  <a:pt x="30" y="5"/>
                  <a:pt x="26" y="6"/>
                </a:cubicBezTo>
                <a:cubicBezTo>
                  <a:pt x="21" y="7"/>
                  <a:pt x="22" y="7"/>
                  <a:pt x="18" y="6"/>
                </a:cubicBezTo>
                <a:cubicBezTo>
                  <a:pt x="15" y="5"/>
                  <a:pt x="18" y="7"/>
                  <a:pt x="13" y="7"/>
                </a:cubicBezTo>
                <a:cubicBezTo>
                  <a:pt x="9" y="7"/>
                  <a:pt x="9" y="5"/>
                  <a:pt x="11" y="3"/>
                </a:cubicBezTo>
                <a:cubicBezTo>
                  <a:pt x="13" y="2"/>
                  <a:pt x="7" y="1"/>
                  <a:pt x="7" y="1"/>
                </a:cubicBezTo>
                <a:cubicBezTo>
                  <a:pt x="7" y="1"/>
                  <a:pt x="6" y="4"/>
                  <a:pt x="4" y="6"/>
                </a:cubicBezTo>
                <a:cubicBezTo>
                  <a:pt x="2" y="7"/>
                  <a:pt x="2" y="8"/>
                  <a:pt x="1" y="9"/>
                </a:cubicBezTo>
                <a:cubicBezTo>
                  <a:pt x="0" y="11"/>
                  <a:pt x="0" y="12"/>
                  <a:pt x="1" y="14"/>
                </a:cubicBezTo>
                <a:cubicBezTo>
                  <a:pt x="2" y="16"/>
                  <a:pt x="4" y="16"/>
                  <a:pt x="6" y="16"/>
                </a:cubicBezTo>
                <a:cubicBezTo>
                  <a:pt x="8" y="17"/>
                  <a:pt x="5" y="19"/>
                  <a:pt x="4" y="21"/>
                </a:cubicBezTo>
                <a:cubicBezTo>
                  <a:pt x="4" y="23"/>
                  <a:pt x="2" y="25"/>
                  <a:pt x="2" y="25"/>
                </a:cubicBezTo>
                <a:cubicBezTo>
                  <a:pt x="2" y="25"/>
                  <a:pt x="4" y="25"/>
                  <a:pt x="6" y="27"/>
                </a:cubicBezTo>
                <a:cubicBezTo>
                  <a:pt x="7" y="29"/>
                  <a:pt x="4" y="29"/>
                  <a:pt x="6" y="31"/>
                </a:cubicBezTo>
                <a:cubicBezTo>
                  <a:pt x="8" y="33"/>
                  <a:pt x="7" y="34"/>
                  <a:pt x="7" y="34"/>
                </a:cubicBezTo>
                <a:cubicBezTo>
                  <a:pt x="7" y="37"/>
                  <a:pt x="7" y="37"/>
                  <a:pt x="7" y="37"/>
                </a:cubicBezTo>
                <a:cubicBezTo>
                  <a:pt x="7" y="37"/>
                  <a:pt x="10" y="38"/>
                  <a:pt x="13" y="38"/>
                </a:cubicBezTo>
                <a:cubicBezTo>
                  <a:pt x="15" y="38"/>
                  <a:pt x="16" y="38"/>
                  <a:pt x="18" y="35"/>
                </a:cubicBezTo>
                <a:cubicBezTo>
                  <a:pt x="19" y="33"/>
                  <a:pt x="20" y="34"/>
                  <a:pt x="23" y="34"/>
                </a:cubicBezTo>
                <a:cubicBezTo>
                  <a:pt x="26" y="34"/>
                  <a:pt x="26" y="38"/>
                  <a:pt x="26" y="38"/>
                </a:cubicBezTo>
                <a:cubicBezTo>
                  <a:pt x="26" y="38"/>
                  <a:pt x="28" y="37"/>
                  <a:pt x="30" y="37"/>
                </a:cubicBezTo>
                <a:cubicBezTo>
                  <a:pt x="32" y="37"/>
                  <a:pt x="34" y="39"/>
                  <a:pt x="33" y="35"/>
                </a:cubicBezTo>
                <a:cubicBezTo>
                  <a:pt x="31" y="32"/>
                  <a:pt x="36" y="34"/>
                  <a:pt x="36" y="34"/>
                </a:cubicBezTo>
                <a:cubicBezTo>
                  <a:pt x="36" y="34"/>
                  <a:pt x="36" y="33"/>
                  <a:pt x="37" y="32"/>
                </a:cubicBezTo>
                <a:cubicBezTo>
                  <a:pt x="38" y="31"/>
                  <a:pt x="40" y="31"/>
                  <a:pt x="41" y="32"/>
                </a:cubicBezTo>
                <a:cubicBezTo>
                  <a:pt x="42" y="33"/>
                  <a:pt x="46" y="32"/>
                  <a:pt x="46" y="32"/>
                </a:cubicBezTo>
                <a:cubicBezTo>
                  <a:pt x="46" y="31"/>
                  <a:pt x="46" y="29"/>
                  <a:pt x="45" y="28"/>
                </a:cubicBezTo>
                <a:cubicBezTo>
                  <a:pt x="45" y="27"/>
                  <a:pt x="43" y="27"/>
                  <a:pt x="43" y="27"/>
                </a:cubicBezTo>
                <a:cubicBezTo>
                  <a:pt x="43" y="27"/>
                  <a:pt x="45" y="23"/>
                  <a:pt x="45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21"/>
                  <a:pt x="45" y="20"/>
                  <a:pt x="46" y="19"/>
                </a:cubicBezTo>
                <a:cubicBezTo>
                  <a:pt x="46" y="18"/>
                  <a:pt x="52" y="14"/>
                  <a:pt x="52" y="14"/>
                </a:cubicBezTo>
                <a:cubicBezTo>
                  <a:pt x="53" y="11"/>
                  <a:pt x="51" y="6"/>
                  <a:pt x="52" y="4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8" name="Google Shape;588;p102"/>
          <p:cNvSpPr/>
          <p:nvPr/>
        </p:nvSpPr>
        <p:spPr>
          <a:xfrm>
            <a:off x="9068456" y="4574766"/>
            <a:ext cx="39518" cy="25996"/>
          </a:xfrm>
          <a:custGeom>
            <a:avLst/>
            <a:gdLst/>
            <a:ahLst/>
            <a:cxnLst/>
            <a:rect l="l" t="t" r="r" b="b"/>
            <a:pathLst>
              <a:path w="13" h="9" extrusionOk="0">
                <a:moveTo>
                  <a:pt x="0" y="5"/>
                </a:moveTo>
                <a:cubicBezTo>
                  <a:pt x="4" y="9"/>
                  <a:pt x="4" y="9"/>
                  <a:pt x="4" y="9"/>
                </a:cubicBezTo>
                <a:cubicBezTo>
                  <a:pt x="7" y="8"/>
                  <a:pt x="7" y="8"/>
                  <a:pt x="7" y="8"/>
                </a:cubicBezTo>
                <a:cubicBezTo>
                  <a:pt x="8" y="7"/>
                  <a:pt x="8" y="7"/>
                  <a:pt x="8" y="7"/>
                </a:cubicBezTo>
                <a:cubicBezTo>
                  <a:pt x="9" y="5"/>
                  <a:pt x="9" y="5"/>
                  <a:pt x="9" y="5"/>
                </a:cubicBezTo>
                <a:cubicBezTo>
                  <a:pt x="11" y="6"/>
                  <a:pt x="11" y="6"/>
                  <a:pt x="11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1" y="0"/>
                  <a:pt x="11" y="0"/>
                  <a:pt x="11" y="0"/>
                </a:cubicBezTo>
                <a:cubicBezTo>
                  <a:pt x="10" y="0"/>
                  <a:pt x="9" y="0"/>
                  <a:pt x="8" y="0"/>
                </a:cubicBezTo>
                <a:cubicBezTo>
                  <a:pt x="6" y="1"/>
                  <a:pt x="7" y="3"/>
                  <a:pt x="6" y="5"/>
                </a:cubicBezTo>
                <a:cubicBezTo>
                  <a:pt x="5" y="5"/>
                  <a:pt x="2" y="4"/>
                  <a:pt x="0" y="4"/>
                </a:cubicBezTo>
                <a:lnTo>
                  <a:pt x="0" y="5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9" name="Google Shape;589;p102"/>
          <p:cNvSpPr/>
          <p:nvPr/>
        </p:nvSpPr>
        <p:spPr>
          <a:xfrm>
            <a:off x="9068456" y="4574766"/>
            <a:ext cx="39518" cy="25996"/>
          </a:xfrm>
          <a:custGeom>
            <a:avLst/>
            <a:gdLst/>
            <a:ahLst/>
            <a:cxnLst/>
            <a:rect l="l" t="t" r="r" b="b"/>
            <a:pathLst>
              <a:path w="13" h="9" extrusionOk="0">
                <a:moveTo>
                  <a:pt x="0" y="5"/>
                </a:moveTo>
                <a:cubicBezTo>
                  <a:pt x="4" y="9"/>
                  <a:pt x="4" y="9"/>
                  <a:pt x="4" y="9"/>
                </a:cubicBezTo>
                <a:cubicBezTo>
                  <a:pt x="7" y="8"/>
                  <a:pt x="7" y="8"/>
                  <a:pt x="7" y="8"/>
                </a:cubicBezTo>
                <a:cubicBezTo>
                  <a:pt x="8" y="7"/>
                  <a:pt x="8" y="7"/>
                  <a:pt x="8" y="7"/>
                </a:cubicBezTo>
                <a:cubicBezTo>
                  <a:pt x="9" y="5"/>
                  <a:pt x="9" y="5"/>
                  <a:pt x="9" y="5"/>
                </a:cubicBezTo>
                <a:cubicBezTo>
                  <a:pt x="11" y="6"/>
                  <a:pt x="11" y="6"/>
                  <a:pt x="11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1" y="0"/>
                  <a:pt x="11" y="0"/>
                  <a:pt x="11" y="0"/>
                </a:cubicBezTo>
                <a:cubicBezTo>
                  <a:pt x="10" y="0"/>
                  <a:pt x="9" y="0"/>
                  <a:pt x="8" y="0"/>
                </a:cubicBezTo>
                <a:cubicBezTo>
                  <a:pt x="6" y="1"/>
                  <a:pt x="7" y="3"/>
                  <a:pt x="6" y="5"/>
                </a:cubicBezTo>
                <a:cubicBezTo>
                  <a:pt x="5" y="5"/>
                  <a:pt x="2" y="4"/>
                  <a:pt x="0" y="4"/>
                </a:cubicBezTo>
                <a:lnTo>
                  <a:pt x="0" y="5"/>
                </a:ln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0" name="Google Shape;590;p102"/>
          <p:cNvSpPr/>
          <p:nvPr/>
        </p:nvSpPr>
        <p:spPr>
          <a:xfrm>
            <a:off x="6728275" y="5245489"/>
            <a:ext cx="242265" cy="279035"/>
          </a:xfrm>
          <a:custGeom>
            <a:avLst/>
            <a:gdLst/>
            <a:ahLst/>
            <a:cxnLst/>
            <a:rect l="l" t="t" r="r" b="b"/>
            <a:pathLst>
              <a:path w="85" h="101" extrusionOk="0">
                <a:moveTo>
                  <a:pt x="0" y="83"/>
                </a:moveTo>
                <a:cubicBezTo>
                  <a:pt x="0" y="83"/>
                  <a:pt x="4" y="84"/>
                  <a:pt x="6" y="88"/>
                </a:cubicBezTo>
                <a:cubicBezTo>
                  <a:pt x="8" y="93"/>
                  <a:pt x="8" y="93"/>
                  <a:pt x="6" y="96"/>
                </a:cubicBezTo>
                <a:cubicBezTo>
                  <a:pt x="5" y="98"/>
                  <a:pt x="6" y="101"/>
                  <a:pt x="9" y="101"/>
                </a:cubicBezTo>
                <a:cubicBezTo>
                  <a:pt x="11" y="101"/>
                  <a:pt x="10" y="99"/>
                  <a:pt x="13" y="99"/>
                </a:cubicBezTo>
                <a:cubicBezTo>
                  <a:pt x="15" y="99"/>
                  <a:pt x="21" y="96"/>
                  <a:pt x="21" y="96"/>
                </a:cubicBezTo>
                <a:cubicBezTo>
                  <a:pt x="21" y="96"/>
                  <a:pt x="30" y="91"/>
                  <a:pt x="30" y="89"/>
                </a:cubicBezTo>
                <a:cubicBezTo>
                  <a:pt x="30" y="87"/>
                  <a:pt x="28" y="86"/>
                  <a:pt x="33" y="84"/>
                </a:cubicBezTo>
                <a:cubicBezTo>
                  <a:pt x="34" y="83"/>
                  <a:pt x="35" y="85"/>
                  <a:pt x="36" y="86"/>
                </a:cubicBezTo>
                <a:cubicBezTo>
                  <a:pt x="38" y="87"/>
                  <a:pt x="39" y="84"/>
                  <a:pt x="41" y="86"/>
                </a:cubicBezTo>
                <a:cubicBezTo>
                  <a:pt x="44" y="88"/>
                  <a:pt x="46" y="86"/>
                  <a:pt x="48" y="87"/>
                </a:cubicBezTo>
                <a:cubicBezTo>
                  <a:pt x="50" y="88"/>
                  <a:pt x="52" y="89"/>
                  <a:pt x="52" y="87"/>
                </a:cubicBezTo>
                <a:cubicBezTo>
                  <a:pt x="52" y="85"/>
                  <a:pt x="53" y="74"/>
                  <a:pt x="53" y="74"/>
                </a:cubicBezTo>
                <a:cubicBezTo>
                  <a:pt x="53" y="74"/>
                  <a:pt x="55" y="72"/>
                  <a:pt x="57" y="72"/>
                </a:cubicBezTo>
                <a:cubicBezTo>
                  <a:pt x="59" y="72"/>
                  <a:pt x="58" y="65"/>
                  <a:pt x="61" y="64"/>
                </a:cubicBezTo>
                <a:cubicBezTo>
                  <a:pt x="64" y="63"/>
                  <a:pt x="65" y="57"/>
                  <a:pt x="68" y="57"/>
                </a:cubicBezTo>
                <a:cubicBezTo>
                  <a:pt x="70" y="57"/>
                  <a:pt x="74" y="54"/>
                  <a:pt x="76" y="54"/>
                </a:cubicBezTo>
                <a:cubicBezTo>
                  <a:pt x="79" y="54"/>
                  <a:pt x="76" y="51"/>
                  <a:pt x="80" y="51"/>
                </a:cubicBezTo>
                <a:cubicBezTo>
                  <a:pt x="83" y="52"/>
                  <a:pt x="85" y="47"/>
                  <a:pt x="85" y="47"/>
                </a:cubicBezTo>
                <a:cubicBezTo>
                  <a:pt x="85" y="47"/>
                  <a:pt x="83" y="47"/>
                  <a:pt x="81" y="45"/>
                </a:cubicBezTo>
                <a:cubicBezTo>
                  <a:pt x="80" y="43"/>
                  <a:pt x="80" y="46"/>
                  <a:pt x="77" y="44"/>
                </a:cubicBezTo>
                <a:cubicBezTo>
                  <a:pt x="75" y="42"/>
                  <a:pt x="74" y="44"/>
                  <a:pt x="74" y="41"/>
                </a:cubicBezTo>
                <a:cubicBezTo>
                  <a:pt x="74" y="38"/>
                  <a:pt x="73" y="37"/>
                  <a:pt x="75" y="35"/>
                </a:cubicBezTo>
                <a:cubicBezTo>
                  <a:pt x="76" y="33"/>
                  <a:pt x="72" y="34"/>
                  <a:pt x="72" y="32"/>
                </a:cubicBezTo>
                <a:cubicBezTo>
                  <a:pt x="72" y="30"/>
                  <a:pt x="70" y="31"/>
                  <a:pt x="69" y="29"/>
                </a:cubicBezTo>
                <a:cubicBezTo>
                  <a:pt x="68" y="27"/>
                  <a:pt x="68" y="24"/>
                  <a:pt x="68" y="24"/>
                </a:cubicBezTo>
                <a:cubicBezTo>
                  <a:pt x="68" y="24"/>
                  <a:pt x="64" y="23"/>
                  <a:pt x="63" y="21"/>
                </a:cubicBezTo>
                <a:cubicBezTo>
                  <a:pt x="63" y="19"/>
                  <a:pt x="63" y="22"/>
                  <a:pt x="60" y="21"/>
                </a:cubicBezTo>
                <a:cubicBezTo>
                  <a:pt x="57" y="20"/>
                  <a:pt x="60" y="19"/>
                  <a:pt x="58" y="18"/>
                </a:cubicBezTo>
                <a:cubicBezTo>
                  <a:pt x="56" y="17"/>
                  <a:pt x="53" y="11"/>
                  <a:pt x="53" y="11"/>
                </a:cubicBezTo>
                <a:cubicBezTo>
                  <a:pt x="53" y="11"/>
                  <a:pt x="53" y="7"/>
                  <a:pt x="50" y="7"/>
                </a:cubicBezTo>
                <a:cubicBezTo>
                  <a:pt x="48" y="7"/>
                  <a:pt x="48" y="1"/>
                  <a:pt x="48" y="1"/>
                </a:cubicBezTo>
                <a:cubicBezTo>
                  <a:pt x="48" y="1"/>
                  <a:pt x="44" y="0"/>
                  <a:pt x="44" y="3"/>
                </a:cubicBezTo>
                <a:cubicBezTo>
                  <a:pt x="44" y="6"/>
                  <a:pt x="39" y="1"/>
                  <a:pt x="39" y="4"/>
                </a:cubicBezTo>
                <a:cubicBezTo>
                  <a:pt x="39" y="7"/>
                  <a:pt x="36" y="5"/>
                  <a:pt x="36" y="5"/>
                </a:cubicBezTo>
                <a:cubicBezTo>
                  <a:pt x="17" y="7"/>
                  <a:pt x="17" y="7"/>
                  <a:pt x="17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43"/>
                  <a:pt x="10" y="43"/>
                  <a:pt x="10" y="43"/>
                </a:cubicBezTo>
                <a:cubicBezTo>
                  <a:pt x="0" y="43"/>
                  <a:pt x="0" y="43"/>
                  <a:pt x="0" y="43"/>
                </a:cubicBezTo>
                <a:lnTo>
                  <a:pt x="0" y="83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1" name="Google Shape;591;p102"/>
          <p:cNvSpPr/>
          <p:nvPr/>
        </p:nvSpPr>
        <p:spPr>
          <a:xfrm>
            <a:off x="6635493" y="3306113"/>
            <a:ext cx="101373" cy="95322"/>
          </a:xfrm>
          <a:custGeom>
            <a:avLst/>
            <a:gdLst/>
            <a:ahLst/>
            <a:cxnLst/>
            <a:rect l="l" t="t" r="r" b="b"/>
            <a:pathLst>
              <a:path w="35" h="35" extrusionOk="0">
                <a:moveTo>
                  <a:pt x="31" y="7"/>
                </a:moveTo>
                <a:cubicBezTo>
                  <a:pt x="31" y="7"/>
                  <a:pt x="24" y="9"/>
                  <a:pt x="23" y="6"/>
                </a:cubicBezTo>
                <a:cubicBezTo>
                  <a:pt x="23" y="4"/>
                  <a:pt x="22" y="5"/>
                  <a:pt x="22" y="5"/>
                </a:cubicBezTo>
                <a:cubicBezTo>
                  <a:pt x="22" y="5"/>
                  <a:pt x="19" y="4"/>
                  <a:pt x="17" y="3"/>
                </a:cubicBezTo>
                <a:cubicBezTo>
                  <a:pt x="15" y="2"/>
                  <a:pt x="11" y="6"/>
                  <a:pt x="9" y="4"/>
                </a:cubicBezTo>
                <a:cubicBezTo>
                  <a:pt x="8" y="3"/>
                  <a:pt x="7" y="1"/>
                  <a:pt x="6" y="3"/>
                </a:cubicBezTo>
                <a:cubicBezTo>
                  <a:pt x="5" y="5"/>
                  <a:pt x="3" y="2"/>
                  <a:pt x="3" y="1"/>
                </a:cubicBezTo>
                <a:cubicBezTo>
                  <a:pt x="2" y="0"/>
                  <a:pt x="0" y="0"/>
                  <a:pt x="0" y="2"/>
                </a:cubicBezTo>
                <a:cubicBezTo>
                  <a:pt x="0" y="4"/>
                  <a:pt x="0" y="5"/>
                  <a:pt x="0" y="5"/>
                </a:cubicBezTo>
                <a:cubicBezTo>
                  <a:pt x="0" y="5"/>
                  <a:pt x="4" y="9"/>
                  <a:pt x="4" y="12"/>
                </a:cubicBezTo>
                <a:cubicBezTo>
                  <a:pt x="5" y="15"/>
                  <a:pt x="2" y="12"/>
                  <a:pt x="4" y="15"/>
                </a:cubicBezTo>
                <a:cubicBezTo>
                  <a:pt x="6" y="18"/>
                  <a:pt x="11" y="22"/>
                  <a:pt x="12" y="24"/>
                </a:cubicBezTo>
                <a:cubicBezTo>
                  <a:pt x="14" y="27"/>
                  <a:pt x="14" y="26"/>
                  <a:pt x="16" y="27"/>
                </a:cubicBezTo>
                <a:cubicBezTo>
                  <a:pt x="17" y="29"/>
                  <a:pt x="20" y="30"/>
                  <a:pt x="20" y="30"/>
                </a:cubicBezTo>
                <a:cubicBezTo>
                  <a:pt x="20" y="30"/>
                  <a:pt x="21" y="31"/>
                  <a:pt x="21" y="32"/>
                </a:cubicBezTo>
                <a:cubicBezTo>
                  <a:pt x="22" y="34"/>
                  <a:pt x="23" y="34"/>
                  <a:pt x="24" y="35"/>
                </a:cubicBezTo>
                <a:cubicBezTo>
                  <a:pt x="23" y="33"/>
                  <a:pt x="22" y="32"/>
                  <a:pt x="23" y="30"/>
                </a:cubicBezTo>
                <a:cubicBezTo>
                  <a:pt x="23" y="28"/>
                  <a:pt x="23" y="27"/>
                  <a:pt x="25" y="25"/>
                </a:cubicBezTo>
                <a:cubicBezTo>
                  <a:pt x="26" y="25"/>
                  <a:pt x="27" y="25"/>
                  <a:pt x="28" y="24"/>
                </a:cubicBezTo>
                <a:cubicBezTo>
                  <a:pt x="29" y="23"/>
                  <a:pt x="29" y="22"/>
                  <a:pt x="30" y="21"/>
                </a:cubicBezTo>
                <a:cubicBezTo>
                  <a:pt x="31" y="20"/>
                  <a:pt x="33" y="21"/>
                  <a:pt x="34" y="19"/>
                </a:cubicBezTo>
                <a:cubicBezTo>
                  <a:pt x="35" y="17"/>
                  <a:pt x="29" y="17"/>
                  <a:pt x="30" y="15"/>
                </a:cubicBezTo>
                <a:cubicBezTo>
                  <a:pt x="30" y="14"/>
                  <a:pt x="33" y="15"/>
                  <a:pt x="33" y="14"/>
                </a:cubicBezTo>
                <a:cubicBezTo>
                  <a:pt x="34" y="12"/>
                  <a:pt x="31" y="12"/>
                  <a:pt x="31" y="10"/>
                </a:cubicBezTo>
                <a:cubicBezTo>
                  <a:pt x="30" y="9"/>
                  <a:pt x="31" y="8"/>
                  <a:pt x="31" y="7"/>
                </a:cubicBez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2" name="Google Shape;592;p102"/>
          <p:cNvSpPr/>
          <p:nvPr/>
        </p:nvSpPr>
        <p:spPr>
          <a:xfrm>
            <a:off x="4497152" y="5029941"/>
            <a:ext cx="302402" cy="358758"/>
          </a:xfrm>
          <a:custGeom>
            <a:avLst/>
            <a:gdLst/>
            <a:ahLst/>
            <a:cxnLst/>
            <a:rect l="l" t="t" r="r" b="b"/>
            <a:pathLst>
              <a:path w="105" h="129" extrusionOk="0">
                <a:moveTo>
                  <a:pt x="5" y="55"/>
                </a:moveTo>
                <a:cubicBezTo>
                  <a:pt x="6" y="55"/>
                  <a:pt x="7" y="55"/>
                  <a:pt x="7" y="55"/>
                </a:cubicBezTo>
                <a:cubicBezTo>
                  <a:pt x="8" y="56"/>
                  <a:pt x="9" y="59"/>
                  <a:pt x="8" y="59"/>
                </a:cubicBezTo>
                <a:cubicBezTo>
                  <a:pt x="8" y="59"/>
                  <a:pt x="8" y="59"/>
                  <a:pt x="8" y="59"/>
                </a:cubicBezTo>
                <a:cubicBezTo>
                  <a:pt x="7" y="58"/>
                  <a:pt x="6" y="58"/>
                  <a:pt x="6" y="58"/>
                </a:cubicBezTo>
                <a:cubicBezTo>
                  <a:pt x="6" y="58"/>
                  <a:pt x="6" y="58"/>
                  <a:pt x="6" y="58"/>
                </a:cubicBezTo>
                <a:cubicBezTo>
                  <a:pt x="6" y="58"/>
                  <a:pt x="8" y="61"/>
                  <a:pt x="6" y="63"/>
                </a:cubicBezTo>
                <a:cubicBezTo>
                  <a:pt x="5" y="65"/>
                  <a:pt x="1" y="70"/>
                  <a:pt x="1" y="70"/>
                </a:cubicBezTo>
                <a:cubicBezTo>
                  <a:pt x="3" y="76"/>
                  <a:pt x="3" y="76"/>
                  <a:pt x="3" y="76"/>
                </a:cubicBezTo>
                <a:cubicBezTo>
                  <a:pt x="3" y="75"/>
                  <a:pt x="5" y="84"/>
                  <a:pt x="7" y="85"/>
                </a:cubicBezTo>
                <a:cubicBezTo>
                  <a:pt x="9" y="87"/>
                  <a:pt x="11" y="90"/>
                  <a:pt x="11" y="90"/>
                </a:cubicBezTo>
                <a:cubicBezTo>
                  <a:pt x="11" y="90"/>
                  <a:pt x="12" y="96"/>
                  <a:pt x="13" y="98"/>
                </a:cubicBezTo>
                <a:cubicBezTo>
                  <a:pt x="14" y="101"/>
                  <a:pt x="14" y="105"/>
                  <a:pt x="16" y="107"/>
                </a:cubicBezTo>
                <a:cubicBezTo>
                  <a:pt x="17" y="109"/>
                  <a:pt x="17" y="116"/>
                  <a:pt x="17" y="116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22" y="126"/>
                  <a:pt x="22" y="126"/>
                  <a:pt x="22" y="126"/>
                </a:cubicBezTo>
                <a:cubicBezTo>
                  <a:pt x="29" y="120"/>
                  <a:pt x="29" y="120"/>
                  <a:pt x="29" y="120"/>
                </a:cubicBezTo>
                <a:cubicBezTo>
                  <a:pt x="29" y="120"/>
                  <a:pt x="34" y="123"/>
                  <a:pt x="37" y="123"/>
                </a:cubicBezTo>
                <a:cubicBezTo>
                  <a:pt x="43" y="123"/>
                  <a:pt x="43" y="123"/>
                  <a:pt x="43" y="123"/>
                </a:cubicBezTo>
                <a:cubicBezTo>
                  <a:pt x="43" y="123"/>
                  <a:pt x="45" y="126"/>
                  <a:pt x="45" y="128"/>
                </a:cubicBezTo>
                <a:cubicBezTo>
                  <a:pt x="46" y="128"/>
                  <a:pt x="46" y="129"/>
                  <a:pt x="46" y="129"/>
                </a:cubicBezTo>
                <a:cubicBezTo>
                  <a:pt x="46" y="129"/>
                  <a:pt x="47" y="128"/>
                  <a:pt x="48" y="124"/>
                </a:cubicBezTo>
                <a:cubicBezTo>
                  <a:pt x="50" y="119"/>
                  <a:pt x="52" y="122"/>
                  <a:pt x="52" y="122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70" y="110"/>
                  <a:pt x="70" y="110"/>
                  <a:pt x="70" y="110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7"/>
                  <a:pt x="73" y="102"/>
                  <a:pt x="73" y="101"/>
                </a:cubicBezTo>
                <a:cubicBezTo>
                  <a:pt x="73" y="99"/>
                  <a:pt x="78" y="93"/>
                  <a:pt x="78" y="93"/>
                </a:cubicBezTo>
                <a:cubicBezTo>
                  <a:pt x="88" y="92"/>
                  <a:pt x="88" y="92"/>
                  <a:pt x="88" y="92"/>
                </a:cubicBezTo>
                <a:cubicBezTo>
                  <a:pt x="96" y="94"/>
                  <a:pt x="96" y="94"/>
                  <a:pt x="96" y="94"/>
                </a:cubicBezTo>
                <a:cubicBezTo>
                  <a:pt x="101" y="98"/>
                  <a:pt x="101" y="98"/>
                  <a:pt x="101" y="98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94"/>
                  <a:pt x="101" y="94"/>
                  <a:pt x="101" y="94"/>
                </a:cubicBezTo>
                <a:cubicBezTo>
                  <a:pt x="101" y="94"/>
                  <a:pt x="104" y="86"/>
                  <a:pt x="104" y="83"/>
                </a:cubicBezTo>
                <a:cubicBezTo>
                  <a:pt x="104" y="80"/>
                  <a:pt x="105" y="80"/>
                  <a:pt x="104" y="78"/>
                </a:cubicBezTo>
                <a:cubicBezTo>
                  <a:pt x="103" y="76"/>
                  <a:pt x="102" y="74"/>
                  <a:pt x="100" y="73"/>
                </a:cubicBezTo>
                <a:cubicBezTo>
                  <a:pt x="97" y="71"/>
                  <a:pt x="97" y="69"/>
                  <a:pt x="97" y="66"/>
                </a:cubicBezTo>
                <a:cubicBezTo>
                  <a:pt x="96" y="64"/>
                  <a:pt x="97" y="61"/>
                  <a:pt x="97" y="61"/>
                </a:cubicBezTo>
                <a:cubicBezTo>
                  <a:pt x="84" y="62"/>
                  <a:pt x="84" y="62"/>
                  <a:pt x="84" y="62"/>
                </a:cubicBezTo>
                <a:cubicBezTo>
                  <a:pt x="84" y="62"/>
                  <a:pt x="84" y="60"/>
                  <a:pt x="83" y="57"/>
                </a:cubicBezTo>
                <a:cubicBezTo>
                  <a:pt x="81" y="54"/>
                  <a:pt x="80" y="52"/>
                  <a:pt x="81" y="50"/>
                </a:cubicBezTo>
                <a:cubicBezTo>
                  <a:pt x="82" y="48"/>
                  <a:pt x="84" y="45"/>
                  <a:pt x="84" y="45"/>
                </a:cubicBezTo>
                <a:cubicBezTo>
                  <a:pt x="84" y="45"/>
                  <a:pt x="83" y="42"/>
                  <a:pt x="82" y="40"/>
                </a:cubicBezTo>
                <a:cubicBezTo>
                  <a:pt x="81" y="37"/>
                  <a:pt x="81" y="34"/>
                  <a:pt x="79" y="32"/>
                </a:cubicBezTo>
                <a:cubicBezTo>
                  <a:pt x="78" y="30"/>
                  <a:pt x="76" y="32"/>
                  <a:pt x="74" y="32"/>
                </a:cubicBezTo>
                <a:cubicBezTo>
                  <a:pt x="71" y="32"/>
                  <a:pt x="70" y="30"/>
                  <a:pt x="67" y="30"/>
                </a:cubicBezTo>
                <a:cubicBezTo>
                  <a:pt x="64" y="30"/>
                  <a:pt x="63" y="28"/>
                  <a:pt x="61" y="27"/>
                </a:cubicBezTo>
                <a:cubicBezTo>
                  <a:pt x="58" y="25"/>
                  <a:pt x="59" y="24"/>
                  <a:pt x="56" y="23"/>
                </a:cubicBezTo>
                <a:cubicBezTo>
                  <a:pt x="53" y="21"/>
                  <a:pt x="52" y="20"/>
                  <a:pt x="49" y="17"/>
                </a:cubicBezTo>
                <a:cubicBezTo>
                  <a:pt x="47" y="14"/>
                  <a:pt x="46" y="18"/>
                  <a:pt x="44" y="18"/>
                </a:cubicBezTo>
                <a:cubicBezTo>
                  <a:pt x="41" y="17"/>
                  <a:pt x="41" y="17"/>
                  <a:pt x="39" y="16"/>
                </a:cubicBezTo>
                <a:cubicBezTo>
                  <a:pt x="37" y="16"/>
                  <a:pt x="36" y="13"/>
                  <a:pt x="35" y="11"/>
                </a:cubicBezTo>
                <a:cubicBezTo>
                  <a:pt x="34" y="9"/>
                  <a:pt x="38" y="2"/>
                  <a:pt x="38" y="2"/>
                </a:cubicBezTo>
                <a:cubicBezTo>
                  <a:pt x="37" y="0"/>
                  <a:pt x="37" y="0"/>
                  <a:pt x="37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0" y="0"/>
                  <a:pt x="26" y="2"/>
                  <a:pt x="22" y="2"/>
                </a:cubicBezTo>
                <a:cubicBezTo>
                  <a:pt x="19" y="3"/>
                  <a:pt x="13" y="13"/>
                  <a:pt x="13" y="13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3"/>
                  <a:pt x="8" y="14"/>
                  <a:pt x="9" y="16"/>
                </a:cubicBezTo>
                <a:cubicBezTo>
                  <a:pt x="10" y="17"/>
                  <a:pt x="5" y="19"/>
                  <a:pt x="4" y="18"/>
                </a:cubicBezTo>
                <a:cubicBezTo>
                  <a:pt x="2" y="17"/>
                  <a:pt x="0" y="17"/>
                  <a:pt x="0" y="17"/>
                </a:cubicBezTo>
                <a:cubicBezTo>
                  <a:pt x="5" y="28"/>
                  <a:pt x="5" y="28"/>
                  <a:pt x="5" y="28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1" y="40"/>
                  <a:pt x="2" y="42"/>
                </a:cubicBezTo>
                <a:cubicBezTo>
                  <a:pt x="3" y="45"/>
                  <a:pt x="4" y="47"/>
                  <a:pt x="4" y="47"/>
                </a:cubicBezTo>
                <a:cubicBezTo>
                  <a:pt x="4" y="47"/>
                  <a:pt x="3" y="49"/>
                  <a:pt x="4" y="51"/>
                </a:cubicBezTo>
                <a:cubicBezTo>
                  <a:pt x="5" y="52"/>
                  <a:pt x="5" y="55"/>
                  <a:pt x="5" y="55"/>
                </a:cubicBezTo>
                <a:close/>
                <a:moveTo>
                  <a:pt x="22" y="84"/>
                </a:moveTo>
                <a:cubicBezTo>
                  <a:pt x="25" y="85"/>
                  <a:pt x="24" y="90"/>
                  <a:pt x="24" y="90"/>
                </a:cubicBezTo>
                <a:cubicBezTo>
                  <a:pt x="23" y="89"/>
                  <a:pt x="19" y="83"/>
                  <a:pt x="22" y="84"/>
                </a:cubicBezTo>
                <a:close/>
              </a:path>
            </a:pathLst>
          </a:custGeom>
          <a:solidFill>
            <a:srgbClr val="A5A5A5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3" name="Google Shape;593;p102"/>
          <p:cNvSpPr/>
          <p:nvPr/>
        </p:nvSpPr>
        <p:spPr>
          <a:xfrm>
            <a:off x="8458496" y="3865914"/>
            <a:ext cx="75600" cy="39863"/>
          </a:xfrm>
          <a:custGeom>
            <a:avLst/>
            <a:gdLst/>
            <a:ahLst/>
            <a:cxnLst/>
            <a:rect l="l" t="t" r="r" b="b"/>
            <a:pathLst>
              <a:path w="51" h="29" extrusionOk="0">
                <a:moveTo>
                  <a:pt x="2" y="14"/>
                </a:moveTo>
                <a:lnTo>
                  <a:pt x="0" y="22"/>
                </a:lnTo>
                <a:lnTo>
                  <a:pt x="6" y="29"/>
                </a:lnTo>
                <a:lnTo>
                  <a:pt x="14" y="27"/>
                </a:lnTo>
                <a:lnTo>
                  <a:pt x="22" y="25"/>
                </a:lnTo>
                <a:lnTo>
                  <a:pt x="32" y="29"/>
                </a:lnTo>
                <a:lnTo>
                  <a:pt x="47" y="27"/>
                </a:lnTo>
                <a:lnTo>
                  <a:pt x="51" y="25"/>
                </a:lnTo>
                <a:lnTo>
                  <a:pt x="51" y="18"/>
                </a:lnTo>
                <a:lnTo>
                  <a:pt x="49" y="6"/>
                </a:lnTo>
                <a:lnTo>
                  <a:pt x="38" y="4"/>
                </a:lnTo>
                <a:lnTo>
                  <a:pt x="30" y="4"/>
                </a:lnTo>
                <a:lnTo>
                  <a:pt x="22" y="0"/>
                </a:lnTo>
                <a:lnTo>
                  <a:pt x="12" y="2"/>
                </a:lnTo>
                <a:lnTo>
                  <a:pt x="6" y="4"/>
                </a:lnTo>
                <a:lnTo>
                  <a:pt x="2" y="14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4" name="Google Shape;594;p102"/>
          <p:cNvSpPr/>
          <p:nvPr/>
        </p:nvSpPr>
        <p:spPr>
          <a:xfrm>
            <a:off x="6257489" y="4328661"/>
            <a:ext cx="72165" cy="204509"/>
          </a:xfrm>
          <a:custGeom>
            <a:avLst/>
            <a:gdLst/>
            <a:ahLst/>
            <a:cxnLst/>
            <a:rect l="l" t="t" r="r" b="b"/>
            <a:pathLst>
              <a:path w="25" h="74" extrusionOk="0">
                <a:moveTo>
                  <a:pt x="17" y="69"/>
                </a:moveTo>
                <a:cubicBezTo>
                  <a:pt x="17" y="69"/>
                  <a:pt x="18" y="64"/>
                  <a:pt x="18" y="62"/>
                </a:cubicBezTo>
                <a:cubicBezTo>
                  <a:pt x="18" y="60"/>
                  <a:pt x="18" y="58"/>
                  <a:pt x="17" y="56"/>
                </a:cubicBezTo>
                <a:cubicBezTo>
                  <a:pt x="15" y="54"/>
                  <a:pt x="18" y="46"/>
                  <a:pt x="17" y="44"/>
                </a:cubicBezTo>
                <a:cubicBezTo>
                  <a:pt x="16" y="42"/>
                  <a:pt x="16" y="40"/>
                  <a:pt x="18" y="41"/>
                </a:cubicBezTo>
                <a:cubicBezTo>
                  <a:pt x="20" y="42"/>
                  <a:pt x="21" y="40"/>
                  <a:pt x="20" y="38"/>
                </a:cubicBezTo>
                <a:cubicBezTo>
                  <a:pt x="18" y="36"/>
                  <a:pt x="20" y="36"/>
                  <a:pt x="21" y="34"/>
                </a:cubicBezTo>
                <a:cubicBezTo>
                  <a:pt x="22" y="32"/>
                  <a:pt x="22" y="31"/>
                  <a:pt x="22" y="29"/>
                </a:cubicBezTo>
                <a:cubicBezTo>
                  <a:pt x="22" y="26"/>
                  <a:pt x="22" y="25"/>
                  <a:pt x="24" y="25"/>
                </a:cubicBezTo>
                <a:cubicBezTo>
                  <a:pt x="25" y="25"/>
                  <a:pt x="23" y="23"/>
                  <a:pt x="24" y="20"/>
                </a:cubicBezTo>
                <a:cubicBezTo>
                  <a:pt x="25" y="17"/>
                  <a:pt x="25" y="16"/>
                  <a:pt x="23" y="15"/>
                </a:cubicBezTo>
                <a:cubicBezTo>
                  <a:pt x="21" y="14"/>
                  <a:pt x="20" y="13"/>
                  <a:pt x="22" y="12"/>
                </a:cubicBezTo>
                <a:cubicBezTo>
                  <a:pt x="23" y="11"/>
                  <a:pt x="22" y="7"/>
                  <a:pt x="22" y="7"/>
                </a:cubicBezTo>
                <a:cubicBezTo>
                  <a:pt x="17" y="5"/>
                  <a:pt x="17" y="5"/>
                  <a:pt x="17" y="5"/>
                </a:cubicBezTo>
                <a:cubicBezTo>
                  <a:pt x="17" y="5"/>
                  <a:pt x="18" y="3"/>
                  <a:pt x="16" y="2"/>
                </a:cubicBezTo>
                <a:cubicBezTo>
                  <a:pt x="14" y="0"/>
                  <a:pt x="12" y="1"/>
                  <a:pt x="12" y="1"/>
                </a:cubicBezTo>
                <a:cubicBezTo>
                  <a:pt x="8" y="5"/>
                  <a:pt x="8" y="5"/>
                  <a:pt x="8" y="5"/>
                </a:cubicBezTo>
                <a:cubicBezTo>
                  <a:pt x="8" y="5"/>
                  <a:pt x="9" y="7"/>
                  <a:pt x="7" y="8"/>
                </a:cubicBezTo>
                <a:cubicBezTo>
                  <a:pt x="6" y="10"/>
                  <a:pt x="4" y="10"/>
                  <a:pt x="4" y="10"/>
                </a:cubicBezTo>
                <a:cubicBezTo>
                  <a:pt x="4" y="10"/>
                  <a:pt x="4" y="13"/>
                  <a:pt x="3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22"/>
                  <a:pt x="0" y="22"/>
                  <a:pt x="0" y="22"/>
                </a:cubicBezTo>
                <a:cubicBezTo>
                  <a:pt x="7" y="23"/>
                  <a:pt x="7" y="23"/>
                  <a:pt x="7" y="23"/>
                </a:cubicBezTo>
                <a:cubicBezTo>
                  <a:pt x="7" y="23"/>
                  <a:pt x="8" y="27"/>
                  <a:pt x="7" y="29"/>
                </a:cubicBezTo>
                <a:cubicBezTo>
                  <a:pt x="6" y="31"/>
                  <a:pt x="8" y="34"/>
                  <a:pt x="8" y="34"/>
                </a:cubicBezTo>
                <a:cubicBezTo>
                  <a:pt x="8" y="34"/>
                  <a:pt x="9" y="36"/>
                  <a:pt x="8" y="40"/>
                </a:cubicBezTo>
                <a:cubicBezTo>
                  <a:pt x="6" y="45"/>
                  <a:pt x="8" y="45"/>
                  <a:pt x="8" y="48"/>
                </a:cubicBezTo>
                <a:cubicBezTo>
                  <a:pt x="8" y="52"/>
                  <a:pt x="8" y="52"/>
                  <a:pt x="7" y="55"/>
                </a:cubicBezTo>
                <a:cubicBezTo>
                  <a:pt x="6" y="58"/>
                  <a:pt x="6" y="59"/>
                  <a:pt x="7" y="61"/>
                </a:cubicBezTo>
                <a:cubicBezTo>
                  <a:pt x="8" y="64"/>
                  <a:pt x="7" y="67"/>
                  <a:pt x="7" y="67"/>
                </a:cubicBezTo>
                <a:cubicBezTo>
                  <a:pt x="7" y="67"/>
                  <a:pt x="7" y="67"/>
                  <a:pt x="8" y="69"/>
                </a:cubicBezTo>
                <a:cubicBezTo>
                  <a:pt x="10" y="71"/>
                  <a:pt x="10" y="74"/>
                  <a:pt x="10" y="74"/>
                </a:cubicBezTo>
                <a:cubicBezTo>
                  <a:pt x="10" y="74"/>
                  <a:pt x="10" y="74"/>
                  <a:pt x="10" y="74"/>
                </a:cubicBezTo>
                <a:cubicBezTo>
                  <a:pt x="10" y="74"/>
                  <a:pt x="12" y="71"/>
                  <a:pt x="12" y="71"/>
                </a:cubicBezTo>
                <a:cubicBezTo>
                  <a:pt x="13" y="71"/>
                  <a:pt x="14" y="70"/>
                  <a:pt x="17" y="69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5" name="Google Shape;595;p102"/>
          <p:cNvSpPr/>
          <p:nvPr/>
        </p:nvSpPr>
        <p:spPr>
          <a:xfrm>
            <a:off x="4022117" y="4157080"/>
            <a:ext cx="32647" cy="79725"/>
          </a:xfrm>
          <a:custGeom>
            <a:avLst/>
            <a:gdLst/>
            <a:ahLst/>
            <a:cxnLst/>
            <a:rect l="l" t="t" r="r" b="b"/>
            <a:pathLst>
              <a:path w="11" h="29" extrusionOk="0">
                <a:moveTo>
                  <a:pt x="3" y="29"/>
                </a:moveTo>
                <a:cubicBezTo>
                  <a:pt x="6" y="26"/>
                  <a:pt x="11" y="17"/>
                  <a:pt x="8" y="15"/>
                </a:cubicBezTo>
                <a:cubicBezTo>
                  <a:pt x="8" y="15"/>
                  <a:pt x="10" y="13"/>
                  <a:pt x="10" y="13"/>
                </a:cubicBezTo>
                <a:cubicBezTo>
                  <a:pt x="11" y="9"/>
                  <a:pt x="10" y="7"/>
                  <a:pt x="10" y="3"/>
                </a:cubicBezTo>
                <a:cubicBezTo>
                  <a:pt x="9" y="3"/>
                  <a:pt x="8" y="3"/>
                  <a:pt x="8" y="2"/>
                </a:cubicBezTo>
                <a:cubicBezTo>
                  <a:pt x="8" y="2"/>
                  <a:pt x="8" y="2"/>
                  <a:pt x="8" y="2"/>
                </a:cubicBezTo>
                <a:cubicBezTo>
                  <a:pt x="5" y="0"/>
                  <a:pt x="4" y="3"/>
                  <a:pt x="4" y="3"/>
                </a:cubicBezTo>
                <a:cubicBezTo>
                  <a:pt x="1" y="5"/>
                  <a:pt x="1" y="5"/>
                  <a:pt x="1" y="5"/>
                </a:cubicBezTo>
                <a:cubicBezTo>
                  <a:pt x="0" y="29"/>
                  <a:pt x="0" y="29"/>
                  <a:pt x="0" y="29"/>
                </a:cubicBezTo>
                <a:lnTo>
                  <a:pt x="3" y="29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6" name="Google Shape;596;p102"/>
          <p:cNvSpPr/>
          <p:nvPr/>
        </p:nvSpPr>
        <p:spPr>
          <a:xfrm>
            <a:off x="6294464" y="3079072"/>
            <a:ext cx="101374" cy="69326"/>
          </a:xfrm>
          <a:custGeom>
            <a:avLst/>
            <a:gdLst/>
            <a:ahLst/>
            <a:cxnLst/>
            <a:rect l="l" t="t" r="r" b="b"/>
            <a:pathLst>
              <a:path w="36" h="25" extrusionOk="0">
                <a:moveTo>
                  <a:pt x="10" y="0"/>
                </a:moveTo>
                <a:cubicBezTo>
                  <a:pt x="9" y="1"/>
                  <a:pt x="7" y="2"/>
                  <a:pt x="6" y="2"/>
                </a:cubicBezTo>
                <a:cubicBezTo>
                  <a:pt x="4" y="3"/>
                  <a:pt x="2" y="3"/>
                  <a:pt x="0" y="4"/>
                </a:cubicBezTo>
                <a:cubicBezTo>
                  <a:pt x="2" y="7"/>
                  <a:pt x="2" y="7"/>
                  <a:pt x="2" y="7"/>
                </a:cubicBezTo>
                <a:cubicBezTo>
                  <a:pt x="2" y="7"/>
                  <a:pt x="4" y="6"/>
                  <a:pt x="4" y="8"/>
                </a:cubicBezTo>
                <a:cubicBezTo>
                  <a:pt x="5" y="10"/>
                  <a:pt x="5" y="11"/>
                  <a:pt x="5" y="11"/>
                </a:cubicBezTo>
                <a:cubicBezTo>
                  <a:pt x="5" y="11"/>
                  <a:pt x="7" y="11"/>
                  <a:pt x="9" y="14"/>
                </a:cubicBezTo>
                <a:cubicBezTo>
                  <a:pt x="12" y="17"/>
                  <a:pt x="13" y="15"/>
                  <a:pt x="13" y="15"/>
                </a:cubicBezTo>
                <a:cubicBezTo>
                  <a:pt x="13" y="15"/>
                  <a:pt x="13" y="16"/>
                  <a:pt x="15" y="18"/>
                </a:cubicBezTo>
                <a:cubicBezTo>
                  <a:pt x="17" y="20"/>
                  <a:pt x="18" y="20"/>
                  <a:pt x="19" y="21"/>
                </a:cubicBezTo>
                <a:cubicBezTo>
                  <a:pt x="21" y="22"/>
                  <a:pt x="23" y="18"/>
                  <a:pt x="23" y="21"/>
                </a:cubicBezTo>
                <a:cubicBezTo>
                  <a:pt x="23" y="24"/>
                  <a:pt x="23" y="24"/>
                  <a:pt x="25" y="24"/>
                </a:cubicBezTo>
                <a:cubicBezTo>
                  <a:pt x="27" y="24"/>
                  <a:pt x="27" y="25"/>
                  <a:pt x="27" y="25"/>
                </a:cubicBezTo>
                <a:cubicBezTo>
                  <a:pt x="31" y="24"/>
                  <a:pt x="31" y="24"/>
                  <a:pt x="31" y="24"/>
                </a:cubicBezTo>
                <a:cubicBezTo>
                  <a:pt x="31" y="23"/>
                  <a:pt x="31" y="23"/>
                  <a:pt x="32" y="22"/>
                </a:cubicBezTo>
                <a:cubicBezTo>
                  <a:pt x="32" y="21"/>
                  <a:pt x="30" y="19"/>
                  <a:pt x="34" y="19"/>
                </a:cubicBezTo>
                <a:cubicBezTo>
                  <a:pt x="34" y="19"/>
                  <a:pt x="36" y="14"/>
                  <a:pt x="33" y="13"/>
                </a:cubicBezTo>
                <a:cubicBezTo>
                  <a:pt x="30" y="11"/>
                  <a:pt x="35" y="10"/>
                  <a:pt x="34" y="10"/>
                </a:cubicBezTo>
                <a:cubicBezTo>
                  <a:pt x="32" y="10"/>
                  <a:pt x="30" y="8"/>
                  <a:pt x="30" y="8"/>
                </a:cubicBezTo>
                <a:cubicBezTo>
                  <a:pt x="30" y="8"/>
                  <a:pt x="26" y="8"/>
                  <a:pt x="26" y="6"/>
                </a:cubicBezTo>
                <a:cubicBezTo>
                  <a:pt x="26" y="4"/>
                  <a:pt x="25" y="5"/>
                  <a:pt x="22" y="5"/>
                </a:cubicBezTo>
                <a:cubicBezTo>
                  <a:pt x="20" y="5"/>
                  <a:pt x="20" y="7"/>
                  <a:pt x="17" y="6"/>
                </a:cubicBezTo>
                <a:cubicBezTo>
                  <a:pt x="12" y="6"/>
                  <a:pt x="10" y="0"/>
                  <a:pt x="10" y="0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7" name="Google Shape;597;p102"/>
          <p:cNvSpPr/>
          <p:nvPr/>
        </p:nvSpPr>
        <p:spPr>
          <a:xfrm>
            <a:off x="6856244" y="2895360"/>
            <a:ext cx="187284" cy="176779"/>
          </a:xfrm>
          <a:custGeom>
            <a:avLst/>
            <a:gdLst/>
            <a:ahLst/>
            <a:cxnLst/>
            <a:rect l="l" t="t" r="r" b="b"/>
            <a:pathLst>
              <a:path w="65" h="64" extrusionOk="0">
                <a:moveTo>
                  <a:pt x="18" y="15"/>
                </a:moveTo>
                <a:cubicBezTo>
                  <a:pt x="18" y="15"/>
                  <a:pt x="21" y="9"/>
                  <a:pt x="24" y="11"/>
                </a:cubicBezTo>
                <a:cubicBezTo>
                  <a:pt x="28" y="13"/>
                  <a:pt x="28" y="12"/>
                  <a:pt x="28" y="8"/>
                </a:cubicBezTo>
                <a:cubicBezTo>
                  <a:pt x="28" y="4"/>
                  <a:pt x="30" y="3"/>
                  <a:pt x="30" y="3"/>
                </a:cubicBezTo>
                <a:cubicBezTo>
                  <a:pt x="30" y="3"/>
                  <a:pt x="34" y="5"/>
                  <a:pt x="36" y="3"/>
                </a:cubicBezTo>
                <a:cubicBezTo>
                  <a:pt x="37" y="0"/>
                  <a:pt x="36" y="7"/>
                  <a:pt x="38" y="5"/>
                </a:cubicBezTo>
                <a:cubicBezTo>
                  <a:pt x="40" y="4"/>
                  <a:pt x="42" y="4"/>
                  <a:pt x="42" y="4"/>
                </a:cubicBezTo>
                <a:cubicBezTo>
                  <a:pt x="42" y="4"/>
                  <a:pt x="44" y="4"/>
                  <a:pt x="46" y="5"/>
                </a:cubicBezTo>
                <a:cubicBezTo>
                  <a:pt x="48" y="6"/>
                  <a:pt x="51" y="6"/>
                  <a:pt x="51" y="9"/>
                </a:cubicBezTo>
                <a:cubicBezTo>
                  <a:pt x="51" y="11"/>
                  <a:pt x="54" y="9"/>
                  <a:pt x="54" y="13"/>
                </a:cubicBezTo>
                <a:cubicBezTo>
                  <a:pt x="54" y="16"/>
                  <a:pt x="56" y="16"/>
                  <a:pt x="56" y="20"/>
                </a:cubicBezTo>
                <a:cubicBezTo>
                  <a:pt x="56" y="24"/>
                  <a:pt x="55" y="26"/>
                  <a:pt x="57" y="27"/>
                </a:cubicBezTo>
                <a:cubicBezTo>
                  <a:pt x="59" y="29"/>
                  <a:pt x="62" y="29"/>
                  <a:pt x="63" y="32"/>
                </a:cubicBezTo>
                <a:cubicBezTo>
                  <a:pt x="64" y="35"/>
                  <a:pt x="65" y="38"/>
                  <a:pt x="63" y="39"/>
                </a:cubicBezTo>
                <a:cubicBezTo>
                  <a:pt x="60" y="39"/>
                  <a:pt x="59" y="36"/>
                  <a:pt x="57" y="39"/>
                </a:cubicBezTo>
                <a:cubicBezTo>
                  <a:pt x="56" y="42"/>
                  <a:pt x="60" y="42"/>
                  <a:pt x="60" y="44"/>
                </a:cubicBezTo>
                <a:cubicBezTo>
                  <a:pt x="60" y="55"/>
                  <a:pt x="60" y="55"/>
                  <a:pt x="60" y="55"/>
                </a:cubicBezTo>
                <a:cubicBezTo>
                  <a:pt x="60" y="55"/>
                  <a:pt x="59" y="55"/>
                  <a:pt x="57" y="55"/>
                </a:cubicBezTo>
                <a:cubicBezTo>
                  <a:pt x="55" y="55"/>
                  <a:pt x="55" y="55"/>
                  <a:pt x="55" y="58"/>
                </a:cubicBezTo>
                <a:cubicBezTo>
                  <a:pt x="54" y="61"/>
                  <a:pt x="55" y="62"/>
                  <a:pt x="52" y="61"/>
                </a:cubicBezTo>
                <a:cubicBezTo>
                  <a:pt x="50" y="61"/>
                  <a:pt x="47" y="60"/>
                  <a:pt x="45" y="61"/>
                </a:cubicBezTo>
                <a:cubicBezTo>
                  <a:pt x="43" y="61"/>
                  <a:pt x="43" y="59"/>
                  <a:pt x="41" y="61"/>
                </a:cubicBezTo>
                <a:cubicBezTo>
                  <a:pt x="39" y="62"/>
                  <a:pt x="38" y="59"/>
                  <a:pt x="37" y="59"/>
                </a:cubicBezTo>
                <a:cubicBezTo>
                  <a:pt x="37" y="60"/>
                  <a:pt x="36" y="62"/>
                  <a:pt x="36" y="62"/>
                </a:cubicBezTo>
                <a:cubicBezTo>
                  <a:pt x="35" y="60"/>
                  <a:pt x="35" y="60"/>
                  <a:pt x="35" y="60"/>
                </a:cubicBezTo>
                <a:cubicBezTo>
                  <a:pt x="35" y="60"/>
                  <a:pt x="34" y="60"/>
                  <a:pt x="32" y="60"/>
                </a:cubicBezTo>
                <a:cubicBezTo>
                  <a:pt x="29" y="60"/>
                  <a:pt x="27" y="61"/>
                  <a:pt x="24" y="60"/>
                </a:cubicBezTo>
                <a:cubicBezTo>
                  <a:pt x="22" y="59"/>
                  <a:pt x="18" y="59"/>
                  <a:pt x="15" y="58"/>
                </a:cubicBezTo>
                <a:cubicBezTo>
                  <a:pt x="13" y="58"/>
                  <a:pt x="9" y="59"/>
                  <a:pt x="9" y="59"/>
                </a:cubicBezTo>
                <a:cubicBezTo>
                  <a:pt x="9" y="59"/>
                  <a:pt x="6" y="64"/>
                  <a:pt x="5" y="61"/>
                </a:cubicBezTo>
                <a:cubicBezTo>
                  <a:pt x="4" y="57"/>
                  <a:pt x="1" y="60"/>
                  <a:pt x="1" y="60"/>
                </a:cubicBezTo>
                <a:cubicBezTo>
                  <a:pt x="1" y="60"/>
                  <a:pt x="0" y="55"/>
                  <a:pt x="0" y="53"/>
                </a:cubicBezTo>
                <a:cubicBezTo>
                  <a:pt x="0" y="51"/>
                  <a:pt x="4" y="47"/>
                  <a:pt x="2" y="45"/>
                </a:cubicBezTo>
                <a:cubicBezTo>
                  <a:pt x="0" y="43"/>
                  <a:pt x="0" y="38"/>
                  <a:pt x="0" y="38"/>
                </a:cubicBezTo>
                <a:cubicBezTo>
                  <a:pt x="4" y="36"/>
                  <a:pt x="4" y="36"/>
                  <a:pt x="4" y="36"/>
                </a:cubicBezTo>
                <a:cubicBezTo>
                  <a:pt x="9" y="36"/>
                  <a:pt x="9" y="36"/>
                  <a:pt x="9" y="36"/>
                </a:cubicBezTo>
                <a:cubicBezTo>
                  <a:pt x="10" y="36"/>
                  <a:pt x="10" y="33"/>
                  <a:pt x="10" y="33"/>
                </a:cubicBezTo>
                <a:cubicBezTo>
                  <a:pt x="14" y="33"/>
                  <a:pt x="14" y="33"/>
                  <a:pt x="14" y="33"/>
                </a:cubicBezTo>
                <a:cubicBezTo>
                  <a:pt x="14" y="33"/>
                  <a:pt x="14" y="31"/>
                  <a:pt x="14" y="28"/>
                </a:cubicBezTo>
                <a:cubicBezTo>
                  <a:pt x="13" y="25"/>
                  <a:pt x="15" y="22"/>
                  <a:pt x="17" y="20"/>
                </a:cubicBezTo>
                <a:cubicBezTo>
                  <a:pt x="19" y="18"/>
                  <a:pt x="18" y="15"/>
                  <a:pt x="18" y="15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8" name="Google Shape;598;p102"/>
          <p:cNvSpPr/>
          <p:nvPr/>
        </p:nvSpPr>
        <p:spPr>
          <a:xfrm>
            <a:off x="4293593" y="3959503"/>
            <a:ext cx="20618" cy="15598"/>
          </a:xfrm>
          <a:custGeom>
            <a:avLst/>
            <a:gdLst/>
            <a:ahLst/>
            <a:cxnLst/>
            <a:rect l="l" t="t" r="r" b="b"/>
            <a:pathLst>
              <a:path w="7" h="6" extrusionOk="0">
                <a:moveTo>
                  <a:pt x="1" y="0"/>
                </a:moveTo>
                <a:cubicBezTo>
                  <a:pt x="1" y="2"/>
                  <a:pt x="0" y="2"/>
                  <a:pt x="0" y="4"/>
                </a:cubicBezTo>
                <a:cubicBezTo>
                  <a:pt x="6" y="6"/>
                  <a:pt x="7" y="6"/>
                  <a:pt x="4" y="0"/>
                </a:cubicBezTo>
                <a:cubicBezTo>
                  <a:pt x="3" y="0"/>
                  <a:pt x="2" y="0"/>
                  <a:pt x="1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9" name="Google Shape;599;p102"/>
          <p:cNvSpPr/>
          <p:nvPr/>
        </p:nvSpPr>
        <p:spPr>
          <a:xfrm>
            <a:off x="4293593" y="3959503"/>
            <a:ext cx="20618" cy="15598"/>
          </a:xfrm>
          <a:custGeom>
            <a:avLst/>
            <a:gdLst/>
            <a:ahLst/>
            <a:cxnLst/>
            <a:rect l="l" t="t" r="r" b="b"/>
            <a:pathLst>
              <a:path w="7" h="6" extrusionOk="0">
                <a:moveTo>
                  <a:pt x="1" y="0"/>
                </a:moveTo>
                <a:cubicBezTo>
                  <a:pt x="1" y="2"/>
                  <a:pt x="0" y="2"/>
                  <a:pt x="0" y="4"/>
                </a:cubicBezTo>
                <a:cubicBezTo>
                  <a:pt x="6" y="6"/>
                  <a:pt x="7" y="6"/>
                  <a:pt x="4" y="0"/>
                </a:cubicBezTo>
                <a:cubicBezTo>
                  <a:pt x="3" y="0"/>
                  <a:pt x="2" y="0"/>
                  <a:pt x="1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0" name="Google Shape;600;p102"/>
          <p:cNvSpPr/>
          <p:nvPr/>
        </p:nvSpPr>
        <p:spPr>
          <a:xfrm>
            <a:off x="8418978" y="3926575"/>
            <a:ext cx="135737" cy="188911"/>
          </a:xfrm>
          <a:custGeom>
            <a:avLst/>
            <a:gdLst/>
            <a:ahLst/>
            <a:cxnLst/>
            <a:rect l="l" t="t" r="r" b="b"/>
            <a:pathLst>
              <a:path w="47" h="68" extrusionOk="0">
                <a:moveTo>
                  <a:pt x="8" y="53"/>
                </a:moveTo>
                <a:cubicBezTo>
                  <a:pt x="8" y="53"/>
                  <a:pt x="8" y="55"/>
                  <a:pt x="8" y="55"/>
                </a:cubicBezTo>
                <a:cubicBezTo>
                  <a:pt x="13" y="56"/>
                  <a:pt x="12" y="53"/>
                  <a:pt x="14" y="53"/>
                </a:cubicBezTo>
                <a:cubicBezTo>
                  <a:pt x="14" y="52"/>
                  <a:pt x="16" y="53"/>
                  <a:pt x="16" y="53"/>
                </a:cubicBezTo>
                <a:cubicBezTo>
                  <a:pt x="16" y="51"/>
                  <a:pt x="16" y="51"/>
                  <a:pt x="16" y="51"/>
                </a:cubicBezTo>
                <a:cubicBezTo>
                  <a:pt x="17" y="51"/>
                  <a:pt x="17" y="52"/>
                  <a:pt x="19" y="51"/>
                </a:cubicBezTo>
                <a:cubicBezTo>
                  <a:pt x="19" y="50"/>
                  <a:pt x="19" y="50"/>
                  <a:pt x="19" y="50"/>
                </a:cubicBezTo>
                <a:cubicBezTo>
                  <a:pt x="21" y="50"/>
                  <a:pt x="20" y="51"/>
                  <a:pt x="21" y="52"/>
                </a:cubicBezTo>
                <a:cubicBezTo>
                  <a:pt x="22" y="51"/>
                  <a:pt x="24" y="51"/>
                  <a:pt x="24" y="51"/>
                </a:cubicBezTo>
                <a:cubicBezTo>
                  <a:pt x="24" y="50"/>
                  <a:pt x="26" y="48"/>
                  <a:pt x="25" y="47"/>
                </a:cubicBezTo>
                <a:cubicBezTo>
                  <a:pt x="24" y="46"/>
                  <a:pt x="24" y="47"/>
                  <a:pt x="24" y="45"/>
                </a:cubicBezTo>
                <a:cubicBezTo>
                  <a:pt x="23" y="46"/>
                  <a:pt x="24" y="44"/>
                  <a:pt x="24" y="44"/>
                </a:cubicBezTo>
                <a:cubicBezTo>
                  <a:pt x="22" y="45"/>
                  <a:pt x="23" y="43"/>
                  <a:pt x="23" y="43"/>
                </a:cubicBezTo>
                <a:cubicBezTo>
                  <a:pt x="24" y="42"/>
                  <a:pt x="25" y="42"/>
                  <a:pt x="26" y="41"/>
                </a:cubicBezTo>
                <a:cubicBezTo>
                  <a:pt x="25" y="39"/>
                  <a:pt x="25" y="38"/>
                  <a:pt x="24" y="37"/>
                </a:cubicBezTo>
                <a:cubicBezTo>
                  <a:pt x="23" y="37"/>
                  <a:pt x="24" y="35"/>
                  <a:pt x="24" y="35"/>
                </a:cubicBezTo>
                <a:cubicBezTo>
                  <a:pt x="26" y="36"/>
                  <a:pt x="27" y="40"/>
                  <a:pt x="29" y="41"/>
                </a:cubicBezTo>
                <a:cubicBezTo>
                  <a:pt x="30" y="41"/>
                  <a:pt x="31" y="40"/>
                  <a:pt x="32" y="41"/>
                </a:cubicBezTo>
                <a:cubicBezTo>
                  <a:pt x="33" y="41"/>
                  <a:pt x="32" y="42"/>
                  <a:pt x="33" y="43"/>
                </a:cubicBezTo>
                <a:cubicBezTo>
                  <a:pt x="34" y="43"/>
                  <a:pt x="37" y="46"/>
                  <a:pt x="37" y="47"/>
                </a:cubicBezTo>
                <a:cubicBezTo>
                  <a:pt x="37" y="47"/>
                  <a:pt x="37" y="48"/>
                  <a:pt x="37" y="49"/>
                </a:cubicBezTo>
                <a:cubicBezTo>
                  <a:pt x="38" y="50"/>
                  <a:pt x="38" y="50"/>
                  <a:pt x="38" y="50"/>
                </a:cubicBezTo>
                <a:cubicBezTo>
                  <a:pt x="39" y="54"/>
                  <a:pt x="38" y="57"/>
                  <a:pt x="39" y="60"/>
                </a:cubicBezTo>
                <a:cubicBezTo>
                  <a:pt x="39" y="61"/>
                  <a:pt x="41" y="62"/>
                  <a:pt x="41" y="62"/>
                </a:cubicBezTo>
                <a:cubicBezTo>
                  <a:pt x="42" y="64"/>
                  <a:pt x="43" y="66"/>
                  <a:pt x="43" y="68"/>
                </a:cubicBezTo>
                <a:cubicBezTo>
                  <a:pt x="43" y="64"/>
                  <a:pt x="43" y="64"/>
                  <a:pt x="43" y="64"/>
                </a:cubicBezTo>
                <a:cubicBezTo>
                  <a:pt x="44" y="61"/>
                  <a:pt x="44" y="61"/>
                  <a:pt x="44" y="61"/>
                </a:cubicBezTo>
                <a:cubicBezTo>
                  <a:pt x="47" y="63"/>
                  <a:pt x="47" y="63"/>
                  <a:pt x="47" y="63"/>
                </a:cubicBezTo>
                <a:cubicBezTo>
                  <a:pt x="47" y="59"/>
                  <a:pt x="47" y="59"/>
                  <a:pt x="47" y="59"/>
                </a:cubicBezTo>
                <a:cubicBezTo>
                  <a:pt x="46" y="56"/>
                  <a:pt x="46" y="56"/>
                  <a:pt x="46" y="56"/>
                </a:cubicBezTo>
                <a:cubicBezTo>
                  <a:pt x="45" y="52"/>
                  <a:pt x="45" y="52"/>
                  <a:pt x="45" y="52"/>
                </a:cubicBezTo>
                <a:cubicBezTo>
                  <a:pt x="44" y="48"/>
                  <a:pt x="44" y="48"/>
                  <a:pt x="44" y="48"/>
                </a:cubicBezTo>
                <a:cubicBezTo>
                  <a:pt x="44" y="43"/>
                  <a:pt x="44" y="43"/>
                  <a:pt x="44" y="43"/>
                </a:cubicBezTo>
                <a:cubicBezTo>
                  <a:pt x="40" y="37"/>
                  <a:pt x="40" y="37"/>
                  <a:pt x="40" y="37"/>
                </a:cubicBezTo>
                <a:cubicBezTo>
                  <a:pt x="39" y="41"/>
                  <a:pt x="39" y="41"/>
                  <a:pt x="39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4" y="38"/>
                  <a:pt x="34" y="38"/>
                  <a:pt x="34" y="38"/>
                </a:cubicBezTo>
                <a:cubicBezTo>
                  <a:pt x="36" y="32"/>
                  <a:pt x="36" y="32"/>
                  <a:pt x="36" y="32"/>
                </a:cubicBezTo>
                <a:cubicBezTo>
                  <a:pt x="38" y="28"/>
                  <a:pt x="38" y="28"/>
                  <a:pt x="38" y="28"/>
                </a:cubicBezTo>
                <a:cubicBezTo>
                  <a:pt x="38" y="28"/>
                  <a:pt x="39" y="24"/>
                  <a:pt x="40" y="23"/>
                </a:cubicBezTo>
                <a:cubicBezTo>
                  <a:pt x="39" y="19"/>
                  <a:pt x="39" y="19"/>
                  <a:pt x="39" y="19"/>
                </a:cubicBezTo>
                <a:cubicBezTo>
                  <a:pt x="44" y="16"/>
                  <a:pt x="44" y="16"/>
                  <a:pt x="44" y="16"/>
                </a:cubicBezTo>
                <a:cubicBezTo>
                  <a:pt x="38" y="16"/>
                  <a:pt x="38" y="16"/>
                  <a:pt x="38" y="16"/>
                </a:cubicBezTo>
                <a:cubicBezTo>
                  <a:pt x="33" y="17"/>
                  <a:pt x="33" y="17"/>
                  <a:pt x="33" y="17"/>
                </a:cubicBezTo>
                <a:cubicBezTo>
                  <a:pt x="28" y="18"/>
                  <a:pt x="28" y="18"/>
                  <a:pt x="28" y="18"/>
                </a:cubicBezTo>
                <a:cubicBezTo>
                  <a:pt x="22" y="18"/>
                  <a:pt x="22" y="18"/>
                  <a:pt x="22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19" y="11"/>
                  <a:pt x="19" y="11"/>
                  <a:pt x="19" y="11"/>
                </a:cubicBezTo>
                <a:cubicBezTo>
                  <a:pt x="20" y="5"/>
                  <a:pt x="20" y="5"/>
                  <a:pt x="20" y="5"/>
                </a:cubicBezTo>
                <a:cubicBezTo>
                  <a:pt x="16" y="3"/>
                  <a:pt x="16" y="3"/>
                  <a:pt x="16" y="3"/>
                </a:cubicBezTo>
                <a:cubicBezTo>
                  <a:pt x="12" y="4"/>
                  <a:pt x="12" y="4"/>
                  <a:pt x="12" y="4"/>
                </a:cubicBezTo>
                <a:cubicBezTo>
                  <a:pt x="7" y="0"/>
                  <a:pt x="7" y="0"/>
                  <a:pt x="7" y="0"/>
                </a:cubicBezTo>
                <a:cubicBezTo>
                  <a:pt x="5" y="4"/>
                  <a:pt x="5" y="4"/>
                  <a:pt x="5" y="4"/>
                </a:cubicBezTo>
                <a:cubicBezTo>
                  <a:pt x="9" y="9"/>
                  <a:pt x="9" y="9"/>
                  <a:pt x="9" y="9"/>
                </a:cubicBezTo>
                <a:cubicBezTo>
                  <a:pt x="7" y="12"/>
                  <a:pt x="7" y="12"/>
                  <a:pt x="7" y="12"/>
                </a:cubicBezTo>
                <a:cubicBezTo>
                  <a:pt x="3" y="14"/>
                  <a:pt x="3" y="14"/>
                  <a:pt x="3" y="14"/>
                </a:cubicBezTo>
                <a:cubicBezTo>
                  <a:pt x="0" y="16"/>
                  <a:pt x="0" y="16"/>
                  <a:pt x="0" y="16"/>
                </a:cubicBezTo>
                <a:cubicBezTo>
                  <a:pt x="1" y="23"/>
                  <a:pt x="1" y="23"/>
                  <a:pt x="1" y="23"/>
                </a:cubicBezTo>
                <a:cubicBezTo>
                  <a:pt x="1" y="25"/>
                  <a:pt x="1" y="25"/>
                  <a:pt x="1" y="25"/>
                </a:cubicBezTo>
                <a:cubicBezTo>
                  <a:pt x="7" y="28"/>
                  <a:pt x="7" y="28"/>
                  <a:pt x="7" y="28"/>
                </a:cubicBezTo>
                <a:cubicBezTo>
                  <a:pt x="9" y="31"/>
                  <a:pt x="9" y="31"/>
                  <a:pt x="9" y="31"/>
                </a:cubicBezTo>
                <a:cubicBezTo>
                  <a:pt x="7" y="37"/>
                  <a:pt x="7" y="37"/>
                  <a:pt x="7" y="37"/>
                </a:cubicBezTo>
                <a:cubicBezTo>
                  <a:pt x="10" y="41"/>
                  <a:pt x="10" y="41"/>
                  <a:pt x="10" y="41"/>
                </a:cubicBezTo>
                <a:cubicBezTo>
                  <a:pt x="10" y="47"/>
                  <a:pt x="10" y="47"/>
                  <a:pt x="10" y="47"/>
                </a:cubicBezTo>
                <a:cubicBezTo>
                  <a:pt x="8" y="50"/>
                  <a:pt x="8" y="50"/>
                  <a:pt x="8" y="50"/>
                </a:cubicBezTo>
                <a:cubicBezTo>
                  <a:pt x="8" y="53"/>
                  <a:pt x="8" y="53"/>
                  <a:pt x="8" y="5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1" name="Google Shape;601;p102"/>
          <p:cNvSpPr/>
          <p:nvPr/>
        </p:nvSpPr>
        <p:spPr>
          <a:xfrm>
            <a:off x="7362288" y="3415299"/>
            <a:ext cx="127146" cy="109188"/>
          </a:xfrm>
          <a:custGeom>
            <a:avLst/>
            <a:gdLst/>
            <a:ahLst/>
            <a:cxnLst/>
            <a:rect l="l" t="t" r="r" b="b"/>
            <a:pathLst>
              <a:path w="44" h="39" extrusionOk="0">
                <a:moveTo>
                  <a:pt x="33" y="5"/>
                </a:moveTo>
                <a:cubicBezTo>
                  <a:pt x="33" y="5"/>
                  <a:pt x="30" y="11"/>
                  <a:pt x="29" y="11"/>
                </a:cubicBezTo>
                <a:cubicBezTo>
                  <a:pt x="27" y="11"/>
                  <a:pt x="26" y="10"/>
                  <a:pt x="25" y="7"/>
                </a:cubicBezTo>
                <a:cubicBezTo>
                  <a:pt x="24" y="5"/>
                  <a:pt x="23" y="5"/>
                  <a:pt x="21" y="3"/>
                </a:cubicBezTo>
                <a:cubicBezTo>
                  <a:pt x="20" y="1"/>
                  <a:pt x="18" y="0"/>
                  <a:pt x="18" y="0"/>
                </a:cubicBezTo>
                <a:cubicBezTo>
                  <a:pt x="18" y="0"/>
                  <a:pt x="14" y="1"/>
                  <a:pt x="15" y="3"/>
                </a:cubicBezTo>
                <a:cubicBezTo>
                  <a:pt x="17" y="4"/>
                  <a:pt x="18" y="6"/>
                  <a:pt x="17" y="7"/>
                </a:cubicBezTo>
                <a:cubicBezTo>
                  <a:pt x="16" y="9"/>
                  <a:pt x="12" y="5"/>
                  <a:pt x="12" y="5"/>
                </a:cubicBezTo>
                <a:cubicBezTo>
                  <a:pt x="12" y="5"/>
                  <a:pt x="11" y="2"/>
                  <a:pt x="8" y="2"/>
                </a:cubicBezTo>
                <a:cubicBezTo>
                  <a:pt x="6" y="2"/>
                  <a:pt x="6" y="1"/>
                  <a:pt x="5" y="3"/>
                </a:cubicBezTo>
                <a:cubicBezTo>
                  <a:pt x="4" y="5"/>
                  <a:pt x="2" y="7"/>
                  <a:pt x="2" y="7"/>
                </a:cubicBezTo>
                <a:cubicBezTo>
                  <a:pt x="2" y="10"/>
                  <a:pt x="2" y="10"/>
                  <a:pt x="2" y="10"/>
                </a:cubicBezTo>
                <a:cubicBezTo>
                  <a:pt x="2" y="10"/>
                  <a:pt x="4" y="12"/>
                  <a:pt x="5" y="10"/>
                </a:cubicBezTo>
                <a:cubicBezTo>
                  <a:pt x="6" y="8"/>
                  <a:pt x="7" y="12"/>
                  <a:pt x="8" y="13"/>
                </a:cubicBezTo>
                <a:cubicBezTo>
                  <a:pt x="10" y="13"/>
                  <a:pt x="7" y="17"/>
                  <a:pt x="7" y="17"/>
                </a:cubicBezTo>
                <a:cubicBezTo>
                  <a:pt x="7" y="17"/>
                  <a:pt x="9" y="18"/>
                  <a:pt x="11" y="19"/>
                </a:cubicBezTo>
                <a:cubicBezTo>
                  <a:pt x="12" y="20"/>
                  <a:pt x="13" y="21"/>
                  <a:pt x="13" y="21"/>
                </a:cubicBezTo>
                <a:cubicBezTo>
                  <a:pt x="11" y="23"/>
                  <a:pt x="11" y="23"/>
                  <a:pt x="11" y="23"/>
                </a:cubicBezTo>
                <a:cubicBezTo>
                  <a:pt x="11" y="23"/>
                  <a:pt x="12" y="26"/>
                  <a:pt x="14" y="26"/>
                </a:cubicBezTo>
                <a:cubicBezTo>
                  <a:pt x="16" y="27"/>
                  <a:pt x="17" y="26"/>
                  <a:pt x="17" y="27"/>
                </a:cubicBezTo>
                <a:cubicBezTo>
                  <a:pt x="16" y="29"/>
                  <a:pt x="18" y="32"/>
                  <a:pt x="18" y="32"/>
                </a:cubicBezTo>
                <a:cubicBezTo>
                  <a:pt x="18" y="32"/>
                  <a:pt x="20" y="29"/>
                  <a:pt x="22" y="28"/>
                </a:cubicBezTo>
                <a:cubicBezTo>
                  <a:pt x="24" y="28"/>
                  <a:pt x="23" y="25"/>
                  <a:pt x="25" y="27"/>
                </a:cubicBezTo>
                <a:cubicBezTo>
                  <a:pt x="26" y="29"/>
                  <a:pt x="27" y="31"/>
                  <a:pt x="26" y="31"/>
                </a:cubicBezTo>
                <a:cubicBezTo>
                  <a:pt x="23" y="31"/>
                  <a:pt x="27" y="32"/>
                  <a:pt x="26" y="34"/>
                </a:cubicBezTo>
                <a:cubicBezTo>
                  <a:pt x="27" y="36"/>
                  <a:pt x="26" y="36"/>
                  <a:pt x="28" y="37"/>
                </a:cubicBezTo>
                <a:cubicBezTo>
                  <a:pt x="29" y="38"/>
                  <a:pt x="31" y="39"/>
                  <a:pt x="31" y="39"/>
                </a:cubicBezTo>
                <a:cubicBezTo>
                  <a:pt x="31" y="37"/>
                  <a:pt x="31" y="36"/>
                  <a:pt x="31" y="34"/>
                </a:cubicBezTo>
                <a:cubicBezTo>
                  <a:pt x="33" y="33"/>
                  <a:pt x="33" y="33"/>
                  <a:pt x="34" y="32"/>
                </a:cubicBezTo>
                <a:cubicBezTo>
                  <a:pt x="34" y="31"/>
                  <a:pt x="34" y="30"/>
                  <a:pt x="33" y="30"/>
                </a:cubicBezTo>
                <a:cubicBezTo>
                  <a:pt x="33" y="30"/>
                  <a:pt x="35" y="26"/>
                  <a:pt x="36" y="26"/>
                </a:cubicBezTo>
                <a:cubicBezTo>
                  <a:pt x="36" y="24"/>
                  <a:pt x="35" y="22"/>
                  <a:pt x="36" y="20"/>
                </a:cubicBezTo>
                <a:cubicBezTo>
                  <a:pt x="36" y="18"/>
                  <a:pt x="41" y="16"/>
                  <a:pt x="44" y="16"/>
                </a:cubicBezTo>
                <a:cubicBezTo>
                  <a:pt x="43" y="15"/>
                  <a:pt x="43" y="14"/>
                  <a:pt x="42" y="14"/>
                </a:cubicBezTo>
                <a:cubicBezTo>
                  <a:pt x="42" y="14"/>
                  <a:pt x="41" y="14"/>
                  <a:pt x="40" y="14"/>
                </a:cubicBezTo>
                <a:cubicBezTo>
                  <a:pt x="39" y="13"/>
                  <a:pt x="36" y="11"/>
                  <a:pt x="35" y="9"/>
                </a:cubicBezTo>
                <a:cubicBezTo>
                  <a:pt x="34" y="8"/>
                  <a:pt x="34" y="6"/>
                  <a:pt x="33" y="5"/>
                </a:cubicBezTo>
                <a:close/>
                <a:moveTo>
                  <a:pt x="0" y="28"/>
                </a:moveTo>
                <a:cubicBezTo>
                  <a:pt x="0" y="28"/>
                  <a:pt x="0" y="29"/>
                  <a:pt x="2" y="31"/>
                </a:cubicBezTo>
                <a:cubicBezTo>
                  <a:pt x="4" y="32"/>
                  <a:pt x="4" y="34"/>
                  <a:pt x="6" y="35"/>
                </a:cubicBezTo>
                <a:cubicBezTo>
                  <a:pt x="7" y="36"/>
                  <a:pt x="7" y="36"/>
                  <a:pt x="9" y="36"/>
                </a:cubicBezTo>
                <a:cubicBezTo>
                  <a:pt x="10" y="36"/>
                  <a:pt x="13" y="35"/>
                  <a:pt x="13" y="35"/>
                </a:cubicBezTo>
                <a:cubicBezTo>
                  <a:pt x="13" y="35"/>
                  <a:pt x="13" y="33"/>
                  <a:pt x="10" y="31"/>
                </a:cubicBezTo>
                <a:cubicBezTo>
                  <a:pt x="8" y="29"/>
                  <a:pt x="7" y="28"/>
                  <a:pt x="7" y="28"/>
                </a:cubicBezTo>
                <a:cubicBezTo>
                  <a:pt x="7" y="28"/>
                  <a:pt x="6" y="27"/>
                  <a:pt x="3" y="27"/>
                </a:cubicBezTo>
                <a:cubicBezTo>
                  <a:pt x="1" y="27"/>
                  <a:pt x="0" y="28"/>
                  <a:pt x="0" y="28"/>
                </a:cubicBezTo>
                <a:close/>
                <a:moveTo>
                  <a:pt x="21" y="27"/>
                </a:moveTo>
                <a:cubicBezTo>
                  <a:pt x="19" y="25"/>
                  <a:pt x="16" y="22"/>
                  <a:pt x="15" y="19"/>
                </a:cubicBezTo>
                <a:cubicBezTo>
                  <a:pt x="19" y="18"/>
                  <a:pt x="19" y="18"/>
                  <a:pt x="19" y="18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20" y="23"/>
                  <a:pt x="20" y="23"/>
                  <a:pt x="20" y="23"/>
                </a:cubicBezTo>
                <a:cubicBezTo>
                  <a:pt x="22" y="23"/>
                  <a:pt x="23" y="24"/>
                  <a:pt x="23" y="25"/>
                </a:cubicBezTo>
                <a:cubicBezTo>
                  <a:pt x="23" y="26"/>
                  <a:pt x="22" y="27"/>
                  <a:pt x="21" y="27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2" name="Google Shape;602;p102"/>
          <p:cNvSpPr/>
          <p:nvPr/>
        </p:nvSpPr>
        <p:spPr>
          <a:xfrm>
            <a:off x="6494600" y="3162262"/>
            <a:ext cx="173537" cy="90123"/>
          </a:xfrm>
          <a:custGeom>
            <a:avLst/>
            <a:gdLst/>
            <a:ahLst/>
            <a:cxnLst/>
            <a:rect l="l" t="t" r="r" b="b"/>
            <a:pathLst>
              <a:path w="60" h="33" extrusionOk="0">
                <a:moveTo>
                  <a:pt x="0" y="25"/>
                </a:moveTo>
                <a:cubicBezTo>
                  <a:pt x="3" y="24"/>
                  <a:pt x="3" y="26"/>
                  <a:pt x="2" y="29"/>
                </a:cubicBezTo>
                <a:cubicBezTo>
                  <a:pt x="2" y="29"/>
                  <a:pt x="8" y="32"/>
                  <a:pt x="8" y="30"/>
                </a:cubicBezTo>
                <a:cubicBezTo>
                  <a:pt x="8" y="29"/>
                  <a:pt x="7" y="29"/>
                  <a:pt x="10" y="30"/>
                </a:cubicBezTo>
                <a:cubicBezTo>
                  <a:pt x="13" y="31"/>
                  <a:pt x="10" y="31"/>
                  <a:pt x="14" y="31"/>
                </a:cubicBezTo>
                <a:cubicBezTo>
                  <a:pt x="17" y="31"/>
                  <a:pt x="15" y="33"/>
                  <a:pt x="17" y="33"/>
                </a:cubicBezTo>
                <a:cubicBezTo>
                  <a:pt x="19" y="33"/>
                  <a:pt x="19" y="33"/>
                  <a:pt x="21" y="32"/>
                </a:cubicBezTo>
                <a:cubicBezTo>
                  <a:pt x="23" y="32"/>
                  <a:pt x="27" y="32"/>
                  <a:pt x="27" y="32"/>
                </a:cubicBezTo>
                <a:cubicBezTo>
                  <a:pt x="27" y="32"/>
                  <a:pt x="30" y="33"/>
                  <a:pt x="30" y="31"/>
                </a:cubicBezTo>
                <a:cubicBezTo>
                  <a:pt x="30" y="29"/>
                  <a:pt x="31" y="29"/>
                  <a:pt x="34" y="30"/>
                </a:cubicBezTo>
                <a:cubicBezTo>
                  <a:pt x="37" y="31"/>
                  <a:pt x="39" y="30"/>
                  <a:pt x="40" y="28"/>
                </a:cubicBezTo>
                <a:cubicBezTo>
                  <a:pt x="41" y="26"/>
                  <a:pt x="42" y="26"/>
                  <a:pt x="44" y="26"/>
                </a:cubicBezTo>
                <a:cubicBezTo>
                  <a:pt x="46" y="26"/>
                  <a:pt x="48" y="28"/>
                  <a:pt x="50" y="27"/>
                </a:cubicBezTo>
                <a:cubicBezTo>
                  <a:pt x="52" y="25"/>
                  <a:pt x="53" y="25"/>
                  <a:pt x="53" y="25"/>
                </a:cubicBezTo>
                <a:cubicBezTo>
                  <a:pt x="53" y="25"/>
                  <a:pt x="54" y="21"/>
                  <a:pt x="56" y="22"/>
                </a:cubicBezTo>
                <a:cubicBezTo>
                  <a:pt x="58" y="23"/>
                  <a:pt x="58" y="16"/>
                  <a:pt x="58" y="16"/>
                </a:cubicBezTo>
                <a:cubicBezTo>
                  <a:pt x="58" y="16"/>
                  <a:pt x="57" y="12"/>
                  <a:pt x="60" y="13"/>
                </a:cubicBezTo>
                <a:cubicBezTo>
                  <a:pt x="58" y="9"/>
                  <a:pt x="58" y="9"/>
                  <a:pt x="58" y="9"/>
                </a:cubicBezTo>
                <a:cubicBezTo>
                  <a:pt x="55" y="8"/>
                  <a:pt x="58" y="4"/>
                  <a:pt x="58" y="4"/>
                </a:cubicBezTo>
                <a:cubicBezTo>
                  <a:pt x="58" y="4"/>
                  <a:pt x="55" y="4"/>
                  <a:pt x="52" y="4"/>
                </a:cubicBezTo>
                <a:cubicBezTo>
                  <a:pt x="50" y="5"/>
                  <a:pt x="48" y="4"/>
                  <a:pt x="46" y="2"/>
                </a:cubicBezTo>
                <a:cubicBezTo>
                  <a:pt x="44" y="0"/>
                  <a:pt x="41" y="1"/>
                  <a:pt x="41" y="1"/>
                </a:cubicBezTo>
                <a:cubicBezTo>
                  <a:pt x="41" y="1"/>
                  <a:pt x="39" y="2"/>
                  <a:pt x="38" y="6"/>
                </a:cubicBezTo>
                <a:cubicBezTo>
                  <a:pt x="36" y="9"/>
                  <a:pt x="31" y="4"/>
                  <a:pt x="31" y="4"/>
                </a:cubicBezTo>
                <a:cubicBezTo>
                  <a:pt x="31" y="4"/>
                  <a:pt x="27" y="5"/>
                  <a:pt x="27" y="8"/>
                </a:cubicBezTo>
                <a:cubicBezTo>
                  <a:pt x="28" y="11"/>
                  <a:pt x="27" y="11"/>
                  <a:pt x="24" y="11"/>
                </a:cubicBezTo>
                <a:cubicBezTo>
                  <a:pt x="22" y="12"/>
                  <a:pt x="21" y="13"/>
                  <a:pt x="21" y="13"/>
                </a:cubicBezTo>
                <a:cubicBezTo>
                  <a:pt x="21" y="13"/>
                  <a:pt x="24" y="14"/>
                  <a:pt x="24" y="17"/>
                </a:cubicBezTo>
                <a:cubicBezTo>
                  <a:pt x="24" y="20"/>
                  <a:pt x="24" y="21"/>
                  <a:pt x="22" y="20"/>
                </a:cubicBezTo>
                <a:cubicBezTo>
                  <a:pt x="20" y="19"/>
                  <a:pt x="20" y="17"/>
                  <a:pt x="18" y="18"/>
                </a:cubicBezTo>
                <a:cubicBezTo>
                  <a:pt x="16" y="18"/>
                  <a:pt x="13" y="16"/>
                  <a:pt x="12" y="17"/>
                </a:cubicBezTo>
                <a:cubicBezTo>
                  <a:pt x="11" y="18"/>
                  <a:pt x="11" y="20"/>
                  <a:pt x="9" y="20"/>
                </a:cubicBezTo>
                <a:cubicBezTo>
                  <a:pt x="7" y="20"/>
                  <a:pt x="7" y="21"/>
                  <a:pt x="4" y="21"/>
                </a:cubicBezTo>
                <a:cubicBezTo>
                  <a:pt x="2" y="21"/>
                  <a:pt x="1" y="24"/>
                  <a:pt x="0" y="25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3" name="Google Shape;603;p102"/>
          <p:cNvSpPr/>
          <p:nvPr/>
        </p:nvSpPr>
        <p:spPr>
          <a:xfrm>
            <a:off x="9039246" y="5054844"/>
            <a:ext cx="999989" cy="1026015"/>
          </a:xfrm>
          <a:custGeom>
            <a:avLst/>
            <a:gdLst/>
            <a:ahLst/>
            <a:cxnLst/>
            <a:rect l="l" t="t" r="r" b="b"/>
            <a:pathLst>
              <a:path w="347" h="370" extrusionOk="0">
                <a:moveTo>
                  <a:pt x="248" y="304"/>
                </a:moveTo>
                <a:cubicBezTo>
                  <a:pt x="248" y="304"/>
                  <a:pt x="249" y="306"/>
                  <a:pt x="249" y="306"/>
                </a:cubicBezTo>
                <a:cubicBezTo>
                  <a:pt x="249" y="307"/>
                  <a:pt x="251" y="306"/>
                  <a:pt x="252" y="306"/>
                </a:cubicBezTo>
                <a:cubicBezTo>
                  <a:pt x="252" y="308"/>
                  <a:pt x="251" y="310"/>
                  <a:pt x="253" y="311"/>
                </a:cubicBezTo>
                <a:cubicBezTo>
                  <a:pt x="253" y="311"/>
                  <a:pt x="254" y="310"/>
                  <a:pt x="255" y="310"/>
                </a:cubicBezTo>
                <a:cubicBezTo>
                  <a:pt x="256" y="310"/>
                  <a:pt x="257" y="313"/>
                  <a:pt x="258" y="314"/>
                </a:cubicBezTo>
                <a:cubicBezTo>
                  <a:pt x="259" y="313"/>
                  <a:pt x="261" y="313"/>
                  <a:pt x="262" y="312"/>
                </a:cubicBezTo>
                <a:cubicBezTo>
                  <a:pt x="263" y="311"/>
                  <a:pt x="263" y="309"/>
                  <a:pt x="264" y="309"/>
                </a:cubicBezTo>
                <a:cubicBezTo>
                  <a:pt x="265" y="309"/>
                  <a:pt x="265" y="309"/>
                  <a:pt x="265" y="309"/>
                </a:cubicBezTo>
                <a:cubicBezTo>
                  <a:pt x="266" y="308"/>
                  <a:pt x="265" y="306"/>
                  <a:pt x="266" y="306"/>
                </a:cubicBezTo>
                <a:cubicBezTo>
                  <a:pt x="267" y="305"/>
                  <a:pt x="268" y="305"/>
                  <a:pt x="269" y="304"/>
                </a:cubicBezTo>
                <a:cubicBezTo>
                  <a:pt x="270" y="302"/>
                  <a:pt x="266" y="304"/>
                  <a:pt x="269" y="302"/>
                </a:cubicBezTo>
                <a:cubicBezTo>
                  <a:pt x="270" y="301"/>
                  <a:pt x="270" y="301"/>
                  <a:pt x="271" y="300"/>
                </a:cubicBezTo>
                <a:cubicBezTo>
                  <a:pt x="271" y="299"/>
                  <a:pt x="271" y="299"/>
                  <a:pt x="271" y="299"/>
                </a:cubicBezTo>
                <a:cubicBezTo>
                  <a:pt x="272" y="299"/>
                  <a:pt x="274" y="300"/>
                  <a:pt x="274" y="300"/>
                </a:cubicBezTo>
                <a:cubicBezTo>
                  <a:pt x="274" y="301"/>
                  <a:pt x="274" y="301"/>
                  <a:pt x="275" y="302"/>
                </a:cubicBezTo>
                <a:cubicBezTo>
                  <a:pt x="274" y="303"/>
                  <a:pt x="271" y="304"/>
                  <a:pt x="271" y="304"/>
                </a:cubicBezTo>
                <a:cubicBezTo>
                  <a:pt x="271" y="305"/>
                  <a:pt x="272" y="306"/>
                  <a:pt x="271" y="306"/>
                </a:cubicBezTo>
                <a:cubicBezTo>
                  <a:pt x="272" y="306"/>
                  <a:pt x="273" y="307"/>
                  <a:pt x="274" y="306"/>
                </a:cubicBezTo>
                <a:cubicBezTo>
                  <a:pt x="275" y="306"/>
                  <a:pt x="276" y="305"/>
                  <a:pt x="277" y="304"/>
                </a:cubicBezTo>
                <a:cubicBezTo>
                  <a:pt x="277" y="304"/>
                  <a:pt x="277" y="306"/>
                  <a:pt x="277" y="306"/>
                </a:cubicBezTo>
                <a:cubicBezTo>
                  <a:pt x="276" y="307"/>
                  <a:pt x="275" y="307"/>
                  <a:pt x="275" y="307"/>
                </a:cubicBezTo>
                <a:cubicBezTo>
                  <a:pt x="275" y="308"/>
                  <a:pt x="275" y="308"/>
                  <a:pt x="275" y="308"/>
                </a:cubicBezTo>
                <a:cubicBezTo>
                  <a:pt x="275" y="309"/>
                  <a:pt x="279" y="310"/>
                  <a:pt x="279" y="310"/>
                </a:cubicBezTo>
                <a:cubicBezTo>
                  <a:pt x="281" y="314"/>
                  <a:pt x="281" y="314"/>
                  <a:pt x="281" y="314"/>
                </a:cubicBezTo>
                <a:cubicBezTo>
                  <a:pt x="281" y="313"/>
                  <a:pt x="282" y="312"/>
                  <a:pt x="283" y="313"/>
                </a:cubicBezTo>
                <a:cubicBezTo>
                  <a:pt x="283" y="313"/>
                  <a:pt x="283" y="315"/>
                  <a:pt x="283" y="316"/>
                </a:cubicBezTo>
                <a:cubicBezTo>
                  <a:pt x="284" y="317"/>
                  <a:pt x="285" y="317"/>
                  <a:pt x="285" y="317"/>
                </a:cubicBezTo>
                <a:cubicBezTo>
                  <a:pt x="287" y="313"/>
                  <a:pt x="285" y="315"/>
                  <a:pt x="287" y="313"/>
                </a:cubicBezTo>
                <a:cubicBezTo>
                  <a:pt x="288" y="312"/>
                  <a:pt x="289" y="313"/>
                  <a:pt x="290" y="312"/>
                </a:cubicBezTo>
                <a:cubicBezTo>
                  <a:pt x="290" y="312"/>
                  <a:pt x="291" y="310"/>
                  <a:pt x="291" y="310"/>
                </a:cubicBezTo>
                <a:cubicBezTo>
                  <a:pt x="292" y="308"/>
                  <a:pt x="295" y="306"/>
                  <a:pt x="295" y="304"/>
                </a:cubicBezTo>
                <a:cubicBezTo>
                  <a:pt x="296" y="303"/>
                  <a:pt x="294" y="303"/>
                  <a:pt x="295" y="302"/>
                </a:cubicBezTo>
                <a:cubicBezTo>
                  <a:pt x="295" y="301"/>
                  <a:pt x="296" y="300"/>
                  <a:pt x="297" y="299"/>
                </a:cubicBezTo>
                <a:cubicBezTo>
                  <a:pt x="303" y="299"/>
                  <a:pt x="307" y="298"/>
                  <a:pt x="311" y="300"/>
                </a:cubicBezTo>
                <a:cubicBezTo>
                  <a:pt x="312" y="297"/>
                  <a:pt x="312" y="297"/>
                  <a:pt x="312" y="297"/>
                </a:cubicBezTo>
                <a:cubicBezTo>
                  <a:pt x="312" y="297"/>
                  <a:pt x="314" y="297"/>
                  <a:pt x="315" y="297"/>
                </a:cubicBezTo>
                <a:cubicBezTo>
                  <a:pt x="315" y="296"/>
                  <a:pt x="314" y="294"/>
                  <a:pt x="314" y="294"/>
                </a:cubicBezTo>
                <a:cubicBezTo>
                  <a:pt x="316" y="293"/>
                  <a:pt x="315" y="294"/>
                  <a:pt x="316" y="292"/>
                </a:cubicBezTo>
                <a:cubicBezTo>
                  <a:pt x="315" y="291"/>
                  <a:pt x="314" y="291"/>
                  <a:pt x="313" y="291"/>
                </a:cubicBezTo>
                <a:cubicBezTo>
                  <a:pt x="313" y="290"/>
                  <a:pt x="313" y="289"/>
                  <a:pt x="312" y="288"/>
                </a:cubicBezTo>
                <a:cubicBezTo>
                  <a:pt x="314" y="285"/>
                  <a:pt x="316" y="282"/>
                  <a:pt x="317" y="278"/>
                </a:cubicBezTo>
                <a:cubicBezTo>
                  <a:pt x="317" y="278"/>
                  <a:pt x="317" y="273"/>
                  <a:pt x="317" y="271"/>
                </a:cubicBezTo>
                <a:cubicBezTo>
                  <a:pt x="318" y="271"/>
                  <a:pt x="318" y="271"/>
                  <a:pt x="318" y="271"/>
                </a:cubicBezTo>
                <a:cubicBezTo>
                  <a:pt x="319" y="270"/>
                  <a:pt x="319" y="268"/>
                  <a:pt x="320" y="266"/>
                </a:cubicBezTo>
                <a:cubicBezTo>
                  <a:pt x="321" y="266"/>
                  <a:pt x="321" y="266"/>
                  <a:pt x="321" y="266"/>
                </a:cubicBezTo>
                <a:cubicBezTo>
                  <a:pt x="322" y="266"/>
                  <a:pt x="322" y="263"/>
                  <a:pt x="321" y="262"/>
                </a:cubicBezTo>
                <a:cubicBezTo>
                  <a:pt x="323" y="262"/>
                  <a:pt x="323" y="262"/>
                  <a:pt x="323" y="262"/>
                </a:cubicBezTo>
                <a:cubicBezTo>
                  <a:pt x="323" y="261"/>
                  <a:pt x="322" y="259"/>
                  <a:pt x="323" y="258"/>
                </a:cubicBezTo>
                <a:cubicBezTo>
                  <a:pt x="324" y="257"/>
                  <a:pt x="324" y="257"/>
                  <a:pt x="324" y="257"/>
                </a:cubicBezTo>
                <a:cubicBezTo>
                  <a:pt x="325" y="253"/>
                  <a:pt x="325" y="251"/>
                  <a:pt x="324" y="248"/>
                </a:cubicBezTo>
                <a:cubicBezTo>
                  <a:pt x="325" y="247"/>
                  <a:pt x="326" y="247"/>
                  <a:pt x="327" y="246"/>
                </a:cubicBezTo>
                <a:cubicBezTo>
                  <a:pt x="327" y="246"/>
                  <a:pt x="327" y="244"/>
                  <a:pt x="327" y="243"/>
                </a:cubicBezTo>
                <a:cubicBezTo>
                  <a:pt x="328" y="242"/>
                  <a:pt x="330" y="242"/>
                  <a:pt x="331" y="241"/>
                </a:cubicBezTo>
                <a:cubicBezTo>
                  <a:pt x="332" y="241"/>
                  <a:pt x="332" y="239"/>
                  <a:pt x="333" y="238"/>
                </a:cubicBezTo>
                <a:cubicBezTo>
                  <a:pt x="333" y="238"/>
                  <a:pt x="333" y="238"/>
                  <a:pt x="333" y="238"/>
                </a:cubicBezTo>
                <a:cubicBezTo>
                  <a:pt x="335" y="237"/>
                  <a:pt x="335" y="238"/>
                  <a:pt x="337" y="237"/>
                </a:cubicBezTo>
                <a:cubicBezTo>
                  <a:pt x="337" y="236"/>
                  <a:pt x="336" y="233"/>
                  <a:pt x="337" y="232"/>
                </a:cubicBezTo>
                <a:cubicBezTo>
                  <a:pt x="337" y="231"/>
                  <a:pt x="338" y="230"/>
                  <a:pt x="339" y="230"/>
                </a:cubicBezTo>
                <a:cubicBezTo>
                  <a:pt x="340" y="230"/>
                  <a:pt x="340" y="230"/>
                  <a:pt x="340" y="230"/>
                </a:cubicBezTo>
                <a:cubicBezTo>
                  <a:pt x="340" y="229"/>
                  <a:pt x="340" y="227"/>
                  <a:pt x="340" y="227"/>
                </a:cubicBezTo>
                <a:cubicBezTo>
                  <a:pt x="340" y="225"/>
                  <a:pt x="342" y="223"/>
                  <a:pt x="342" y="222"/>
                </a:cubicBezTo>
                <a:cubicBezTo>
                  <a:pt x="342" y="220"/>
                  <a:pt x="341" y="218"/>
                  <a:pt x="341" y="217"/>
                </a:cubicBezTo>
                <a:cubicBezTo>
                  <a:pt x="341" y="217"/>
                  <a:pt x="342" y="215"/>
                  <a:pt x="343" y="215"/>
                </a:cubicBezTo>
                <a:cubicBezTo>
                  <a:pt x="341" y="210"/>
                  <a:pt x="342" y="208"/>
                  <a:pt x="343" y="204"/>
                </a:cubicBezTo>
                <a:cubicBezTo>
                  <a:pt x="342" y="203"/>
                  <a:pt x="342" y="204"/>
                  <a:pt x="341" y="202"/>
                </a:cubicBezTo>
                <a:cubicBezTo>
                  <a:pt x="343" y="200"/>
                  <a:pt x="347" y="200"/>
                  <a:pt x="343" y="197"/>
                </a:cubicBezTo>
                <a:cubicBezTo>
                  <a:pt x="344" y="195"/>
                  <a:pt x="347" y="194"/>
                  <a:pt x="345" y="189"/>
                </a:cubicBezTo>
                <a:cubicBezTo>
                  <a:pt x="345" y="187"/>
                  <a:pt x="343" y="186"/>
                  <a:pt x="342" y="185"/>
                </a:cubicBezTo>
                <a:cubicBezTo>
                  <a:pt x="341" y="184"/>
                  <a:pt x="340" y="179"/>
                  <a:pt x="340" y="179"/>
                </a:cubicBezTo>
                <a:cubicBezTo>
                  <a:pt x="340" y="175"/>
                  <a:pt x="340" y="169"/>
                  <a:pt x="341" y="167"/>
                </a:cubicBezTo>
                <a:cubicBezTo>
                  <a:pt x="341" y="165"/>
                  <a:pt x="341" y="165"/>
                  <a:pt x="341" y="165"/>
                </a:cubicBezTo>
                <a:cubicBezTo>
                  <a:pt x="340" y="165"/>
                  <a:pt x="341" y="161"/>
                  <a:pt x="341" y="161"/>
                </a:cubicBezTo>
                <a:cubicBezTo>
                  <a:pt x="339" y="160"/>
                  <a:pt x="339" y="160"/>
                  <a:pt x="339" y="160"/>
                </a:cubicBezTo>
                <a:cubicBezTo>
                  <a:pt x="339" y="159"/>
                  <a:pt x="340" y="158"/>
                  <a:pt x="339" y="157"/>
                </a:cubicBezTo>
                <a:cubicBezTo>
                  <a:pt x="339" y="156"/>
                  <a:pt x="338" y="156"/>
                  <a:pt x="337" y="156"/>
                </a:cubicBezTo>
                <a:cubicBezTo>
                  <a:pt x="336" y="155"/>
                  <a:pt x="336" y="153"/>
                  <a:pt x="335" y="152"/>
                </a:cubicBezTo>
                <a:cubicBezTo>
                  <a:pt x="335" y="151"/>
                  <a:pt x="332" y="151"/>
                  <a:pt x="332" y="150"/>
                </a:cubicBezTo>
                <a:cubicBezTo>
                  <a:pt x="331" y="149"/>
                  <a:pt x="332" y="148"/>
                  <a:pt x="332" y="147"/>
                </a:cubicBezTo>
                <a:cubicBezTo>
                  <a:pt x="332" y="146"/>
                  <a:pt x="330" y="144"/>
                  <a:pt x="329" y="143"/>
                </a:cubicBezTo>
                <a:cubicBezTo>
                  <a:pt x="328" y="142"/>
                  <a:pt x="324" y="140"/>
                  <a:pt x="323" y="139"/>
                </a:cubicBezTo>
                <a:cubicBezTo>
                  <a:pt x="322" y="136"/>
                  <a:pt x="324" y="130"/>
                  <a:pt x="322" y="127"/>
                </a:cubicBezTo>
                <a:cubicBezTo>
                  <a:pt x="321" y="127"/>
                  <a:pt x="321" y="127"/>
                  <a:pt x="321" y="127"/>
                </a:cubicBezTo>
                <a:cubicBezTo>
                  <a:pt x="318" y="123"/>
                  <a:pt x="318" y="123"/>
                  <a:pt x="318" y="123"/>
                </a:cubicBezTo>
                <a:cubicBezTo>
                  <a:pt x="317" y="123"/>
                  <a:pt x="315" y="126"/>
                  <a:pt x="313" y="123"/>
                </a:cubicBezTo>
                <a:cubicBezTo>
                  <a:pt x="311" y="119"/>
                  <a:pt x="314" y="118"/>
                  <a:pt x="313" y="114"/>
                </a:cubicBezTo>
                <a:cubicBezTo>
                  <a:pt x="312" y="113"/>
                  <a:pt x="312" y="113"/>
                  <a:pt x="312" y="113"/>
                </a:cubicBezTo>
                <a:cubicBezTo>
                  <a:pt x="311" y="112"/>
                  <a:pt x="312" y="111"/>
                  <a:pt x="311" y="110"/>
                </a:cubicBezTo>
                <a:cubicBezTo>
                  <a:pt x="309" y="105"/>
                  <a:pt x="304" y="110"/>
                  <a:pt x="307" y="100"/>
                </a:cubicBezTo>
                <a:cubicBezTo>
                  <a:pt x="306" y="99"/>
                  <a:pt x="304" y="97"/>
                  <a:pt x="302" y="96"/>
                </a:cubicBezTo>
                <a:cubicBezTo>
                  <a:pt x="302" y="96"/>
                  <a:pt x="302" y="94"/>
                  <a:pt x="302" y="94"/>
                </a:cubicBezTo>
                <a:cubicBezTo>
                  <a:pt x="297" y="92"/>
                  <a:pt x="297" y="92"/>
                  <a:pt x="297" y="92"/>
                </a:cubicBezTo>
                <a:cubicBezTo>
                  <a:pt x="297" y="92"/>
                  <a:pt x="298" y="93"/>
                  <a:pt x="296" y="94"/>
                </a:cubicBezTo>
                <a:cubicBezTo>
                  <a:pt x="296" y="93"/>
                  <a:pt x="295" y="93"/>
                  <a:pt x="294" y="92"/>
                </a:cubicBezTo>
                <a:cubicBezTo>
                  <a:pt x="294" y="92"/>
                  <a:pt x="294" y="90"/>
                  <a:pt x="294" y="90"/>
                </a:cubicBezTo>
                <a:cubicBezTo>
                  <a:pt x="293" y="89"/>
                  <a:pt x="291" y="90"/>
                  <a:pt x="290" y="90"/>
                </a:cubicBezTo>
                <a:cubicBezTo>
                  <a:pt x="289" y="89"/>
                  <a:pt x="288" y="88"/>
                  <a:pt x="287" y="88"/>
                </a:cubicBezTo>
                <a:cubicBezTo>
                  <a:pt x="285" y="87"/>
                  <a:pt x="285" y="87"/>
                  <a:pt x="285" y="87"/>
                </a:cubicBezTo>
                <a:cubicBezTo>
                  <a:pt x="284" y="85"/>
                  <a:pt x="285" y="82"/>
                  <a:pt x="285" y="82"/>
                </a:cubicBezTo>
                <a:cubicBezTo>
                  <a:pt x="284" y="77"/>
                  <a:pt x="285" y="74"/>
                  <a:pt x="284" y="68"/>
                </a:cubicBezTo>
                <a:cubicBezTo>
                  <a:pt x="284" y="68"/>
                  <a:pt x="282" y="66"/>
                  <a:pt x="282" y="66"/>
                </a:cubicBezTo>
                <a:cubicBezTo>
                  <a:pt x="282" y="65"/>
                  <a:pt x="282" y="63"/>
                  <a:pt x="282" y="62"/>
                </a:cubicBezTo>
                <a:cubicBezTo>
                  <a:pt x="282" y="61"/>
                  <a:pt x="277" y="58"/>
                  <a:pt x="277" y="56"/>
                </a:cubicBezTo>
                <a:cubicBezTo>
                  <a:pt x="276" y="54"/>
                  <a:pt x="277" y="45"/>
                  <a:pt x="277" y="42"/>
                </a:cubicBezTo>
                <a:cubicBezTo>
                  <a:pt x="276" y="42"/>
                  <a:pt x="277" y="41"/>
                  <a:pt x="277" y="41"/>
                </a:cubicBezTo>
                <a:cubicBezTo>
                  <a:pt x="276" y="41"/>
                  <a:pt x="275" y="41"/>
                  <a:pt x="275" y="42"/>
                </a:cubicBezTo>
                <a:cubicBezTo>
                  <a:pt x="273" y="39"/>
                  <a:pt x="272" y="37"/>
                  <a:pt x="270" y="34"/>
                </a:cubicBezTo>
                <a:cubicBezTo>
                  <a:pt x="268" y="36"/>
                  <a:pt x="266" y="37"/>
                  <a:pt x="265" y="39"/>
                </a:cubicBezTo>
                <a:cubicBezTo>
                  <a:pt x="264" y="38"/>
                  <a:pt x="263" y="37"/>
                  <a:pt x="262" y="37"/>
                </a:cubicBezTo>
                <a:cubicBezTo>
                  <a:pt x="262" y="33"/>
                  <a:pt x="263" y="30"/>
                  <a:pt x="264" y="28"/>
                </a:cubicBezTo>
                <a:cubicBezTo>
                  <a:pt x="264" y="26"/>
                  <a:pt x="264" y="26"/>
                  <a:pt x="264" y="26"/>
                </a:cubicBezTo>
                <a:cubicBezTo>
                  <a:pt x="262" y="25"/>
                  <a:pt x="263" y="21"/>
                  <a:pt x="262" y="19"/>
                </a:cubicBezTo>
                <a:cubicBezTo>
                  <a:pt x="261" y="18"/>
                  <a:pt x="259" y="17"/>
                  <a:pt x="258" y="16"/>
                </a:cubicBezTo>
                <a:cubicBezTo>
                  <a:pt x="258" y="15"/>
                  <a:pt x="259" y="13"/>
                  <a:pt x="258" y="12"/>
                </a:cubicBezTo>
                <a:cubicBezTo>
                  <a:pt x="258" y="11"/>
                  <a:pt x="256" y="11"/>
                  <a:pt x="256" y="10"/>
                </a:cubicBezTo>
                <a:cubicBezTo>
                  <a:pt x="255" y="10"/>
                  <a:pt x="256" y="8"/>
                  <a:pt x="256" y="7"/>
                </a:cubicBezTo>
                <a:cubicBezTo>
                  <a:pt x="255" y="6"/>
                  <a:pt x="253" y="6"/>
                  <a:pt x="253" y="5"/>
                </a:cubicBezTo>
                <a:cubicBezTo>
                  <a:pt x="252" y="4"/>
                  <a:pt x="252" y="2"/>
                  <a:pt x="252" y="0"/>
                </a:cubicBezTo>
                <a:cubicBezTo>
                  <a:pt x="250" y="0"/>
                  <a:pt x="250" y="0"/>
                  <a:pt x="250" y="0"/>
                </a:cubicBezTo>
                <a:cubicBezTo>
                  <a:pt x="250" y="2"/>
                  <a:pt x="249" y="1"/>
                  <a:pt x="248" y="1"/>
                </a:cubicBezTo>
                <a:cubicBezTo>
                  <a:pt x="248" y="5"/>
                  <a:pt x="249" y="7"/>
                  <a:pt x="248" y="11"/>
                </a:cubicBezTo>
                <a:cubicBezTo>
                  <a:pt x="247" y="12"/>
                  <a:pt x="245" y="14"/>
                  <a:pt x="245" y="15"/>
                </a:cubicBezTo>
                <a:cubicBezTo>
                  <a:pt x="245" y="16"/>
                  <a:pt x="246" y="16"/>
                  <a:pt x="246" y="16"/>
                </a:cubicBezTo>
                <a:cubicBezTo>
                  <a:pt x="246" y="26"/>
                  <a:pt x="246" y="26"/>
                  <a:pt x="246" y="26"/>
                </a:cubicBezTo>
                <a:cubicBezTo>
                  <a:pt x="246" y="28"/>
                  <a:pt x="244" y="28"/>
                  <a:pt x="244" y="32"/>
                </a:cubicBezTo>
                <a:cubicBezTo>
                  <a:pt x="243" y="34"/>
                  <a:pt x="244" y="40"/>
                  <a:pt x="245" y="43"/>
                </a:cubicBezTo>
                <a:cubicBezTo>
                  <a:pt x="245" y="43"/>
                  <a:pt x="246" y="45"/>
                  <a:pt x="246" y="46"/>
                </a:cubicBezTo>
                <a:cubicBezTo>
                  <a:pt x="246" y="46"/>
                  <a:pt x="244" y="47"/>
                  <a:pt x="244" y="48"/>
                </a:cubicBezTo>
                <a:cubicBezTo>
                  <a:pt x="244" y="50"/>
                  <a:pt x="245" y="52"/>
                  <a:pt x="244" y="54"/>
                </a:cubicBezTo>
                <a:cubicBezTo>
                  <a:pt x="244" y="55"/>
                  <a:pt x="242" y="57"/>
                  <a:pt x="241" y="58"/>
                </a:cubicBezTo>
                <a:cubicBezTo>
                  <a:pt x="244" y="61"/>
                  <a:pt x="239" y="65"/>
                  <a:pt x="239" y="66"/>
                </a:cubicBezTo>
                <a:cubicBezTo>
                  <a:pt x="239" y="68"/>
                  <a:pt x="239" y="70"/>
                  <a:pt x="239" y="72"/>
                </a:cubicBezTo>
                <a:cubicBezTo>
                  <a:pt x="237" y="72"/>
                  <a:pt x="232" y="74"/>
                  <a:pt x="229" y="73"/>
                </a:cubicBezTo>
                <a:cubicBezTo>
                  <a:pt x="229" y="72"/>
                  <a:pt x="229" y="72"/>
                  <a:pt x="229" y="72"/>
                </a:cubicBezTo>
                <a:cubicBezTo>
                  <a:pt x="228" y="72"/>
                  <a:pt x="228" y="72"/>
                  <a:pt x="228" y="72"/>
                </a:cubicBezTo>
                <a:cubicBezTo>
                  <a:pt x="228" y="70"/>
                  <a:pt x="226" y="66"/>
                  <a:pt x="225" y="65"/>
                </a:cubicBezTo>
                <a:cubicBezTo>
                  <a:pt x="224" y="64"/>
                  <a:pt x="222" y="64"/>
                  <a:pt x="220" y="64"/>
                </a:cubicBezTo>
                <a:cubicBezTo>
                  <a:pt x="218" y="62"/>
                  <a:pt x="216" y="57"/>
                  <a:pt x="214" y="56"/>
                </a:cubicBezTo>
                <a:cubicBezTo>
                  <a:pt x="212" y="55"/>
                  <a:pt x="211" y="56"/>
                  <a:pt x="210" y="55"/>
                </a:cubicBezTo>
                <a:cubicBezTo>
                  <a:pt x="208" y="54"/>
                  <a:pt x="208" y="52"/>
                  <a:pt x="206" y="52"/>
                </a:cubicBezTo>
                <a:cubicBezTo>
                  <a:pt x="205" y="51"/>
                  <a:pt x="203" y="52"/>
                  <a:pt x="202" y="52"/>
                </a:cubicBezTo>
                <a:cubicBezTo>
                  <a:pt x="202" y="51"/>
                  <a:pt x="201" y="48"/>
                  <a:pt x="200" y="48"/>
                </a:cubicBezTo>
                <a:cubicBezTo>
                  <a:pt x="199" y="47"/>
                  <a:pt x="198" y="47"/>
                  <a:pt x="197" y="47"/>
                </a:cubicBezTo>
                <a:cubicBezTo>
                  <a:pt x="196" y="46"/>
                  <a:pt x="194" y="45"/>
                  <a:pt x="193" y="44"/>
                </a:cubicBezTo>
                <a:cubicBezTo>
                  <a:pt x="194" y="40"/>
                  <a:pt x="193" y="38"/>
                  <a:pt x="194" y="34"/>
                </a:cubicBezTo>
                <a:cubicBezTo>
                  <a:pt x="194" y="34"/>
                  <a:pt x="196" y="33"/>
                  <a:pt x="196" y="33"/>
                </a:cubicBezTo>
                <a:cubicBezTo>
                  <a:pt x="197" y="31"/>
                  <a:pt x="196" y="28"/>
                  <a:pt x="196" y="25"/>
                </a:cubicBezTo>
                <a:cubicBezTo>
                  <a:pt x="203" y="27"/>
                  <a:pt x="202" y="26"/>
                  <a:pt x="200" y="20"/>
                </a:cubicBezTo>
                <a:cubicBezTo>
                  <a:pt x="202" y="19"/>
                  <a:pt x="204" y="18"/>
                  <a:pt x="206" y="17"/>
                </a:cubicBezTo>
                <a:cubicBezTo>
                  <a:pt x="206" y="17"/>
                  <a:pt x="205" y="15"/>
                  <a:pt x="206" y="14"/>
                </a:cubicBezTo>
                <a:cubicBezTo>
                  <a:pt x="205" y="14"/>
                  <a:pt x="204" y="15"/>
                  <a:pt x="204" y="15"/>
                </a:cubicBezTo>
                <a:cubicBezTo>
                  <a:pt x="203" y="14"/>
                  <a:pt x="204" y="14"/>
                  <a:pt x="203" y="14"/>
                </a:cubicBezTo>
                <a:cubicBezTo>
                  <a:pt x="203" y="12"/>
                  <a:pt x="204" y="12"/>
                  <a:pt x="204" y="10"/>
                </a:cubicBezTo>
                <a:cubicBezTo>
                  <a:pt x="202" y="12"/>
                  <a:pt x="201" y="12"/>
                  <a:pt x="198" y="13"/>
                </a:cubicBezTo>
                <a:cubicBezTo>
                  <a:pt x="198" y="13"/>
                  <a:pt x="198" y="15"/>
                  <a:pt x="198" y="15"/>
                </a:cubicBezTo>
                <a:cubicBezTo>
                  <a:pt x="198" y="14"/>
                  <a:pt x="195" y="11"/>
                  <a:pt x="194" y="11"/>
                </a:cubicBezTo>
                <a:cubicBezTo>
                  <a:pt x="192" y="11"/>
                  <a:pt x="191" y="12"/>
                  <a:pt x="190" y="12"/>
                </a:cubicBezTo>
                <a:cubicBezTo>
                  <a:pt x="188" y="13"/>
                  <a:pt x="188" y="11"/>
                  <a:pt x="187" y="11"/>
                </a:cubicBezTo>
                <a:cubicBezTo>
                  <a:pt x="185" y="11"/>
                  <a:pt x="184" y="12"/>
                  <a:pt x="182" y="12"/>
                </a:cubicBezTo>
                <a:cubicBezTo>
                  <a:pt x="181" y="10"/>
                  <a:pt x="181" y="10"/>
                  <a:pt x="181" y="10"/>
                </a:cubicBezTo>
                <a:cubicBezTo>
                  <a:pt x="179" y="9"/>
                  <a:pt x="178" y="11"/>
                  <a:pt x="177" y="10"/>
                </a:cubicBezTo>
                <a:cubicBezTo>
                  <a:pt x="176" y="10"/>
                  <a:pt x="176" y="8"/>
                  <a:pt x="175" y="7"/>
                </a:cubicBezTo>
                <a:cubicBezTo>
                  <a:pt x="173" y="8"/>
                  <a:pt x="172" y="8"/>
                  <a:pt x="170" y="9"/>
                </a:cubicBezTo>
                <a:cubicBezTo>
                  <a:pt x="167" y="2"/>
                  <a:pt x="168" y="7"/>
                  <a:pt x="162" y="4"/>
                </a:cubicBezTo>
                <a:cubicBezTo>
                  <a:pt x="162" y="4"/>
                  <a:pt x="161" y="5"/>
                  <a:pt x="161" y="5"/>
                </a:cubicBezTo>
                <a:cubicBezTo>
                  <a:pt x="162" y="6"/>
                  <a:pt x="164" y="8"/>
                  <a:pt x="164" y="8"/>
                </a:cubicBezTo>
                <a:cubicBezTo>
                  <a:pt x="165" y="9"/>
                  <a:pt x="166" y="8"/>
                  <a:pt x="167" y="8"/>
                </a:cubicBezTo>
                <a:cubicBezTo>
                  <a:pt x="169" y="9"/>
                  <a:pt x="169" y="12"/>
                  <a:pt x="170" y="14"/>
                </a:cubicBezTo>
                <a:cubicBezTo>
                  <a:pt x="169" y="14"/>
                  <a:pt x="169" y="14"/>
                  <a:pt x="169" y="14"/>
                </a:cubicBezTo>
                <a:cubicBezTo>
                  <a:pt x="169" y="15"/>
                  <a:pt x="168" y="16"/>
                  <a:pt x="168" y="17"/>
                </a:cubicBezTo>
                <a:cubicBezTo>
                  <a:pt x="166" y="16"/>
                  <a:pt x="162" y="13"/>
                  <a:pt x="158" y="14"/>
                </a:cubicBezTo>
                <a:cubicBezTo>
                  <a:pt x="158" y="15"/>
                  <a:pt x="158" y="16"/>
                  <a:pt x="157" y="16"/>
                </a:cubicBezTo>
                <a:cubicBezTo>
                  <a:pt x="156" y="13"/>
                  <a:pt x="157" y="14"/>
                  <a:pt x="156" y="13"/>
                </a:cubicBezTo>
                <a:cubicBezTo>
                  <a:pt x="152" y="17"/>
                  <a:pt x="154" y="17"/>
                  <a:pt x="150" y="15"/>
                </a:cubicBezTo>
                <a:cubicBezTo>
                  <a:pt x="150" y="16"/>
                  <a:pt x="151" y="18"/>
                  <a:pt x="151" y="18"/>
                </a:cubicBezTo>
                <a:cubicBezTo>
                  <a:pt x="150" y="19"/>
                  <a:pt x="147" y="20"/>
                  <a:pt x="147" y="20"/>
                </a:cubicBezTo>
                <a:cubicBezTo>
                  <a:pt x="147" y="21"/>
                  <a:pt x="146" y="22"/>
                  <a:pt x="147" y="22"/>
                </a:cubicBezTo>
                <a:cubicBezTo>
                  <a:pt x="148" y="23"/>
                  <a:pt x="149" y="25"/>
                  <a:pt x="150" y="26"/>
                </a:cubicBezTo>
                <a:cubicBezTo>
                  <a:pt x="144" y="26"/>
                  <a:pt x="145" y="27"/>
                  <a:pt x="144" y="33"/>
                </a:cubicBezTo>
                <a:cubicBezTo>
                  <a:pt x="142" y="33"/>
                  <a:pt x="143" y="33"/>
                  <a:pt x="141" y="33"/>
                </a:cubicBezTo>
                <a:cubicBezTo>
                  <a:pt x="141" y="33"/>
                  <a:pt x="140" y="40"/>
                  <a:pt x="142" y="41"/>
                </a:cubicBezTo>
                <a:cubicBezTo>
                  <a:pt x="143" y="41"/>
                  <a:pt x="144" y="41"/>
                  <a:pt x="144" y="42"/>
                </a:cubicBezTo>
                <a:cubicBezTo>
                  <a:pt x="144" y="42"/>
                  <a:pt x="143" y="44"/>
                  <a:pt x="144" y="44"/>
                </a:cubicBezTo>
                <a:cubicBezTo>
                  <a:pt x="142" y="44"/>
                  <a:pt x="139" y="44"/>
                  <a:pt x="139" y="44"/>
                </a:cubicBezTo>
                <a:cubicBezTo>
                  <a:pt x="138" y="42"/>
                  <a:pt x="138" y="42"/>
                  <a:pt x="138" y="42"/>
                </a:cubicBezTo>
                <a:cubicBezTo>
                  <a:pt x="132" y="40"/>
                  <a:pt x="131" y="39"/>
                  <a:pt x="131" y="47"/>
                </a:cubicBezTo>
                <a:cubicBezTo>
                  <a:pt x="129" y="47"/>
                  <a:pt x="129" y="46"/>
                  <a:pt x="129" y="48"/>
                </a:cubicBezTo>
                <a:cubicBezTo>
                  <a:pt x="126" y="48"/>
                  <a:pt x="129" y="43"/>
                  <a:pt x="129" y="43"/>
                </a:cubicBezTo>
                <a:cubicBezTo>
                  <a:pt x="129" y="43"/>
                  <a:pt x="129" y="39"/>
                  <a:pt x="129" y="38"/>
                </a:cubicBezTo>
                <a:cubicBezTo>
                  <a:pt x="128" y="38"/>
                  <a:pt x="128" y="38"/>
                  <a:pt x="128" y="38"/>
                </a:cubicBezTo>
                <a:cubicBezTo>
                  <a:pt x="127" y="37"/>
                  <a:pt x="127" y="36"/>
                  <a:pt x="127" y="35"/>
                </a:cubicBezTo>
                <a:cubicBezTo>
                  <a:pt x="125" y="35"/>
                  <a:pt x="125" y="35"/>
                  <a:pt x="125" y="35"/>
                </a:cubicBezTo>
                <a:cubicBezTo>
                  <a:pt x="125" y="34"/>
                  <a:pt x="125" y="33"/>
                  <a:pt x="125" y="32"/>
                </a:cubicBezTo>
                <a:cubicBezTo>
                  <a:pt x="122" y="28"/>
                  <a:pt x="117" y="31"/>
                  <a:pt x="114" y="33"/>
                </a:cubicBezTo>
                <a:cubicBezTo>
                  <a:pt x="114" y="32"/>
                  <a:pt x="115" y="31"/>
                  <a:pt x="113" y="31"/>
                </a:cubicBezTo>
                <a:cubicBezTo>
                  <a:pt x="113" y="34"/>
                  <a:pt x="113" y="35"/>
                  <a:pt x="113" y="38"/>
                </a:cubicBezTo>
                <a:cubicBezTo>
                  <a:pt x="112" y="38"/>
                  <a:pt x="111" y="37"/>
                  <a:pt x="111" y="37"/>
                </a:cubicBezTo>
                <a:cubicBezTo>
                  <a:pt x="111" y="37"/>
                  <a:pt x="111" y="35"/>
                  <a:pt x="111" y="35"/>
                </a:cubicBezTo>
                <a:cubicBezTo>
                  <a:pt x="110" y="35"/>
                  <a:pt x="109" y="38"/>
                  <a:pt x="109" y="38"/>
                </a:cubicBezTo>
                <a:cubicBezTo>
                  <a:pt x="109" y="39"/>
                  <a:pt x="108" y="38"/>
                  <a:pt x="107" y="38"/>
                </a:cubicBezTo>
                <a:cubicBezTo>
                  <a:pt x="107" y="39"/>
                  <a:pt x="106" y="41"/>
                  <a:pt x="107" y="40"/>
                </a:cubicBezTo>
                <a:cubicBezTo>
                  <a:pt x="107" y="42"/>
                  <a:pt x="107" y="41"/>
                  <a:pt x="108" y="41"/>
                </a:cubicBezTo>
                <a:cubicBezTo>
                  <a:pt x="108" y="41"/>
                  <a:pt x="108" y="43"/>
                  <a:pt x="108" y="43"/>
                </a:cubicBezTo>
                <a:cubicBezTo>
                  <a:pt x="106" y="44"/>
                  <a:pt x="105" y="44"/>
                  <a:pt x="105" y="44"/>
                </a:cubicBezTo>
                <a:cubicBezTo>
                  <a:pt x="105" y="44"/>
                  <a:pt x="105" y="44"/>
                  <a:pt x="106" y="47"/>
                </a:cubicBezTo>
                <a:cubicBezTo>
                  <a:pt x="102" y="46"/>
                  <a:pt x="104" y="46"/>
                  <a:pt x="99" y="47"/>
                </a:cubicBezTo>
                <a:cubicBezTo>
                  <a:pt x="101" y="52"/>
                  <a:pt x="100" y="53"/>
                  <a:pt x="98" y="56"/>
                </a:cubicBezTo>
                <a:cubicBezTo>
                  <a:pt x="97" y="55"/>
                  <a:pt x="96" y="56"/>
                  <a:pt x="95" y="55"/>
                </a:cubicBezTo>
                <a:cubicBezTo>
                  <a:pt x="95" y="55"/>
                  <a:pt x="95" y="53"/>
                  <a:pt x="95" y="53"/>
                </a:cubicBezTo>
                <a:cubicBezTo>
                  <a:pt x="93" y="53"/>
                  <a:pt x="93" y="53"/>
                  <a:pt x="93" y="53"/>
                </a:cubicBezTo>
                <a:cubicBezTo>
                  <a:pt x="92" y="54"/>
                  <a:pt x="93" y="54"/>
                  <a:pt x="91" y="54"/>
                </a:cubicBezTo>
                <a:cubicBezTo>
                  <a:pt x="91" y="57"/>
                  <a:pt x="90" y="60"/>
                  <a:pt x="91" y="62"/>
                </a:cubicBezTo>
                <a:cubicBezTo>
                  <a:pt x="92" y="63"/>
                  <a:pt x="93" y="64"/>
                  <a:pt x="93" y="64"/>
                </a:cubicBezTo>
                <a:cubicBezTo>
                  <a:pt x="92" y="65"/>
                  <a:pt x="92" y="65"/>
                  <a:pt x="91" y="65"/>
                </a:cubicBezTo>
                <a:cubicBezTo>
                  <a:pt x="91" y="65"/>
                  <a:pt x="91" y="67"/>
                  <a:pt x="91" y="68"/>
                </a:cubicBezTo>
                <a:cubicBezTo>
                  <a:pt x="90" y="66"/>
                  <a:pt x="88" y="65"/>
                  <a:pt x="87" y="64"/>
                </a:cubicBezTo>
                <a:cubicBezTo>
                  <a:pt x="87" y="62"/>
                  <a:pt x="88" y="60"/>
                  <a:pt x="87" y="58"/>
                </a:cubicBezTo>
                <a:cubicBezTo>
                  <a:pt x="86" y="58"/>
                  <a:pt x="85" y="58"/>
                  <a:pt x="85" y="58"/>
                </a:cubicBezTo>
                <a:cubicBezTo>
                  <a:pt x="84" y="58"/>
                  <a:pt x="85" y="60"/>
                  <a:pt x="85" y="60"/>
                </a:cubicBezTo>
                <a:cubicBezTo>
                  <a:pt x="85" y="60"/>
                  <a:pt x="81" y="62"/>
                  <a:pt x="81" y="62"/>
                </a:cubicBezTo>
                <a:cubicBezTo>
                  <a:pt x="78" y="66"/>
                  <a:pt x="81" y="69"/>
                  <a:pt x="80" y="72"/>
                </a:cubicBezTo>
                <a:cubicBezTo>
                  <a:pt x="79" y="72"/>
                  <a:pt x="79" y="72"/>
                  <a:pt x="79" y="72"/>
                </a:cubicBezTo>
                <a:cubicBezTo>
                  <a:pt x="78" y="73"/>
                  <a:pt x="79" y="74"/>
                  <a:pt x="78" y="75"/>
                </a:cubicBezTo>
                <a:cubicBezTo>
                  <a:pt x="79" y="75"/>
                  <a:pt x="79" y="75"/>
                  <a:pt x="79" y="75"/>
                </a:cubicBezTo>
                <a:cubicBezTo>
                  <a:pt x="79" y="75"/>
                  <a:pt x="80" y="77"/>
                  <a:pt x="80" y="78"/>
                </a:cubicBezTo>
                <a:cubicBezTo>
                  <a:pt x="79" y="79"/>
                  <a:pt x="76" y="79"/>
                  <a:pt x="75" y="81"/>
                </a:cubicBezTo>
                <a:cubicBezTo>
                  <a:pt x="74" y="81"/>
                  <a:pt x="75" y="82"/>
                  <a:pt x="75" y="83"/>
                </a:cubicBezTo>
                <a:cubicBezTo>
                  <a:pt x="75" y="83"/>
                  <a:pt x="69" y="90"/>
                  <a:pt x="69" y="90"/>
                </a:cubicBezTo>
                <a:cubicBezTo>
                  <a:pt x="66" y="92"/>
                  <a:pt x="64" y="91"/>
                  <a:pt x="59" y="92"/>
                </a:cubicBezTo>
                <a:cubicBezTo>
                  <a:pt x="58" y="93"/>
                  <a:pt x="56" y="95"/>
                  <a:pt x="55" y="95"/>
                </a:cubicBezTo>
                <a:cubicBezTo>
                  <a:pt x="54" y="95"/>
                  <a:pt x="52" y="94"/>
                  <a:pt x="51" y="94"/>
                </a:cubicBezTo>
                <a:cubicBezTo>
                  <a:pt x="49" y="95"/>
                  <a:pt x="49" y="99"/>
                  <a:pt x="47" y="100"/>
                </a:cubicBezTo>
                <a:cubicBezTo>
                  <a:pt x="46" y="101"/>
                  <a:pt x="44" y="100"/>
                  <a:pt x="43" y="101"/>
                </a:cubicBezTo>
                <a:cubicBezTo>
                  <a:pt x="42" y="101"/>
                  <a:pt x="42" y="103"/>
                  <a:pt x="42" y="103"/>
                </a:cubicBezTo>
                <a:cubicBezTo>
                  <a:pt x="39" y="105"/>
                  <a:pt x="35" y="103"/>
                  <a:pt x="33" y="102"/>
                </a:cubicBezTo>
                <a:cubicBezTo>
                  <a:pt x="32" y="103"/>
                  <a:pt x="32" y="104"/>
                  <a:pt x="32" y="106"/>
                </a:cubicBezTo>
                <a:cubicBezTo>
                  <a:pt x="31" y="105"/>
                  <a:pt x="27" y="105"/>
                  <a:pt x="27" y="106"/>
                </a:cubicBezTo>
                <a:cubicBezTo>
                  <a:pt x="25" y="106"/>
                  <a:pt x="24" y="111"/>
                  <a:pt x="22" y="112"/>
                </a:cubicBezTo>
                <a:cubicBezTo>
                  <a:pt x="21" y="112"/>
                  <a:pt x="21" y="112"/>
                  <a:pt x="21" y="112"/>
                </a:cubicBezTo>
                <a:cubicBezTo>
                  <a:pt x="20" y="112"/>
                  <a:pt x="21" y="114"/>
                  <a:pt x="20" y="114"/>
                </a:cubicBezTo>
                <a:cubicBezTo>
                  <a:pt x="20" y="114"/>
                  <a:pt x="19" y="114"/>
                  <a:pt x="18" y="114"/>
                </a:cubicBezTo>
                <a:cubicBezTo>
                  <a:pt x="16" y="115"/>
                  <a:pt x="15" y="119"/>
                  <a:pt x="14" y="120"/>
                </a:cubicBezTo>
                <a:cubicBezTo>
                  <a:pt x="12" y="121"/>
                  <a:pt x="10" y="122"/>
                  <a:pt x="8" y="123"/>
                </a:cubicBezTo>
                <a:cubicBezTo>
                  <a:pt x="8" y="122"/>
                  <a:pt x="7" y="121"/>
                  <a:pt x="8" y="121"/>
                </a:cubicBezTo>
                <a:cubicBezTo>
                  <a:pt x="9" y="120"/>
                  <a:pt x="8" y="118"/>
                  <a:pt x="8" y="118"/>
                </a:cubicBezTo>
                <a:cubicBezTo>
                  <a:pt x="8" y="118"/>
                  <a:pt x="9" y="117"/>
                  <a:pt x="8" y="117"/>
                </a:cubicBezTo>
                <a:cubicBezTo>
                  <a:pt x="6" y="119"/>
                  <a:pt x="7" y="123"/>
                  <a:pt x="4" y="124"/>
                </a:cubicBezTo>
                <a:cubicBezTo>
                  <a:pt x="4" y="124"/>
                  <a:pt x="6" y="128"/>
                  <a:pt x="6" y="128"/>
                </a:cubicBezTo>
                <a:cubicBezTo>
                  <a:pt x="7" y="127"/>
                  <a:pt x="6" y="132"/>
                  <a:pt x="6" y="133"/>
                </a:cubicBezTo>
                <a:cubicBezTo>
                  <a:pt x="6" y="132"/>
                  <a:pt x="6" y="134"/>
                  <a:pt x="6" y="134"/>
                </a:cubicBezTo>
                <a:cubicBezTo>
                  <a:pt x="7" y="137"/>
                  <a:pt x="5" y="139"/>
                  <a:pt x="4" y="141"/>
                </a:cubicBezTo>
                <a:cubicBezTo>
                  <a:pt x="4" y="141"/>
                  <a:pt x="2" y="141"/>
                  <a:pt x="2" y="141"/>
                </a:cubicBezTo>
                <a:cubicBezTo>
                  <a:pt x="1" y="143"/>
                  <a:pt x="1" y="143"/>
                  <a:pt x="1" y="143"/>
                </a:cubicBezTo>
                <a:cubicBezTo>
                  <a:pt x="1" y="143"/>
                  <a:pt x="2" y="143"/>
                  <a:pt x="2" y="143"/>
                </a:cubicBezTo>
                <a:cubicBezTo>
                  <a:pt x="4" y="145"/>
                  <a:pt x="6" y="146"/>
                  <a:pt x="7" y="148"/>
                </a:cubicBezTo>
                <a:cubicBezTo>
                  <a:pt x="8" y="151"/>
                  <a:pt x="7" y="152"/>
                  <a:pt x="7" y="155"/>
                </a:cubicBezTo>
                <a:cubicBezTo>
                  <a:pt x="7" y="157"/>
                  <a:pt x="8" y="160"/>
                  <a:pt x="9" y="164"/>
                </a:cubicBezTo>
                <a:cubicBezTo>
                  <a:pt x="7" y="163"/>
                  <a:pt x="7" y="164"/>
                  <a:pt x="5" y="163"/>
                </a:cubicBezTo>
                <a:cubicBezTo>
                  <a:pt x="5" y="162"/>
                  <a:pt x="5" y="159"/>
                  <a:pt x="5" y="159"/>
                </a:cubicBezTo>
                <a:cubicBezTo>
                  <a:pt x="4" y="159"/>
                  <a:pt x="4" y="159"/>
                  <a:pt x="4" y="159"/>
                </a:cubicBezTo>
                <a:cubicBezTo>
                  <a:pt x="5" y="164"/>
                  <a:pt x="6" y="165"/>
                  <a:pt x="7" y="169"/>
                </a:cubicBezTo>
                <a:cubicBezTo>
                  <a:pt x="7" y="169"/>
                  <a:pt x="5" y="170"/>
                  <a:pt x="5" y="169"/>
                </a:cubicBezTo>
                <a:cubicBezTo>
                  <a:pt x="3" y="169"/>
                  <a:pt x="3" y="163"/>
                  <a:pt x="2" y="160"/>
                </a:cubicBezTo>
                <a:cubicBezTo>
                  <a:pt x="0" y="159"/>
                  <a:pt x="0" y="159"/>
                  <a:pt x="0" y="159"/>
                </a:cubicBezTo>
                <a:cubicBezTo>
                  <a:pt x="1" y="162"/>
                  <a:pt x="1" y="165"/>
                  <a:pt x="2" y="168"/>
                </a:cubicBezTo>
                <a:cubicBezTo>
                  <a:pt x="2" y="168"/>
                  <a:pt x="3" y="168"/>
                  <a:pt x="3" y="169"/>
                </a:cubicBezTo>
                <a:cubicBezTo>
                  <a:pt x="5" y="172"/>
                  <a:pt x="7" y="173"/>
                  <a:pt x="9" y="176"/>
                </a:cubicBezTo>
                <a:cubicBezTo>
                  <a:pt x="10" y="177"/>
                  <a:pt x="9" y="178"/>
                  <a:pt x="10" y="180"/>
                </a:cubicBezTo>
                <a:cubicBezTo>
                  <a:pt x="11" y="181"/>
                  <a:pt x="11" y="181"/>
                  <a:pt x="11" y="181"/>
                </a:cubicBezTo>
                <a:cubicBezTo>
                  <a:pt x="11" y="182"/>
                  <a:pt x="11" y="182"/>
                  <a:pt x="11" y="182"/>
                </a:cubicBezTo>
                <a:cubicBezTo>
                  <a:pt x="10" y="181"/>
                  <a:pt x="10" y="185"/>
                  <a:pt x="10" y="185"/>
                </a:cubicBezTo>
                <a:cubicBezTo>
                  <a:pt x="11" y="187"/>
                  <a:pt x="14" y="188"/>
                  <a:pt x="16" y="189"/>
                </a:cubicBezTo>
                <a:cubicBezTo>
                  <a:pt x="15" y="191"/>
                  <a:pt x="14" y="193"/>
                  <a:pt x="14" y="194"/>
                </a:cubicBezTo>
                <a:cubicBezTo>
                  <a:pt x="15" y="195"/>
                  <a:pt x="19" y="198"/>
                  <a:pt x="19" y="201"/>
                </a:cubicBezTo>
                <a:cubicBezTo>
                  <a:pt x="19" y="201"/>
                  <a:pt x="18" y="202"/>
                  <a:pt x="18" y="203"/>
                </a:cubicBezTo>
                <a:cubicBezTo>
                  <a:pt x="17" y="205"/>
                  <a:pt x="18" y="209"/>
                  <a:pt x="18" y="211"/>
                </a:cubicBezTo>
                <a:cubicBezTo>
                  <a:pt x="19" y="213"/>
                  <a:pt x="20" y="215"/>
                  <a:pt x="21" y="217"/>
                </a:cubicBezTo>
                <a:cubicBezTo>
                  <a:pt x="22" y="221"/>
                  <a:pt x="21" y="221"/>
                  <a:pt x="22" y="224"/>
                </a:cubicBezTo>
                <a:cubicBezTo>
                  <a:pt x="22" y="224"/>
                  <a:pt x="24" y="227"/>
                  <a:pt x="24" y="227"/>
                </a:cubicBezTo>
                <a:cubicBezTo>
                  <a:pt x="24" y="228"/>
                  <a:pt x="22" y="230"/>
                  <a:pt x="22" y="230"/>
                </a:cubicBezTo>
                <a:cubicBezTo>
                  <a:pt x="22" y="233"/>
                  <a:pt x="24" y="233"/>
                  <a:pt x="24" y="235"/>
                </a:cubicBezTo>
                <a:cubicBezTo>
                  <a:pt x="23" y="236"/>
                  <a:pt x="22" y="237"/>
                  <a:pt x="22" y="237"/>
                </a:cubicBezTo>
                <a:cubicBezTo>
                  <a:pt x="21" y="242"/>
                  <a:pt x="22" y="244"/>
                  <a:pt x="22" y="249"/>
                </a:cubicBezTo>
                <a:cubicBezTo>
                  <a:pt x="21" y="249"/>
                  <a:pt x="21" y="250"/>
                  <a:pt x="20" y="250"/>
                </a:cubicBezTo>
                <a:cubicBezTo>
                  <a:pt x="20" y="249"/>
                  <a:pt x="18" y="247"/>
                  <a:pt x="18" y="247"/>
                </a:cubicBezTo>
                <a:cubicBezTo>
                  <a:pt x="17" y="247"/>
                  <a:pt x="15" y="247"/>
                  <a:pt x="16" y="248"/>
                </a:cubicBezTo>
                <a:cubicBezTo>
                  <a:pt x="16" y="247"/>
                  <a:pt x="16" y="251"/>
                  <a:pt x="17" y="252"/>
                </a:cubicBezTo>
                <a:cubicBezTo>
                  <a:pt x="19" y="256"/>
                  <a:pt x="21" y="254"/>
                  <a:pt x="24" y="257"/>
                </a:cubicBezTo>
                <a:cubicBezTo>
                  <a:pt x="25" y="258"/>
                  <a:pt x="26" y="261"/>
                  <a:pt x="27" y="262"/>
                </a:cubicBezTo>
                <a:cubicBezTo>
                  <a:pt x="28" y="263"/>
                  <a:pt x="32" y="262"/>
                  <a:pt x="32" y="262"/>
                </a:cubicBezTo>
                <a:cubicBezTo>
                  <a:pt x="33" y="262"/>
                  <a:pt x="33" y="262"/>
                  <a:pt x="33" y="262"/>
                </a:cubicBezTo>
                <a:cubicBezTo>
                  <a:pt x="34" y="262"/>
                  <a:pt x="36" y="261"/>
                  <a:pt x="37" y="262"/>
                </a:cubicBezTo>
                <a:cubicBezTo>
                  <a:pt x="37" y="262"/>
                  <a:pt x="40" y="264"/>
                  <a:pt x="41" y="264"/>
                </a:cubicBezTo>
                <a:cubicBezTo>
                  <a:pt x="41" y="264"/>
                  <a:pt x="42" y="262"/>
                  <a:pt x="42" y="262"/>
                </a:cubicBezTo>
                <a:cubicBezTo>
                  <a:pt x="42" y="262"/>
                  <a:pt x="43" y="262"/>
                  <a:pt x="44" y="262"/>
                </a:cubicBezTo>
                <a:cubicBezTo>
                  <a:pt x="44" y="262"/>
                  <a:pt x="48" y="255"/>
                  <a:pt x="49" y="255"/>
                </a:cubicBezTo>
                <a:cubicBezTo>
                  <a:pt x="50" y="255"/>
                  <a:pt x="50" y="255"/>
                  <a:pt x="50" y="255"/>
                </a:cubicBezTo>
                <a:cubicBezTo>
                  <a:pt x="50" y="255"/>
                  <a:pt x="51" y="258"/>
                  <a:pt x="51" y="258"/>
                </a:cubicBezTo>
                <a:cubicBezTo>
                  <a:pt x="51" y="258"/>
                  <a:pt x="53" y="258"/>
                  <a:pt x="53" y="258"/>
                </a:cubicBezTo>
                <a:cubicBezTo>
                  <a:pt x="54" y="256"/>
                  <a:pt x="54" y="256"/>
                  <a:pt x="54" y="254"/>
                </a:cubicBezTo>
                <a:cubicBezTo>
                  <a:pt x="54" y="252"/>
                  <a:pt x="54" y="252"/>
                  <a:pt x="54" y="252"/>
                </a:cubicBezTo>
                <a:cubicBezTo>
                  <a:pt x="56" y="252"/>
                  <a:pt x="57" y="253"/>
                  <a:pt x="59" y="252"/>
                </a:cubicBezTo>
                <a:cubicBezTo>
                  <a:pt x="61" y="251"/>
                  <a:pt x="61" y="251"/>
                  <a:pt x="61" y="251"/>
                </a:cubicBezTo>
                <a:cubicBezTo>
                  <a:pt x="63" y="251"/>
                  <a:pt x="62" y="252"/>
                  <a:pt x="64" y="252"/>
                </a:cubicBezTo>
                <a:cubicBezTo>
                  <a:pt x="64" y="251"/>
                  <a:pt x="64" y="250"/>
                  <a:pt x="65" y="250"/>
                </a:cubicBezTo>
                <a:cubicBezTo>
                  <a:pt x="68" y="249"/>
                  <a:pt x="72" y="251"/>
                  <a:pt x="74" y="251"/>
                </a:cubicBezTo>
                <a:cubicBezTo>
                  <a:pt x="74" y="251"/>
                  <a:pt x="75" y="250"/>
                  <a:pt x="77" y="250"/>
                </a:cubicBezTo>
                <a:cubicBezTo>
                  <a:pt x="77" y="250"/>
                  <a:pt x="78" y="252"/>
                  <a:pt x="78" y="252"/>
                </a:cubicBezTo>
                <a:cubicBezTo>
                  <a:pt x="79" y="252"/>
                  <a:pt x="78" y="251"/>
                  <a:pt x="79" y="250"/>
                </a:cubicBezTo>
                <a:cubicBezTo>
                  <a:pt x="80" y="250"/>
                  <a:pt x="82" y="251"/>
                  <a:pt x="83" y="250"/>
                </a:cubicBezTo>
                <a:cubicBezTo>
                  <a:pt x="83" y="250"/>
                  <a:pt x="83" y="250"/>
                  <a:pt x="83" y="250"/>
                </a:cubicBezTo>
                <a:cubicBezTo>
                  <a:pt x="87" y="249"/>
                  <a:pt x="85" y="251"/>
                  <a:pt x="86" y="251"/>
                </a:cubicBezTo>
                <a:cubicBezTo>
                  <a:pt x="88" y="251"/>
                  <a:pt x="87" y="250"/>
                  <a:pt x="88" y="250"/>
                </a:cubicBezTo>
                <a:cubicBezTo>
                  <a:pt x="89" y="250"/>
                  <a:pt x="90" y="250"/>
                  <a:pt x="89" y="250"/>
                </a:cubicBezTo>
                <a:cubicBezTo>
                  <a:pt x="90" y="250"/>
                  <a:pt x="90" y="250"/>
                  <a:pt x="90" y="250"/>
                </a:cubicBezTo>
                <a:cubicBezTo>
                  <a:pt x="92" y="249"/>
                  <a:pt x="94" y="242"/>
                  <a:pt x="96" y="241"/>
                </a:cubicBezTo>
                <a:cubicBezTo>
                  <a:pt x="98" y="240"/>
                  <a:pt x="100" y="241"/>
                  <a:pt x="102" y="240"/>
                </a:cubicBezTo>
                <a:cubicBezTo>
                  <a:pt x="104" y="236"/>
                  <a:pt x="104" y="236"/>
                  <a:pt x="104" y="236"/>
                </a:cubicBezTo>
                <a:cubicBezTo>
                  <a:pt x="105" y="236"/>
                  <a:pt x="106" y="237"/>
                  <a:pt x="106" y="237"/>
                </a:cubicBezTo>
                <a:cubicBezTo>
                  <a:pt x="107" y="236"/>
                  <a:pt x="108" y="234"/>
                  <a:pt x="109" y="232"/>
                </a:cubicBezTo>
                <a:cubicBezTo>
                  <a:pt x="116" y="233"/>
                  <a:pt x="125" y="232"/>
                  <a:pt x="129" y="230"/>
                </a:cubicBezTo>
                <a:cubicBezTo>
                  <a:pt x="129" y="229"/>
                  <a:pt x="129" y="229"/>
                  <a:pt x="129" y="229"/>
                </a:cubicBezTo>
                <a:cubicBezTo>
                  <a:pt x="131" y="229"/>
                  <a:pt x="132" y="228"/>
                  <a:pt x="133" y="228"/>
                </a:cubicBezTo>
                <a:cubicBezTo>
                  <a:pt x="135" y="227"/>
                  <a:pt x="135" y="229"/>
                  <a:pt x="137" y="229"/>
                </a:cubicBezTo>
                <a:cubicBezTo>
                  <a:pt x="138" y="227"/>
                  <a:pt x="138" y="227"/>
                  <a:pt x="138" y="227"/>
                </a:cubicBezTo>
                <a:cubicBezTo>
                  <a:pt x="141" y="226"/>
                  <a:pt x="142" y="227"/>
                  <a:pt x="145" y="227"/>
                </a:cubicBezTo>
                <a:cubicBezTo>
                  <a:pt x="146" y="225"/>
                  <a:pt x="146" y="225"/>
                  <a:pt x="146" y="225"/>
                </a:cubicBezTo>
                <a:cubicBezTo>
                  <a:pt x="148" y="225"/>
                  <a:pt x="149" y="226"/>
                  <a:pt x="151" y="226"/>
                </a:cubicBezTo>
                <a:cubicBezTo>
                  <a:pt x="153" y="225"/>
                  <a:pt x="153" y="223"/>
                  <a:pt x="155" y="223"/>
                </a:cubicBezTo>
                <a:cubicBezTo>
                  <a:pt x="155" y="223"/>
                  <a:pt x="160" y="226"/>
                  <a:pt x="160" y="227"/>
                </a:cubicBezTo>
                <a:cubicBezTo>
                  <a:pt x="162" y="227"/>
                  <a:pt x="162" y="227"/>
                  <a:pt x="162" y="227"/>
                </a:cubicBezTo>
                <a:cubicBezTo>
                  <a:pt x="162" y="228"/>
                  <a:pt x="162" y="229"/>
                  <a:pt x="162" y="230"/>
                </a:cubicBezTo>
                <a:cubicBezTo>
                  <a:pt x="166" y="229"/>
                  <a:pt x="169" y="228"/>
                  <a:pt x="171" y="230"/>
                </a:cubicBezTo>
                <a:cubicBezTo>
                  <a:pt x="172" y="231"/>
                  <a:pt x="172" y="231"/>
                  <a:pt x="172" y="231"/>
                </a:cubicBezTo>
                <a:cubicBezTo>
                  <a:pt x="173" y="231"/>
                  <a:pt x="174" y="230"/>
                  <a:pt x="176" y="230"/>
                </a:cubicBezTo>
                <a:cubicBezTo>
                  <a:pt x="176" y="231"/>
                  <a:pt x="176" y="231"/>
                  <a:pt x="177" y="232"/>
                </a:cubicBezTo>
                <a:cubicBezTo>
                  <a:pt x="177" y="232"/>
                  <a:pt x="177" y="236"/>
                  <a:pt x="177" y="236"/>
                </a:cubicBezTo>
                <a:cubicBezTo>
                  <a:pt x="178" y="236"/>
                  <a:pt x="180" y="235"/>
                  <a:pt x="181" y="236"/>
                </a:cubicBezTo>
                <a:cubicBezTo>
                  <a:pt x="181" y="236"/>
                  <a:pt x="183" y="238"/>
                  <a:pt x="181" y="238"/>
                </a:cubicBezTo>
                <a:cubicBezTo>
                  <a:pt x="181" y="239"/>
                  <a:pt x="180" y="240"/>
                  <a:pt x="179" y="241"/>
                </a:cubicBezTo>
                <a:cubicBezTo>
                  <a:pt x="181" y="242"/>
                  <a:pt x="184" y="243"/>
                  <a:pt x="186" y="244"/>
                </a:cubicBezTo>
                <a:cubicBezTo>
                  <a:pt x="186" y="247"/>
                  <a:pt x="185" y="250"/>
                  <a:pt x="187" y="252"/>
                </a:cubicBezTo>
                <a:cubicBezTo>
                  <a:pt x="187" y="253"/>
                  <a:pt x="189" y="253"/>
                  <a:pt x="190" y="254"/>
                </a:cubicBezTo>
                <a:cubicBezTo>
                  <a:pt x="190" y="255"/>
                  <a:pt x="189" y="255"/>
                  <a:pt x="189" y="256"/>
                </a:cubicBezTo>
                <a:cubicBezTo>
                  <a:pt x="190" y="257"/>
                  <a:pt x="191" y="257"/>
                  <a:pt x="192" y="258"/>
                </a:cubicBezTo>
                <a:cubicBezTo>
                  <a:pt x="193" y="258"/>
                  <a:pt x="193" y="258"/>
                  <a:pt x="195" y="258"/>
                </a:cubicBezTo>
                <a:cubicBezTo>
                  <a:pt x="196" y="256"/>
                  <a:pt x="197" y="253"/>
                  <a:pt x="200" y="252"/>
                </a:cubicBezTo>
                <a:cubicBezTo>
                  <a:pt x="200" y="250"/>
                  <a:pt x="200" y="250"/>
                  <a:pt x="200" y="250"/>
                </a:cubicBezTo>
                <a:cubicBezTo>
                  <a:pt x="201" y="249"/>
                  <a:pt x="207" y="247"/>
                  <a:pt x="208" y="246"/>
                </a:cubicBezTo>
                <a:cubicBezTo>
                  <a:pt x="208" y="245"/>
                  <a:pt x="208" y="244"/>
                  <a:pt x="208" y="242"/>
                </a:cubicBezTo>
                <a:cubicBezTo>
                  <a:pt x="209" y="242"/>
                  <a:pt x="211" y="242"/>
                  <a:pt x="211" y="241"/>
                </a:cubicBezTo>
                <a:cubicBezTo>
                  <a:pt x="211" y="244"/>
                  <a:pt x="211" y="246"/>
                  <a:pt x="210" y="249"/>
                </a:cubicBezTo>
                <a:cubicBezTo>
                  <a:pt x="210" y="250"/>
                  <a:pt x="209" y="251"/>
                  <a:pt x="208" y="252"/>
                </a:cubicBezTo>
                <a:cubicBezTo>
                  <a:pt x="207" y="255"/>
                  <a:pt x="207" y="258"/>
                  <a:pt x="208" y="262"/>
                </a:cubicBezTo>
                <a:cubicBezTo>
                  <a:pt x="207" y="262"/>
                  <a:pt x="206" y="264"/>
                  <a:pt x="205" y="264"/>
                </a:cubicBezTo>
                <a:cubicBezTo>
                  <a:pt x="204" y="264"/>
                  <a:pt x="203" y="263"/>
                  <a:pt x="202" y="264"/>
                </a:cubicBezTo>
                <a:cubicBezTo>
                  <a:pt x="202" y="264"/>
                  <a:pt x="203" y="266"/>
                  <a:pt x="202" y="266"/>
                </a:cubicBezTo>
                <a:cubicBezTo>
                  <a:pt x="204" y="266"/>
                  <a:pt x="203" y="267"/>
                  <a:pt x="204" y="267"/>
                </a:cubicBezTo>
                <a:cubicBezTo>
                  <a:pt x="205" y="267"/>
                  <a:pt x="206" y="265"/>
                  <a:pt x="206" y="265"/>
                </a:cubicBezTo>
                <a:cubicBezTo>
                  <a:pt x="206" y="265"/>
                  <a:pt x="208" y="266"/>
                  <a:pt x="209" y="265"/>
                </a:cubicBezTo>
                <a:cubicBezTo>
                  <a:pt x="211" y="263"/>
                  <a:pt x="209" y="259"/>
                  <a:pt x="211" y="256"/>
                </a:cubicBezTo>
                <a:cubicBezTo>
                  <a:pt x="212" y="255"/>
                  <a:pt x="213" y="256"/>
                  <a:pt x="214" y="255"/>
                </a:cubicBezTo>
                <a:cubicBezTo>
                  <a:pt x="215" y="256"/>
                  <a:pt x="214" y="258"/>
                  <a:pt x="214" y="259"/>
                </a:cubicBezTo>
                <a:cubicBezTo>
                  <a:pt x="215" y="260"/>
                  <a:pt x="217" y="261"/>
                  <a:pt x="217" y="262"/>
                </a:cubicBezTo>
                <a:cubicBezTo>
                  <a:pt x="217" y="263"/>
                  <a:pt x="217" y="270"/>
                  <a:pt x="216" y="273"/>
                </a:cubicBezTo>
                <a:cubicBezTo>
                  <a:pt x="218" y="272"/>
                  <a:pt x="219" y="273"/>
                  <a:pt x="221" y="272"/>
                </a:cubicBezTo>
                <a:cubicBezTo>
                  <a:pt x="222" y="270"/>
                  <a:pt x="222" y="270"/>
                  <a:pt x="222" y="270"/>
                </a:cubicBezTo>
                <a:cubicBezTo>
                  <a:pt x="222" y="270"/>
                  <a:pt x="224" y="271"/>
                  <a:pt x="224" y="270"/>
                </a:cubicBezTo>
                <a:cubicBezTo>
                  <a:pt x="225" y="275"/>
                  <a:pt x="225" y="277"/>
                  <a:pt x="227" y="280"/>
                </a:cubicBezTo>
                <a:cubicBezTo>
                  <a:pt x="228" y="281"/>
                  <a:pt x="228" y="281"/>
                  <a:pt x="228" y="281"/>
                </a:cubicBezTo>
                <a:cubicBezTo>
                  <a:pt x="229" y="285"/>
                  <a:pt x="226" y="289"/>
                  <a:pt x="228" y="293"/>
                </a:cubicBezTo>
                <a:cubicBezTo>
                  <a:pt x="228" y="295"/>
                  <a:pt x="232" y="296"/>
                  <a:pt x="234" y="298"/>
                </a:cubicBezTo>
                <a:cubicBezTo>
                  <a:pt x="234" y="299"/>
                  <a:pt x="234" y="301"/>
                  <a:pt x="235" y="302"/>
                </a:cubicBezTo>
                <a:cubicBezTo>
                  <a:pt x="235" y="302"/>
                  <a:pt x="237" y="301"/>
                  <a:pt x="238" y="302"/>
                </a:cubicBezTo>
                <a:cubicBezTo>
                  <a:pt x="240" y="302"/>
                  <a:pt x="242" y="306"/>
                  <a:pt x="244" y="306"/>
                </a:cubicBezTo>
                <a:cubicBezTo>
                  <a:pt x="245" y="306"/>
                  <a:pt x="245" y="304"/>
                  <a:pt x="248" y="304"/>
                </a:cubicBezTo>
                <a:close/>
                <a:moveTo>
                  <a:pt x="268" y="334"/>
                </a:moveTo>
                <a:cubicBezTo>
                  <a:pt x="268" y="334"/>
                  <a:pt x="267" y="338"/>
                  <a:pt x="267" y="339"/>
                </a:cubicBezTo>
                <a:cubicBezTo>
                  <a:pt x="269" y="342"/>
                  <a:pt x="269" y="342"/>
                  <a:pt x="269" y="342"/>
                </a:cubicBezTo>
                <a:cubicBezTo>
                  <a:pt x="269" y="343"/>
                  <a:pt x="274" y="352"/>
                  <a:pt x="275" y="352"/>
                </a:cubicBezTo>
                <a:cubicBezTo>
                  <a:pt x="275" y="353"/>
                  <a:pt x="275" y="353"/>
                  <a:pt x="275" y="353"/>
                </a:cubicBezTo>
                <a:cubicBezTo>
                  <a:pt x="276" y="353"/>
                  <a:pt x="277" y="353"/>
                  <a:pt x="277" y="353"/>
                </a:cubicBezTo>
                <a:cubicBezTo>
                  <a:pt x="277" y="354"/>
                  <a:pt x="276" y="354"/>
                  <a:pt x="275" y="354"/>
                </a:cubicBezTo>
                <a:cubicBezTo>
                  <a:pt x="275" y="356"/>
                  <a:pt x="274" y="357"/>
                  <a:pt x="275" y="359"/>
                </a:cubicBezTo>
                <a:cubicBezTo>
                  <a:pt x="275" y="360"/>
                  <a:pt x="278" y="362"/>
                  <a:pt x="279" y="363"/>
                </a:cubicBezTo>
                <a:cubicBezTo>
                  <a:pt x="279" y="364"/>
                  <a:pt x="279" y="365"/>
                  <a:pt x="279" y="365"/>
                </a:cubicBezTo>
                <a:cubicBezTo>
                  <a:pt x="280" y="366"/>
                  <a:pt x="282" y="365"/>
                  <a:pt x="282" y="366"/>
                </a:cubicBezTo>
                <a:cubicBezTo>
                  <a:pt x="283" y="367"/>
                  <a:pt x="281" y="368"/>
                  <a:pt x="283" y="369"/>
                </a:cubicBezTo>
                <a:cubicBezTo>
                  <a:pt x="283" y="369"/>
                  <a:pt x="283" y="369"/>
                  <a:pt x="283" y="369"/>
                </a:cubicBezTo>
                <a:cubicBezTo>
                  <a:pt x="286" y="370"/>
                  <a:pt x="286" y="369"/>
                  <a:pt x="289" y="370"/>
                </a:cubicBezTo>
                <a:cubicBezTo>
                  <a:pt x="289" y="369"/>
                  <a:pt x="289" y="368"/>
                  <a:pt x="289" y="368"/>
                </a:cubicBezTo>
                <a:cubicBezTo>
                  <a:pt x="290" y="368"/>
                  <a:pt x="290" y="370"/>
                  <a:pt x="291" y="369"/>
                </a:cubicBezTo>
                <a:cubicBezTo>
                  <a:pt x="292" y="368"/>
                  <a:pt x="292" y="365"/>
                  <a:pt x="291" y="366"/>
                </a:cubicBezTo>
                <a:cubicBezTo>
                  <a:pt x="291" y="367"/>
                  <a:pt x="291" y="367"/>
                  <a:pt x="291" y="367"/>
                </a:cubicBezTo>
                <a:cubicBezTo>
                  <a:pt x="291" y="367"/>
                  <a:pt x="290" y="367"/>
                  <a:pt x="290" y="367"/>
                </a:cubicBezTo>
                <a:cubicBezTo>
                  <a:pt x="290" y="366"/>
                  <a:pt x="290" y="366"/>
                  <a:pt x="289" y="364"/>
                </a:cubicBezTo>
                <a:cubicBezTo>
                  <a:pt x="291" y="364"/>
                  <a:pt x="291" y="364"/>
                  <a:pt x="291" y="363"/>
                </a:cubicBezTo>
                <a:cubicBezTo>
                  <a:pt x="291" y="362"/>
                  <a:pt x="291" y="362"/>
                  <a:pt x="291" y="362"/>
                </a:cubicBezTo>
                <a:cubicBezTo>
                  <a:pt x="292" y="362"/>
                  <a:pt x="292" y="362"/>
                  <a:pt x="292" y="362"/>
                </a:cubicBezTo>
                <a:cubicBezTo>
                  <a:pt x="291" y="361"/>
                  <a:pt x="295" y="362"/>
                  <a:pt x="293" y="363"/>
                </a:cubicBezTo>
                <a:cubicBezTo>
                  <a:pt x="294" y="363"/>
                  <a:pt x="294" y="365"/>
                  <a:pt x="295" y="365"/>
                </a:cubicBezTo>
                <a:cubicBezTo>
                  <a:pt x="295" y="365"/>
                  <a:pt x="297" y="364"/>
                  <a:pt x="297" y="364"/>
                </a:cubicBezTo>
                <a:cubicBezTo>
                  <a:pt x="295" y="359"/>
                  <a:pt x="297" y="357"/>
                  <a:pt x="297" y="351"/>
                </a:cubicBezTo>
                <a:cubicBezTo>
                  <a:pt x="298" y="351"/>
                  <a:pt x="299" y="353"/>
                  <a:pt x="299" y="351"/>
                </a:cubicBezTo>
                <a:cubicBezTo>
                  <a:pt x="301" y="346"/>
                  <a:pt x="298" y="339"/>
                  <a:pt x="297" y="336"/>
                </a:cubicBezTo>
                <a:cubicBezTo>
                  <a:pt x="296" y="337"/>
                  <a:pt x="294" y="338"/>
                  <a:pt x="291" y="339"/>
                </a:cubicBezTo>
                <a:cubicBezTo>
                  <a:pt x="291" y="339"/>
                  <a:pt x="290" y="341"/>
                  <a:pt x="290" y="341"/>
                </a:cubicBezTo>
                <a:cubicBezTo>
                  <a:pt x="286" y="342"/>
                  <a:pt x="279" y="337"/>
                  <a:pt x="275" y="336"/>
                </a:cubicBezTo>
                <a:cubicBezTo>
                  <a:pt x="273" y="335"/>
                  <a:pt x="273" y="336"/>
                  <a:pt x="272" y="336"/>
                </a:cubicBezTo>
                <a:cubicBezTo>
                  <a:pt x="272" y="336"/>
                  <a:pt x="270" y="334"/>
                  <a:pt x="270" y="334"/>
                </a:cubicBezTo>
                <a:cubicBezTo>
                  <a:pt x="269" y="334"/>
                  <a:pt x="269" y="335"/>
                  <a:pt x="268" y="334"/>
                </a:cubicBezTo>
                <a:close/>
                <a:moveTo>
                  <a:pt x="297" y="324"/>
                </a:moveTo>
                <a:cubicBezTo>
                  <a:pt x="296" y="324"/>
                  <a:pt x="296" y="326"/>
                  <a:pt x="296" y="326"/>
                </a:cubicBezTo>
                <a:cubicBezTo>
                  <a:pt x="296" y="326"/>
                  <a:pt x="295" y="329"/>
                  <a:pt x="299" y="330"/>
                </a:cubicBezTo>
                <a:cubicBezTo>
                  <a:pt x="299" y="331"/>
                  <a:pt x="299" y="331"/>
                  <a:pt x="299" y="331"/>
                </a:cubicBezTo>
                <a:cubicBezTo>
                  <a:pt x="299" y="331"/>
                  <a:pt x="301" y="330"/>
                  <a:pt x="301" y="330"/>
                </a:cubicBezTo>
                <a:cubicBezTo>
                  <a:pt x="300" y="328"/>
                  <a:pt x="299" y="324"/>
                  <a:pt x="297" y="324"/>
                </a:cubicBezTo>
                <a:close/>
                <a:moveTo>
                  <a:pt x="261" y="322"/>
                </a:moveTo>
                <a:cubicBezTo>
                  <a:pt x="261" y="322"/>
                  <a:pt x="259" y="328"/>
                  <a:pt x="262" y="327"/>
                </a:cubicBezTo>
                <a:cubicBezTo>
                  <a:pt x="262" y="326"/>
                  <a:pt x="263" y="322"/>
                  <a:pt x="261" y="322"/>
                </a:cubicBezTo>
                <a:close/>
                <a:moveTo>
                  <a:pt x="208" y="273"/>
                </a:moveTo>
                <a:cubicBezTo>
                  <a:pt x="202" y="274"/>
                  <a:pt x="204" y="278"/>
                  <a:pt x="210" y="277"/>
                </a:cubicBezTo>
                <a:cubicBezTo>
                  <a:pt x="214" y="276"/>
                  <a:pt x="211" y="273"/>
                  <a:pt x="208" y="273"/>
                </a:cubicBezTo>
                <a:close/>
                <a:moveTo>
                  <a:pt x="190" y="222"/>
                </a:moveTo>
                <a:cubicBezTo>
                  <a:pt x="193" y="222"/>
                  <a:pt x="189" y="223"/>
                  <a:pt x="189" y="223"/>
                </a:cubicBezTo>
                <a:cubicBezTo>
                  <a:pt x="190" y="223"/>
                  <a:pt x="189" y="222"/>
                  <a:pt x="190" y="222"/>
                </a:cubicBezTo>
                <a:close/>
                <a:moveTo>
                  <a:pt x="194" y="221"/>
                </a:moveTo>
                <a:cubicBezTo>
                  <a:pt x="197" y="222"/>
                  <a:pt x="195" y="223"/>
                  <a:pt x="197" y="226"/>
                </a:cubicBezTo>
                <a:cubicBezTo>
                  <a:pt x="198" y="227"/>
                  <a:pt x="198" y="227"/>
                  <a:pt x="198" y="227"/>
                </a:cubicBezTo>
                <a:cubicBezTo>
                  <a:pt x="199" y="228"/>
                  <a:pt x="198" y="228"/>
                  <a:pt x="198" y="230"/>
                </a:cubicBezTo>
                <a:cubicBezTo>
                  <a:pt x="197" y="230"/>
                  <a:pt x="197" y="229"/>
                  <a:pt x="195" y="229"/>
                </a:cubicBezTo>
                <a:cubicBezTo>
                  <a:pt x="195" y="226"/>
                  <a:pt x="194" y="221"/>
                  <a:pt x="194" y="221"/>
                </a:cubicBezTo>
                <a:close/>
                <a:moveTo>
                  <a:pt x="208" y="215"/>
                </a:moveTo>
                <a:cubicBezTo>
                  <a:pt x="213" y="217"/>
                  <a:pt x="212" y="224"/>
                  <a:pt x="211" y="223"/>
                </a:cubicBezTo>
                <a:cubicBezTo>
                  <a:pt x="211" y="223"/>
                  <a:pt x="206" y="215"/>
                  <a:pt x="208" y="215"/>
                </a:cubicBezTo>
                <a:close/>
                <a:moveTo>
                  <a:pt x="2" y="151"/>
                </a:moveTo>
                <a:cubicBezTo>
                  <a:pt x="2" y="153"/>
                  <a:pt x="2" y="153"/>
                  <a:pt x="2" y="153"/>
                </a:cubicBezTo>
                <a:cubicBezTo>
                  <a:pt x="2" y="152"/>
                  <a:pt x="3" y="151"/>
                  <a:pt x="2" y="151"/>
                </a:cubicBezTo>
                <a:close/>
                <a:moveTo>
                  <a:pt x="226" y="59"/>
                </a:moveTo>
                <a:cubicBezTo>
                  <a:pt x="226" y="63"/>
                  <a:pt x="226" y="63"/>
                  <a:pt x="226" y="63"/>
                </a:cubicBezTo>
                <a:cubicBezTo>
                  <a:pt x="227" y="61"/>
                  <a:pt x="231" y="59"/>
                  <a:pt x="226" y="59"/>
                </a:cubicBezTo>
                <a:close/>
                <a:moveTo>
                  <a:pt x="202" y="30"/>
                </a:moveTo>
                <a:cubicBezTo>
                  <a:pt x="202" y="31"/>
                  <a:pt x="202" y="30"/>
                  <a:pt x="201" y="30"/>
                </a:cubicBezTo>
                <a:cubicBezTo>
                  <a:pt x="201" y="36"/>
                  <a:pt x="199" y="36"/>
                  <a:pt x="206" y="36"/>
                </a:cubicBezTo>
                <a:cubicBezTo>
                  <a:pt x="205" y="35"/>
                  <a:pt x="205" y="34"/>
                  <a:pt x="204" y="34"/>
                </a:cubicBezTo>
                <a:cubicBezTo>
                  <a:pt x="204" y="34"/>
                  <a:pt x="204" y="32"/>
                  <a:pt x="204" y="32"/>
                </a:cubicBezTo>
                <a:cubicBezTo>
                  <a:pt x="204" y="32"/>
                  <a:pt x="206" y="31"/>
                  <a:pt x="205" y="30"/>
                </a:cubicBezTo>
                <a:cubicBezTo>
                  <a:pt x="204" y="30"/>
                  <a:pt x="203" y="30"/>
                  <a:pt x="202" y="30"/>
                </a:cubicBezTo>
                <a:close/>
                <a:moveTo>
                  <a:pt x="148" y="6"/>
                </a:moveTo>
                <a:cubicBezTo>
                  <a:pt x="147" y="9"/>
                  <a:pt x="147" y="8"/>
                  <a:pt x="147" y="10"/>
                </a:cubicBezTo>
                <a:cubicBezTo>
                  <a:pt x="147" y="10"/>
                  <a:pt x="149" y="10"/>
                  <a:pt x="150" y="10"/>
                </a:cubicBezTo>
                <a:cubicBezTo>
                  <a:pt x="150" y="10"/>
                  <a:pt x="150" y="8"/>
                  <a:pt x="150" y="8"/>
                </a:cubicBezTo>
                <a:cubicBezTo>
                  <a:pt x="150" y="8"/>
                  <a:pt x="148" y="7"/>
                  <a:pt x="148" y="6"/>
                </a:cubicBezTo>
                <a:close/>
                <a:moveTo>
                  <a:pt x="155" y="5"/>
                </a:moveTo>
                <a:cubicBezTo>
                  <a:pt x="155" y="7"/>
                  <a:pt x="155" y="7"/>
                  <a:pt x="155" y="7"/>
                </a:cubicBezTo>
                <a:cubicBezTo>
                  <a:pt x="153" y="7"/>
                  <a:pt x="153" y="7"/>
                  <a:pt x="152" y="7"/>
                </a:cubicBezTo>
                <a:cubicBezTo>
                  <a:pt x="152" y="7"/>
                  <a:pt x="152" y="9"/>
                  <a:pt x="152" y="9"/>
                </a:cubicBezTo>
                <a:cubicBezTo>
                  <a:pt x="152" y="9"/>
                  <a:pt x="153" y="9"/>
                  <a:pt x="154" y="9"/>
                </a:cubicBezTo>
                <a:cubicBezTo>
                  <a:pt x="154" y="8"/>
                  <a:pt x="154" y="7"/>
                  <a:pt x="155" y="7"/>
                </a:cubicBezTo>
                <a:cubicBezTo>
                  <a:pt x="155" y="7"/>
                  <a:pt x="160" y="8"/>
                  <a:pt x="157" y="6"/>
                </a:cubicBezTo>
                <a:cubicBezTo>
                  <a:pt x="156" y="6"/>
                  <a:pt x="157" y="5"/>
                  <a:pt x="155" y="5"/>
                </a:cubicBezTo>
                <a:close/>
              </a:path>
            </a:pathLst>
          </a:custGeom>
          <a:solidFill>
            <a:srgbClr val="CCEDEB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4" name="Google Shape;604;p102"/>
          <p:cNvSpPr/>
          <p:nvPr/>
        </p:nvSpPr>
        <p:spPr>
          <a:xfrm>
            <a:off x="7326206" y="3436097"/>
            <a:ext cx="87627" cy="79725"/>
          </a:xfrm>
          <a:custGeom>
            <a:avLst/>
            <a:gdLst/>
            <a:ahLst/>
            <a:cxnLst/>
            <a:rect l="l" t="t" r="r" b="b"/>
            <a:pathLst>
              <a:path w="31" h="29" extrusionOk="0">
                <a:moveTo>
                  <a:pt x="3" y="1"/>
                </a:moveTo>
                <a:cubicBezTo>
                  <a:pt x="3" y="1"/>
                  <a:pt x="6" y="5"/>
                  <a:pt x="3" y="6"/>
                </a:cubicBezTo>
                <a:cubicBezTo>
                  <a:pt x="1" y="8"/>
                  <a:pt x="3" y="8"/>
                  <a:pt x="1" y="11"/>
                </a:cubicBezTo>
                <a:cubicBezTo>
                  <a:pt x="0" y="14"/>
                  <a:pt x="8" y="15"/>
                  <a:pt x="11" y="16"/>
                </a:cubicBezTo>
                <a:cubicBezTo>
                  <a:pt x="14" y="18"/>
                  <a:pt x="13" y="21"/>
                  <a:pt x="13" y="21"/>
                </a:cubicBezTo>
                <a:cubicBezTo>
                  <a:pt x="13" y="21"/>
                  <a:pt x="14" y="20"/>
                  <a:pt x="16" y="20"/>
                </a:cubicBezTo>
                <a:cubicBezTo>
                  <a:pt x="19" y="20"/>
                  <a:pt x="20" y="21"/>
                  <a:pt x="20" y="21"/>
                </a:cubicBezTo>
                <a:cubicBezTo>
                  <a:pt x="20" y="21"/>
                  <a:pt x="21" y="22"/>
                  <a:pt x="23" y="24"/>
                </a:cubicBezTo>
                <a:cubicBezTo>
                  <a:pt x="26" y="26"/>
                  <a:pt x="26" y="29"/>
                  <a:pt x="26" y="29"/>
                </a:cubicBezTo>
                <a:cubicBezTo>
                  <a:pt x="26" y="29"/>
                  <a:pt x="27" y="28"/>
                  <a:pt x="29" y="27"/>
                </a:cubicBezTo>
                <a:cubicBezTo>
                  <a:pt x="30" y="26"/>
                  <a:pt x="31" y="25"/>
                  <a:pt x="31" y="25"/>
                </a:cubicBezTo>
                <a:cubicBezTo>
                  <a:pt x="31" y="25"/>
                  <a:pt x="29" y="22"/>
                  <a:pt x="30" y="20"/>
                </a:cubicBezTo>
                <a:cubicBezTo>
                  <a:pt x="30" y="19"/>
                  <a:pt x="28" y="20"/>
                  <a:pt x="27" y="19"/>
                </a:cubicBezTo>
                <a:cubicBezTo>
                  <a:pt x="25" y="19"/>
                  <a:pt x="24" y="16"/>
                  <a:pt x="24" y="16"/>
                </a:cubicBezTo>
                <a:cubicBezTo>
                  <a:pt x="26" y="14"/>
                  <a:pt x="26" y="14"/>
                  <a:pt x="26" y="14"/>
                </a:cubicBezTo>
                <a:cubicBezTo>
                  <a:pt x="26" y="14"/>
                  <a:pt x="25" y="13"/>
                  <a:pt x="24" y="12"/>
                </a:cubicBezTo>
                <a:cubicBezTo>
                  <a:pt x="22" y="11"/>
                  <a:pt x="20" y="10"/>
                  <a:pt x="20" y="10"/>
                </a:cubicBezTo>
                <a:cubicBezTo>
                  <a:pt x="20" y="10"/>
                  <a:pt x="23" y="6"/>
                  <a:pt x="21" y="6"/>
                </a:cubicBezTo>
                <a:cubicBezTo>
                  <a:pt x="20" y="5"/>
                  <a:pt x="19" y="1"/>
                  <a:pt x="18" y="3"/>
                </a:cubicBezTo>
                <a:cubicBezTo>
                  <a:pt x="17" y="5"/>
                  <a:pt x="15" y="3"/>
                  <a:pt x="15" y="3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1" y="0"/>
                  <a:pt x="10" y="0"/>
                </a:cubicBezTo>
                <a:cubicBezTo>
                  <a:pt x="8" y="0"/>
                  <a:pt x="3" y="1"/>
                  <a:pt x="3" y="1"/>
                </a:cubicBezTo>
                <a:close/>
                <a:moveTo>
                  <a:pt x="10" y="11"/>
                </a:moveTo>
                <a:cubicBezTo>
                  <a:pt x="14" y="11"/>
                  <a:pt x="13" y="12"/>
                  <a:pt x="15" y="13"/>
                </a:cubicBezTo>
                <a:cubicBezTo>
                  <a:pt x="14" y="14"/>
                  <a:pt x="13" y="14"/>
                  <a:pt x="12" y="14"/>
                </a:cubicBezTo>
                <a:cubicBezTo>
                  <a:pt x="12" y="14"/>
                  <a:pt x="9" y="11"/>
                  <a:pt x="10" y="11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5" name="Google Shape;605;p102"/>
          <p:cNvSpPr/>
          <p:nvPr/>
        </p:nvSpPr>
        <p:spPr>
          <a:xfrm>
            <a:off x="4413867" y="5359876"/>
            <a:ext cx="489686" cy="1117871"/>
          </a:xfrm>
          <a:custGeom>
            <a:avLst/>
            <a:gdLst/>
            <a:ahLst/>
            <a:cxnLst/>
            <a:rect l="l" t="t" r="r" b="b"/>
            <a:pathLst>
              <a:path w="170" h="403" extrusionOk="0">
                <a:moveTo>
                  <a:pt x="95" y="3"/>
                </a:moveTo>
                <a:cubicBezTo>
                  <a:pt x="82" y="3"/>
                  <a:pt x="82" y="3"/>
                  <a:pt x="82" y="3"/>
                </a:cubicBezTo>
                <a:cubicBezTo>
                  <a:pt x="82" y="3"/>
                  <a:pt x="80" y="0"/>
                  <a:pt x="78" y="5"/>
                </a:cubicBezTo>
                <a:cubicBezTo>
                  <a:pt x="76" y="11"/>
                  <a:pt x="76" y="10"/>
                  <a:pt x="75" y="9"/>
                </a:cubicBezTo>
                <a:cubicBezTo>
                  <a:pt x="75" y="7"/>
                  <a:pt x="73" y="4"/>
                  <a:pt x="73" y="4"/>
                </a:cubicBezTo>
                <a:cubicBezTo>
                  <a:pt x="67" y="4"/>
                  <a:pt x="67" y="4"/>
                  <a:pt x="67" y="4"/>
                </a:cubicBezTo>
                <a:cubicBezTo>
                  <a:pt x="64" y="4"/>
                  <a:pt x="59" y="1"/>
                  <a:pt x="59" y="1"/>
                </a:cubicBezTo>
                <a:cubicBezTo>
                  <a:pt x="52" y="7"/>
                  <a:pt x="52" y="7"/>
                  <a:pt x="52" y="7"/>
                </a:cubicBezTo>
                <a:cubicBezTo>
                  <a:pt x="52" y="7"/>
                  <a:pt x="51" y="13"/>
                  <a:pt x="55" y="14"/>
                </a:cubicBezTo>
                <a:cubicBezTo>
                  <a:pt x="58" y="15"/>
                  <a:pt x="57" y="20"/>
                  <a:pt x="56" y="23"/>
                </a:cubicBezTo>
                <a:cubicBezTo>
                  <a:pt x="55" y="26"/>
                  <a:pt x="51" y="25"/>
                  <a:pt x="50" y="28"/>
                </a:cubicBezTo>
                <a:cubicBezTo>
                  <a:pt x="49" y="31"/>
                  <a:pt x="44" y="31"/>
                  <a:pt x="44" y="33"/>
                </a:cubicBezTo>
                <a:cubicBezTo>
                  <a:pt x="44" y="36"/>
                  <a:pt x="44" y="41"/>
                  <a:pt x="44" y="44"/>
                </a:cubicBezTo>
                <a:cubicBezTo>
                  <a:pt x="44" y="47"/>
                  <a:pt x="48" y="49"/>
                  <a:pt x="45" y="51"/>
                </a:cubicBezTo>
                <a:cubicBezTo>
                  <a:pt x="43" y="52"/>
                  <a:pt x="44" y="53"/>
                  <a:pt x="44" y="56"/>
                </a:cubicBezTo>
                <a:cubicBezTo>
                  <a:pt x="45" y="60"/>
                  <a:pt x="44" y="61"/>
                  <a:pt x="43" y="64"/>
                </a:cubicBezTo>
                <a:cubicBezTo>
                  <a:pt x="42" y="67"/>
                  <a:pt x="41" y="67"/>
                  <a:pt x="40" y="71"/>
                </a:cubicBezTo>
                <a:cubicBezTo>
                  <a:pt x="38" y="76"/>
                  <a:pt x="35" y="74"/>
                  <a:pt x="35" y="80"/>
                </a:cubicBezTo>
                <a:cubicBezTo>
                  <a:pt x="34" y="86"/>
                  <a:pt x="33" y="88"/>
                  <a:pt x="33" y="92"/>
                </a:cubicBezTo>
                <a:cubicBezTo>
                  <a:pt x="33" y="96"/>
                  <a:pt x="35" y="98"/>
                  <a:pt x="33" y="101"/>
                </a:cubicBezTo>
                <a:cubicBezTo>
                  <a:pt x="32" y="104"/>
                  <a:pt x="31" y="103"/>
                  <a:pt x="31" y="108"/>
                </a:cubicBezTo>
                <a:cubicBezTo>
                  <a:pt x="31" y="114"/>
                  <a:pt x="30" y="114"/>
                  <a:pt x="31" y="118"/>
                </a:cubicBezTo>
                <a:cubicBezTo>
                  <a:pt x="31" y="122"/>
                  <a:pt x="32" y="123"/>
                  <a:pt x="30" y="126"/>
                </a:cubicBezTo>
                <a:cubicBezTo>
                  <a:pt x="29" y="129"/>
                  <a:pt x="28" y="130"/>
                  <a:pt x="29" y="133"/>
                </a:cubicBezTo>
                <a:cubicBezTo>
                  <a:pt x="30" y="136"/>
                  <a:pt x="30" y="137"/>
                  <a:pt x="30" y="141"/>
                </a:cubicBezTo>
                <a:cubicBezTo>
                  <a:pt x="30" y="145"/>
                  <a:pt x="27" y="151"/>
                  <a:pt x="26" y="154"/>
                </a:cubicBezTo>
                <a:cubicBezTo>
                  <a:pt x="24" y="157"/>
                  <a:pt x="25" y="158"/>
                  <a:pt x="25" y="161"/>
                </a:cubicBezTo>
                <a:cubicBezTo>
                  <a:pt x="26" y="164"/>
                  <a:pt x="27" y="165"/>
                  <a:pt x="26" y="167"/>
                </a:cubicBezTo>
                <a:cubicBezTo>
                  <a:pt x="25" y="169"/>
                  <a:pt x="22" y="169"/>
                  <a:pt x="22" y="169"/>
                </a:cubicBezTo>
                <a:cubicBezTo>
                  <a:pt x="22" y="169"/>
                  <a:pt x="18" y="172"/>
                  <a:pt x="18" y="175"/>
                </a:cubicBezTo>
                <a:cubicBezTo>
                  <a:pt x="19" y="178"/>
                  <a:pt x="18" y="180"/>
                  <a:pt x="18" y="183"/>
                </a:cubicBezTo>
                <a:cubicBezTo>
                  <a:pt x="17" y="186"/>
                  <a:pt x="20" y="187"/>
                  <a:pt x="20" y="190"/>
                </a:cubicBezTo>
                <a:cubicBezTo>
                  <a:pt x="20" y="193"/>
                  <a:pt x="20" y="190"/>
                  <a:pt x="17" y="193"/>
                </a:cubicBezTo>
                <a:cubicBezTo>
                  <a:pt x="15" y="196"/>
                  <a:pt x="15" y="203"/>
                  <a:pt x="14" y="206"/>
                </a:cubicBezTo>
                <a:cubicBezTo>
                  <a:pt x="14" y="209"/>
                  <a:pt x="14" y="210"/>
                  <a:pt x="12" y="212"/>
                </a:cubicBezTo>
                <a:cubicBezTo>
                  <a:pt x="9" y="215"/>
                  <a:pt x="13" y="217"/>
                  <a:pt x="13" y="221"/>
                </a:cubicBezTo>
                <a:cubicBezTo>
                  <a:pt x="13" y="224"/>
                  <a:pt x="11" y="227"/>
                  <a:pt x="13" y="229"/>
                </a:cubicBezTo>
                <a:cubicBezTo>
                  <a:pt x="15" y="230"/>
                  <a:pt x="15" y="229"/>
                  <a:pt x="15" y="232"/>
                </a:cubicBezTo>
                <a:cubicBezTo>
                  <a:pt x="15" y="235"/>
                  <a:pt x="16" y="236"/>
                  <a:pt x="15" y="239"/>
                </a:cubicBezTo>
                <a:cubicBezTo>
                  <a:pt x="15" y="243"/>
                  <a:pt x="11" y="246"/>
                  <a:pt x="12" y="249"/>
                </a:cubicBezTo>
                <a:cubicBezTo>
                  <a:pt x="13" y="251"/>
                  <a:pt x="16" y="253"/>
                  <a:pt x="15" y="255"/>
                </a:cubicBezTo>
                <a:cubicBezTo>
                  <a:pt x="15" y="257"/>
                  <a:pt x="16" y="258"/>
                  <a:pt x="16" y="261"/>
                </a:cubicBezTo>
                <a:cubicBezTo>
                  <a:pt x="16" y="264"/>
                  <a:pt x="18" y="266"/>
                  <a:pt x="17" y="267"/>
                </a:cubicBezTo>
                <a:cubicBezTo>
                  <a:pt x="15" y="269"/>
                  <a:pt x="15" y="271"/>
                  <a:pt x="15" y="273"/>
                </a:cubicBezTo>
                <a:cubicBezTo>
                  <a:pt x="15" y="274"/>
                  <a:pt x="18" y="276"/>
                  <a:pt x="16" y="276"/>
                </a:cubicBezTo>
                <a:cubicBezTo>
                  <a:pt x="14" y="277"/>
                  <a:pt x="14" y="279"/>
                  <a:pt x="13" y="280"/>
                </a:cubicBezTo>
                <a:cubicBezTo>
                  <a:pt x="12" y="281"/>
                  <a:pt x="13" y="283"/>
                  <a:pt x="14" y="285"/>
                </a:cubicBezTo>
                <a:cubicBezTo>
                  <a:pt x="15" y="288"/>
                  <a:pt x="15" y="288"/>
                  <a:pt x="14" y="292"/>
                </a:cubicBezTo>
                <a:cubicBezTo>
                  <a:pt x="13" y="295"/>
                  <a:pt x="13" y="298"/>
                  <a:pt x="13" y="300"/>
                </a:cubicBezTo>
                <a:cubicBezTo>
                  <a:pt x="13" y="302"/>
                  <a:pt x="13" y="303"/>
                  <a:pt x="13" y="303"/>
                </a:cubicBezTo>
                <a:cubicBezTo>
                  <a:pt x="13" y="303"/>
                  <a:pt x="12" y="305"/>
                  <a:pt x="10" y="307"/>
                </a:cubicBezTo>
                <a:cubicBezTo>
                  <a:pt x="8" y="309"/>
                  <a:pt x="9" y="310"/>
                  <a:pt x="9" y="313"/>
                </a:cubicBezTo>
                <a:cubicBezTo>
                  <a:pt x="10" y="316"/>
                  <a:pt x="10" y="318"/>
                  <a:pt x="8" y="319"/>
                </a:cubicBezTo>
                <a:cubicBezTo>
                  <a:pt x="6" y="321"/>
                  <a:pt x="0" y="321"/>
                  <a:pt x="2" y="325"/>
                </a:cubicBezTo>
                <a:cubicBezTo>
                  <a:pt x="3" y="329"/>
                  <a:pt x="4" y="330"/>
                  <a:pt x="3" y="333"/>
                </a:cubicBezTo>
                <a:cubicBezTo>
                  <a:pt x="2" y="336"/>
                  <a:pt x="1" y="336"/>
                  <a:pt x="1" y="339"/>
                </a:cubicBezTo>
                <a:cubicBezTo>
                  <a:pt x="1" y="342"/>
                  <a:pt x="1" y="345"/>
                  <a:pt x="3" y="345"/>
                </a:cubicBezTo>
                <a:cubicBezTo>
                  <a:pt x="5" y="345"/>
                  <a:pt x="5" y="342"/>
                  <a:pt x="7" y="344"/>
                </a:cubicBezTo>
                <a:cubicBezTo>
                  <a:pt x="9" y="346"/>
                  <a:pt x="9" y="348"/>
                  <a:pt x="7" y="350"/>
                </a:cubicBezTo>
                <a:cubicBezTo>
                  <a:pt x="5" y="352"/>
                  <a:pt x="7" y="354"/>
                  <a:pt x="8" y="357"/>
                </a:cubicBezTo>
                <a:cubicBezTo>
                  <a:pt x="9" y="360"/>
                  <a:pt x="15" y="365"/>
                  <a:pt x="15" y="365"/>
                </a:cubicBezTo>
                <a:cubicBezTo>
                  <a:pt x="15" y="365"/>
                  <a:pt x="24" y="365"/>
                  <a:pt x="27" y="365"/>
                </a:cubicBezTo>
                <a:cubicBezTo>
                  <a:pt x="30" y="365"/>
                  <a:pt x="42" y="366"/>
                  <a:pt x="42" y="366"/>
                </a:cubicBezTo>
                <a:cubicBezTo>
                  <a:pt x="41" y="364"/>
                  <a:pt x="41" y="363"/>
                  <a:pt x="40" y="360"/>
                </a:cubicBezTo>
                <a:cubicBezTo>
                  <a:pt x="37" y="361"/>
                  <a:pt x="37" y="361"/>
                  <a:pt x="35" y="360"/>
                </a:cubicBezTo>
                <a:cubicBezTo>
                  <a:pt x="39" y="358"/>
                  <a:pt x="37" y="358"/>
                  <a:pt x="36" y="353"/>
                </a:cubicBezTo>
                <a:cubicBezTo>
                  <a:pt x="36" y="353"/>
                  <a:pt x="34" y="354"/>
                  <a:pt x="34" y="354"/>
                </a:cubicBezTo>
                <a:cubicBezTo>
                  <a:pt x="34" y="352"/>
                  <a:pt x="34" y="352"/>
                  <a:pt x="34" y="352"/>
                </a:cubicBezTo>
                <a:cubicBezTo>
                  <a:pt x="35" y="352"/>
                  <a:pt x="37" y="352"/>
                  <a:pt x="37" y="351"/>
                </a:cubicBezTo>
                <a:cubicBezTo>
                  <a:pt x="38" y="349"/>
                  <a:pt x="37" y="347"/>
                  <a:pt x="40" y="346"/>
                </a:cubicBezTo>
                <a:cubicBezTo>
                  <a:pt x="40" y="345"/>
                  <a:pt x="40" y="345"/>
                  <a:pt x="40" y="345"/>
                </a:cubicBezTo>
                <a:cubicBezTo>
                  <a:pt x="40" y="345"/>
                  <a:pt x="42" y="345"/>
                  <a:pt x="42" y="345"/>
                </a:cubicBezTo>
                <a:cubicBezTo>
                  <a:pt x="42" y="344"/>
                  <a:pt x="43" y="342"/>
                  <a:pt x="42" y="342"/>
                </a:cubicBezTo>
                <a:cubicBezTo>
                  <a:pt x="42" y="341"/>
                  <a:pt x="40" y="341"/>
                  <a:pt x="39" y="341"/>
                </a:cubicBezTo>
                <a:cubicBezTo>
                  <a:pt x="39" y="340"/>
                  <a:pt x="39" y="338"/>
                  <a:pt x="39" y="338"/>
                </a:cubicBezTo>
                <a:cubicBezTo>
                  <a:pt x="39" y="337"/>
                  <a:pt x="40" y="337"/>
                  <a:pt x="40" y="336"/>
                </a:cubicBezTo>
                <a:cubicBezTo>
                  <a:pt x="41" y="336"/>
                  <a:pt x="42" y="337"/>
                  <a:pt x="42" y="337"/>
                </a:cubicBezTo>
                <a:cubicBezTo>
                  <a:pt x="43" y="339"/>
                  <a:pt x="43" y="340"/>
                  <a:pt x="44" y="341"/>
                </a:cubicBezTo>
                <a:cubicBezTo>
                  <a:pt x="46" y="340"/>
                  <a:pt x="49" y="340"/>
                  <a:pt x="50" y="338"/>
                </a:cubicBezTo>
                <a:cubicBezTo>
                  <a:pt x="50" y="337"/>
                  <a:pt x="51" y="332"/>
                  <a:pt x="50" y="332"/>
                </a:cubicBezTo>
                <a:cubicBezTo>
                  <a:pt x="48" y="331"/>
                  <a:pt x="49" y="333"/>
                  <a:pt x="48" y="333"/>
                </a:cubicBezTo>
                <a:cubicBezTo>
                  <a:pt x="48" y="331"/>
                  <a:pt x="48" y="331"/>
                  <a:pt x="48" y="331"/>
                </a:cubicBezTo>
                <a:cubicBezTo>
                  <a:pt x="49" y="329"/>
                  <a:pt x="52" y="327"/>
                  <a:pt x="54" y="325"/>
                </a:cubicBezTo>
                <a:cubicBezTo>
                  <a:pt x="54" y="324"/>
                  <a:pt x="54" y="322"/>
                  <a:pt x="54" y="321"/>
                </a:cubicBezTo>
                <a:cubicBezTo>
                  <a:pt x="55" y="321"/>
                  <a:pt x="56" y="321"/>
                  <a:pt x="56" y="321"/>
                </a:cubicBezTo>
                <a:cubicBezTo>
                  <a:pt x="57" y="321"/>
                  <a:pt x="58" y="319"/>
                  <a:pt x="59" y="318"/>
                </a:cubicBezTo>
                <a:cubicBezTo>
                  <a:pt x="60" y="317"/>
                  <a:pt x="60" y="318"/>
                  <a:pt x="61" y="318"/>
                </a:cubicBezTo>
                <a:cubicBezTo>
                  <a:pt x="62" y="317"/>
                  <a:pt x="66" y="314"/>
                  <a:pt x="67" y="313"/>
                </a:cubicBezTo>
                <a:cubicBezTo>
                  <a:pt x="66" y="312"/>
                  <a:pt x="65" y="311"/>
                  <a:pt x="64" y="310"/>
                </a:cubicBezTo>
                <a:cubicBezTo>
                  <a:pt x="61" y="312"/>
                  <a:pt x="67" y="307"/>
                  <a:pt x="64" y="303"/>
                </a:cubicBezTo>
                <a:cubicBezTo>
                  <a:pt x="63" y="300"/>
                  <a:pt x="59" y="302"/>
                  <a:pt x="57" y="301"/>
                </a:cubicBezTo>
                <a:cubicBezTo>
                  <a:pt x="56" y="300"/>
                  <a:pt x="56" y="298"/>
                  <a:pt x="55" y="297"/>
                </a:cubicBezTo>
                <a:cubicBezTo>
                  <a:pt x="54" y="297"/>
                  <a:pt x="53" y="297"/>
                  <a:pt x="52" y="297"/>
                </a:cubicBezTo>
                <a:cubicBezTo>
                  <a:pt x="51" y="296"/>
                  <a:pt x="51" y="293"/>
                  <a:pt x="50" y="292"/>
                </a:cubicBezTo>
                <a:cubicBezTo>
                  <a:pt x="49" y="288"/>
                  <a:pt x="49" y="289"/>
                  <a:pt x="51" y="285"/>
                </a:cubicBezTo>
                <a:cubicBezTo>
                  <a:pt x="52" y="285"/>
                  <a:pt x="52" y="285"/>
                  <a:pt x="52" y="285"/>
                </a:cubicBezTo>
                <a:cubicBezTo>
                  <a:pt x="53" y="285"/>
                  <a:pt x="52" y="284"/>
                  <a:pt x="53" y="283"/>
                </a:cubicBezTo>
                <a:cubicBezTo>
                  <a:pt x="53" y="283"/>
                  <a:pt x="56" y="281"/>
                  <a:pt x="56" y="281"/>
                </a:cubicBezTo>
                <a:cubicBezTo>
                  <a:pt x="61" y="277"/>
                  <a:pt x="59" y="274"/>
                  <a:pt x="68" y="275"/>
                </a:cubicBezTo>
                <a:cubicBezTo>
                  <a:pt x="68" y="275"/>
                  <a:pt x="68" y="273"/>
                  <a:pt x="68" y="272"/>
                </a:cubicBezTo>
                <a:cubicBezTo>
                  <a:pt x="63" y="271"/>
                  <a:pt x="71" y="267"/>
                  <a:pt x="71" y="266"/>
                </a:cubicBezTo>
                <a:cubicBezTo>
                  <a:pt x="71" y="265"/>
                  <a:pt x="70" y="261"/>
                  <a:pt x="70" y="261"/>
                </a:cubicBezTo>
                <a:cubicBezTo>
                  <a:pt x="70" y="257"/>
                  <a:pt x="72" y="251"/>
                  <a:pt x="75" y="249"/>
                </a:cubicBezTo>
                <a:cubicBezTo>
                  <a:pt x="76" y="249"/>
                  <a:pt x="77" y="249"/>
                  <a:pt x="78" y="249"/>
                </a:cubicBezTo>
                <a:cubicBezTo>
                  <a:pt x="78" y="249"/>
                  <a:pt x="78" y="246"/>
                  <a:pt x="78" y="246"/>
                </a:cubicBezTo>
                <a:cubicBezTo>
                  <a:pt x="76" y="246"/>
                  <a:pt x="74" y="246"/>
                  <a:pt x="74" y="246"/>
                </a:cubicBezTo>
                <a:cubicBezTo>
                  <a:pt x="72" y="247"/>
                  <a:pt x="73" y="246"/>
                  <a:pt x="74" y="245"/>
                </a:cubicBezTo>
                <a:cubicBezTo>
                  <a:pt x="75" y="245"/>
                  <a:pt x="77" y="243"/>
                  <a:pt x="80" y="244"/>
                </a:cubicBezTo>
                <a:cubicBezTo>
                  <a:pt x="80" y="244"/>
                  <a:pt x="80" y="245"/>
                  <a:pt x="81" y="245"/>
                </a:cubicBezTo>
                <a:cubicBezTo>
                  <a:pt x="81" y="246"/>
                  <a:pt x="81" y="248"/>
                  <a:pt x="81" y="248"/>
                </a:cubicBezTo>
                <a:cubicBezTo>
                  <a:pt x="84" y="247"/>
                  <a:pt x="86" y="248"/>
                  <a:pt x="86" y="244"/>
                </a:cubicBezTo>
                <a:cubicBezTo>
                  <a:pt x="86" y="243"/>
                  <a:pt x="86" y="242"/>
                  <a:pt x="86" y="241"/>
                </a:cubicBezTo>
                <a:cubicBezTo>
                  <a:pt x="85" y="241"/>
                  <a:pt x="85" y="240"/>
                  <a:pt x="85" y="239"/>
                </a:cubicBezTo>
                <a:cubicBezTo>
                  <a:pt x="84" y="240"/>
                  <a:pt x="82" y="239"/>
                  <a:pt x="82" y="239"/>
                </a:cubicBezTo>
                <a:cubicBezTo>
                  <a:pt x="81" y="240"/>
                  <a:pt x="82" y="242"/>
                  <a:pt x="82" y="242"/>
                </a:cubicBezTo>
                <a:cubicBezTo>
                  <a:pt x="81" y="242"/>
                  <a:pt x="80" y="242"/>
                  <a:pt x="80" y="242"/>
                </a:cubicBezTo>
                <a:cubicBezTo>
                  <a:pt x="78" y="241"/>
                  <a:pt x="77" y="240"/>
                  <a:pt x="76" y="239"/>
                </a:cubicBezTo>
                <a:cubicBezTo>
                  <a:pt x="76" y="239"/>
                  <a:pt x="75" y="239"/>
                  <a:pt x="74" y="239"/>
                </a:cubicBezTo>
                <a:cubicBezTo>
                  <a:pt x="74" y="238"/>
                  <a:pt x="74" y="235"/>
                  <a:pt x="74" y="232"/>
                </a:cubicBezTo>
                <a:cubicBezTo>
                  <a:pt x="73" y="232"/>
                  <a:pt x="72" y="232"/>
                  <a:pt x="71" y="232"/>
                </a:cubicBezTo>
                <a:cubicBezTo>
                  <a:pt x="71" y="231"/>
                  <a:pt x="70" y="231"/>
                  <a:pt x="70" y="231"/>
                </a:cubicBezTo>
                <a:cubicBezTo>
                  <a:pt x="73" y="230"/>
                  <a:pt x="73" y="226"/>
                  <a:pt x="73" y="224"/>
                </a:cubicBezTo>
                <a:cubicBezTo>
                  <a:pt x="74" y="224"/>
                  <a:pt x="74" y="222"/>
                  <a:pt x="76" y="222"/>
                </a:cubicBezTo>
                <a:cubicBezTo>
                  <a:pt x="76" y="222"/>
                  <a:pt x="76" y="224"/>
                  <a:pt x="76" y="224"/>
                </a:cubicBezTo>
                <a:cubicBezTo>
                  <a:pt x="77" y="224"/>
                  <a:pt x="78" y="224"/>
                  <a:pt x="79" y="224"/>
                </a:cubicBezTo>
                <a:cubicBezTo>
                  <a:pt x="81" y="228"/>
                  <a:pt x="81" y="229"/>
                  <a:pt x="86" y="229"/>
                </a:cubicBezTo>
                <a:cubicBezTo>
                  <a:pt x="88" y="229"/>
                  <a:pt x="90" y="227"/>
                  <a:pt x="92" y="227"/>
                </a:cubicBezTo>
                <a:cubicBezTo>
                  <a:pt x="92" y="227"/>
                  <a:pt x="91" y="225"/>
                  <a:pt x="92" y="225"/>
                </a:cubicBezTo>
                <a:cubicBezTo>
                  <a:pt x="92" y="224"/>
                  <a:pt x="95" y="223"/>
                  <a:pt x="96" y="222"/>
                </a:cubicBezTo>
                <a:cubicBezTo>
                  <a:pt x="98" y="218"/>
                  <a:pt x="95" y="213"/>
                  <a:pt x="96" y="210"/>
                </a:cubicBezTo>
                <a:cubicBezTo>
                  <a:pt x="96" y="210"/>
                  <a:pt x="96" y="210"/>
                  <a:pt x="96" y="210"/>
                </a:cubicBezTo>
                <a:cubicBezTo>
                  <a:pt x="97" y="208"/>
                  <a:pt x="97" y="207"/>
                  <a:pt x="98" y="205"/>
                </a:cubicBezTo>
                <a:cubicBezTo>
                  <a:pt x="96" y="204"/>
                  <a:pt x="94" y="204"/>
                  <a:pt x="94" y="202"/>
                </a:cubicBezTo>
                <a:cubicBezTo>
                  <a:pt x="93" y="201"/>
                  <a:pt x="94" y="200"/>
                  <a:pt x="94" y="199"/>
                </a:cubicBezTo>
                <a:cubicBezTo>
                  <a:pt x="94" y="199"/>
                  <a:pt x="94" y="198"/>
                  <a:pt x="95" y="198"/>
                </a:cubicBezTo>
                <a:cubicBezTo>
                  <a:pt x="96" y="198"/>
                  <a:pt x="96" y="198"/>
                  <a:pt x="96" y="198"/>
                </a:cubicBezTo>
                <a:cubicBezTo>
                  <a:pt x="99" y="202"/>
                  <a:pt x="99" y="202"/>
                  <a:pt x="99" y="202"/>
                </a:cubicBezTo>
                <a:cubicBezTo>
                  <a:pt x="102" y="200"/>
                  <a:pt x="99" y="200"/>
                  <a:pt x="99" y="200"/>
                </a:cubicBezTo>
                <a:cubicBezTo>
                  <a:pt x="100" y="199"/>
                  <a:pt x="101" y="200"/>
                  <a:pt x="102" y="200"/>
                </a:cubicBezTo>
                <a:cubicBezTo>
                  <a:pt x="104" y="199"/>
                  <a:pt x="107" y="198"/>
                  <a:pt x="108" y="198"/>
                </a:cubicBezTo>
                <a:cubicBezTo>
                  <a:pt x="111" y="197"/>
                  <a:pt x="113" y="198"/>
                  <a:pt x="116" y="198"/>
                </a:cubicBezTo>
                <a:cubicBezTo>
                  <a:pt x="116" y="198"/>
                  <a:pt x="121" y="197"/>
                  <a:pt x="122" y="196"/>
                </a:cubicBezTo>
                <a:cubicBezTo>
                  <a:pt x="122" y="196"/>
                  <a:pt x="123" y="195"/>
                  <a:pt x="123" y="195"/>
                </a:cubicBezTo>
                <a:cubicBezTo>
                  <a:pt x="126" y="194"/>
                  <a:pt x="129" y="194"/>
                  <a:pt x="131" y="193"/>
                </a:cubicBezTo>
                <a:cubicBezTo>
                  <a:pt x="137" y="190"/>
                  <a:pt x="143" y="177"/>
                  <a:pt x="145" y="170"/>
                </a:cubicBezTo>
                <a:cubicBezTo>
                  <a:pt x="144" y="169"/>
                  <a:pt x="144" y="168"/>
                  <a:pt x="144" y="168"/>
                </a:cubicBezTo>
                <a:cubicBezTo>
                  <a:pt x="142" y="168"/>
                  <a:pt x="141" y="168"/>
                  <a:pt x="139" y="167"/>
                </a:cubicBezTo>
                <a:cubicBezTo>
                  <a:pt x="139" y="166"/>
                  <a:pt x="140" y="166"/>
                  <a:pt x="139" y="166"/>
                </a:cubicBezTo>
                <a:cubicBezTo>
                  <a:pt x="139" y="165"/>
                  <a:pt x="139" y="165"/>
                  <a:pt x="139" y="165"/>
                </a:cubicBezTo>
                <a:cubicBezTo>
                  <a:pt x="137" y="165"/>
                  <a:pt x="137" y="165"/>
                  <a:pt x="137" y="165"/>
                </a:cubicBezTo>
                <a:cubicBezTo>
                  <a:pt x="137" y="164"/>
                  <a:pt x="137" y="162"/>
                  <a:pt x="137" y="161"/>
                </a:cubicBezTo>
                <a:cubicBezTo>
                  <a:pt x="137" y="161"/>
                  <a:pt x="139" y="160"/>
                  <a:pt x="139" y="160"/>
                </a:cubicBezTo>
                <a:cubicBezTo>
                  <a:pt x="139" y="159"/>
                  <a:pt x="138" y="158"/>
                  <a:pt x="139" y="158"/>
                </a:cubicBezTo>
                <a:cubicBezTo>
                  <a:pt x="137" y="156"/>
                  <a:pt x="136" y="154"/>
                  <a:pt x="135" y="153"/>
                </a:cubicBezTo>
                <a:cubicBezTo>
                  <a:pt x="134" y="152"/>
                  <a:pt x="132" y="152"/>
                  <a:pt x="131" y="150"/>
                </a:cubicBezTo>
                <a:cubicBezTo>
                  <a:pt x="130" y="149"/>
                  <a:pt x="131" y="147"/>
                  <a:pt x="129" y="146"/>
                </a:cubicBezTo>
                <a:cubicBezTo>
                  <a:pt x="127" y="145"/>
                  <a:pt x="127" y="145"/>
                  <a:pt x="127" y="145"/>
                </a:cubicBezTo>
                <a:cubicBezTo>
                  <a:pt x="127" y="143"/>
                  <a:pt x="128" y="144"/>
                  <a:pt x="128" y="142"/>
                </a:cubicBezTo>
                <a:cubicBezTo>
                  <a:pt x="128" y="142"/>
                  <a:pt x="126" y="140"/>
                  <a:pt x="127" y="139"/>
                </a:cubicBezTo>
                <a:cubicBezTo>
                  <a:pt x="129" y="138"/>
                  <a:pt x="129" y="138"/>
                  <a:pt x="129" y="138"/>
                </a:cubicBezTo>
                <a:cubicBezTo>
                  <a:pt x="129" y="135"/>
                  <a:pt x="129" y="132"/>
                  <a:pt x="129" y="128"/>
                </a:cubicBezTo>
                <a:cubicBezTo>
                  <a:pt x="130" y="128"/>
                  <a:pt x="130" y="128"/>
                  <a:pt x="130" y="128"/>
                </a:cubicBezTo>
                <a:cubicBezTo>
                  <a:pt x="130" y="128"/>
                  <a:pt x="131" y="123"/>
                  <a:pt x="130" y="121"/>
                </a:cubicBezTo>
                <a:cubicBezTo>
                  <a:pt x="129" y="119"/>
                  <a:pt x="133" y="117"/>
                  <a:pt x="132" y="113"/>
                </a:cubicBezTo>
                <a:cubicBezTo>
                  <a:pt x="131" y="109"/>
                  <a:pt x="135" y="110"/>
                  <a:pt x="134" y="106"/>
                </a:cubicBezTo>
                <a:cubicBezTo>
                  <a:pt x="133" y="103"/>
                  <a:pt x="136" y="100"/>
                  <a:pt x="136" y="100"/>
                </a:cubicBezTo>
                <a:cubicBezTo>
                  <a:pt x="136" y="100"/>
                  <a:pt x="138" y="95"/>
                  <a:pt x="138" y="93"/>
                </a:cubicBezTo>
                <a:cubicBezTo>
                  <a:pt x="138" y="91"/>
                  <a:pt x="140" y="90"/>
                  <a:pt x="142" y="89"/>
                </a:cubicBezTo>
                <a:cubicBezTo>
                  <a:pt x="144" y="88"/>
                  <a:pt x="145" y="85"/>
                  <a:pt x="145" y="82"/>
                </a:cubicBezTo>
                <a:cubicBezTo>
                  <a:pt x="145" y="79"/>
                  <a:pt x="150" y="80"/>
                  <a:pt x="151" y="78"/>
                </a:cubicBezTo>
                <a:cubicBezTo>
                  <a:pt x="151" y="76"/>
                  <a:pt x="153" y="76"/>
                  <a:pt x="155" y="74"/>
                </a:cubicBezTo>
                <a:cubicBezTo>
                  <a:pt x="157" y="72"/>
                  <a:pt x="158" y="70"/>
                  <a:pt x="159" y="68"/>
                </a:cubicBezTo>
                <a:cubicBezTo>
                  <a:pt x="160" y="65"/>
                  <a:pt x="165" y="66"/>
                  <a:pt x="166" y="64"/>
                </a:cubicBezTo>
                <a:cubicBezTo>
                  <a:pt x="167" y="63"/>
                  <a:pt x="170" y="63"/>
                  <a:pt x="169" y="61"/>
                </a:cubicBezTo>
                <a:cubicBezTo>
                  <a:pt x="169" y="60"/>
                  <a:pt x="169" y="55"/>
                  <a:pt x="169" y="52"/>
                </a:cubicBezTo>
                <a:cubicBezTo>
                  <a:pt x="168" y="49"/>
                  <a:pt x="168" y="45"/>
                  <a:pt x="168" y="45"/>
                </a:cubicBezTo>
                <a:cubicBezTo>
                  <a:pt x="168" y="45"/>
                  <a:pt x="165" y="43"/>
                  <a:pt x="165" y="45"/>
                </a:cubicBezTo>
                <a:cubicBezTo>
                  <a:pt x="166" y="47"/>
                  <a:pt x="161" y="44"/>
                  <a:pt x="161" y="44"/>
                </a:cubicBezTo>
                <a:cubicBezTo>
                  <a:pt x="161" y="44"/>
                  <a:pt x="158" y="47"/>
                  <a:pt x="159" y="49"/>
                </a:cubicBezTo>
                <a:cubicBezTo>
                  <a:pt x="160" y="50"/>
                  <a:pt x="160" y="56"/>
                  <a:pt x="159" y="57"/>
                </a:cubicBezTo>
                <a:cubicBezTo>
                  <a:pt x="157" y="59"/>
                  <a:pt x="155" y="60"/>
                  <a:pt x="154" y="62"/>
                </a:cubicBezTo>
                <a:cubicBezTo>
                  <a:pt x="154" y="64"/>
                  <a:pt x="153" y="64"/>
                  <a:pt x="153" y="64"/>
                </a:cubicBezTo>
                <a:cubicBezTo>
                  <a:pt x="153" y="64"/>
                  <a:pt x="151" y="65"/>
                  <a:pt x="148" y="65"/>
                </a:cubicBezTo>
                <a:cubicBezTo>
                  <a:pt x="146" y="64"/>
                  <a:pt x="143" y="64"/>
                  <a:pt x="141" y="64"/>
                </a:cubicBezTo>
                <a:cubicBezTo>
                  <a:pt x="139" y="64"/>
                  <a:pt x="137" y="65"/>
                  <a:pt x="135" y="63"/>
                </a:cubicBezTo>
                <a:cubicBezTo>
                  <a:pt x="133" y="62"/>
                  <a:pt x="131" y="62"/>
                  <a:pt x="129" y="62"/>
                </a:cubicBezTo>
                <a:cubicBezTo>
                  <a:pt x="127" y="63"/>
                  <a:pt x="126" y="62"/>
                  <a:pt x="126" y="62"/>
                </a:cubicBezTo>
                <a:cubicBezTo>
                  <a:pt x="126" y="62"/>
                  <a:pt x="128" y="58"/>
                  <a:pt x="129" y="55"/>
                </a:cubicBezTo>
                <a:cubicBezTo>
                  <a:pt x="131" y="53"/>
                  <a:pt x="133" y="50"/>
                  <a:pt x="133" y="47"/>
                </a:cubicBezTo>
                <a:cubicBezTo>
                  <a:pt x="133" y="44"/>
                  <a:pt x="136" y="42"/>
                  <a:pt x="133" y="41"/>
                </a:cubicBezTo>
                <a:cubicBezTo>
                  <a:pt x="130" y="39"/>
                  <a:pt x="129" y="35"/>
                  <a:pt x="127" y="34"/>
                </a:cubicBezTo>
                <a:cubicBezTo>
                  <a:pt x="126" y="34"/>
                  <a:pt x="126" y="33"/>
                  <a:pt x="124" y="31"/>
                </a:cubicBezTo>
                <a:cubicBezTo>
                  <a:pt x="122" y="29"/>
                  <a:pt x="120" y="32"/>
                  <a:pt x="118" y="29"/>
                </a:cubicBezTo>
                <a:cubicBezTo>
                  <a:pt x="115" y="26"/>
                  <a:pt x="115" y="25"/>
                  <a:pt x="113" y="25"/>
                </a:cubicBezTo>
                <a:cubicBezTo>
                  <a:pt x="110" y="25"/>
                  <a:pt x="110" y="20"/>
                  <a:pt x="109" y="18"/>
                </a:cubicBezTo>
                <a:cubicBezTo>
                  <a:pt x="107" y="17"/>
                  <a:pt x="107" y="15"/>
                  <a:pt x="105" y="15"/>
                </a:cubicBezTo>
                <a:cubicBezTo>
                  <a:pt x="103" y="14"/>
                  <a:pt x="103" y="12"/>
                  <a:pt x="102" y="10"/>
                </a:cubicBezTo>
                <a:cubicBezTo>
                  <a:pt x="101" y="9"/>
                  <a:pt x="100" y="6"/>
                  <a:pt x="100" y="6"/>
                </a:cubicBezTo>
                <a:lnTo>
                  <a:pt x="95" y="3"/>
                </a:lnTo>
                <a:close/>
                <a:moveTo>
                  <a:pt x="47" y="400"/>
                </a:moveTo>
                <a:cubicBezTo>
                  <a:pt x="48" y="400"/>
                  <a:pt x="48" y="400"/>
                  <a:pt x="48" y="400"/>
                </a:cubicBezTo>
                <a:cubicBezTo>
                  <a:pt x="50" y="400"/>
                  <a:pt x="50" y="401"/>
                  <a:pt x="51" y="401"/>
                </a:cubicBezTo>
                <a:cubicBezTo>
                  <a:pt x="53" y="402"/>
                  <a:pt x="53" y="402"/>
                  <a:pt x="53" y="402"/>
                </a:cubicBezTo>
                <a:cubicBezTo>
                  <a:pt x="53" y="401"/>
                  <a:pt x="53" y="401"/>
                  <a:pt x="53" y="401"/>
                </a:cubicBezTo>
                <a:cubicBezTo>
                  <a:pt x="53" y="401"/>
                  <a:pt x="56" y="403"/>
                  <a:pt x="56" y="403"/>
                </a:cubicBezTo>
                <a:cubicBezTo>
                  <a:pt x="56" y="403"/>
                  <a:pt x="59" y="403"/>
                  <a:pt x="60" y="402"/>
                </a:cubicBezTo>
                <a:cubicBezTo>
                  <a:pt x="61" y="401"/>
                  <a:pt x="61" y="401"/>
                  <a:pt x="61" y="401"/>
                </a:cubicBezTo>
                <a:cubicBezTo>
                  <a:pt x="63" y="401"/>
                  <a:pt x="65" y="401"/>
                  <a:pt x="67" y="401"/>
                </a:cubicBezTo>
                <a:cubicBezTo>
                  <a:pt x="66" y="402"/>
                  <a:pt x="68" y="402"/>
                  <a:pt x="68" y="402"/>
                </a:cubicBezTo>
                <a:cubicBezTo>
                  <a:pt x="68" y="401"/>
                  <a:pt x="68" y="400"/>
                  <a:pt x="69" y="399"/>
                </a:cubicBezTo>
                <a:cubicBezTo>
                  <a:pt x="66" y="398"/>
                  <a:pt x="63" y="397"/>
                  <a:pt x="60" y="396"/>
                </a:cubicBezTo>
                <a:cubicBezTo>
                  <a:pt x="59" y="396"/>
                  <a:pt x="57" y="397"/>
                  <a:pt x="56" y="396"/>
                </a:cubicBezTo>
                <a:cubicBezTo>
                  <a:pt x="55" y="396"/>
                  <a:pt x="54" y="393"/>
                  <a:pt x="53" y="392"/>
                </a:cubicBezTo>
                <a:cubicBezTo>
                  <a:pt x="52" y="392"/>
                  <a:pt x="51" y="392"/>
                  <a:pt x="50" y="391"/>
                </a:cubicBezTo>
                <a:cubicBezTo>
                  <a:pt x="49" y="390"/>
                  <a:pt x="49" y="389"/>
                  <a:pt x="48" y="388"/>
                </a:cubicBezTo>
                <a:cubicBezTo>
                  <a:pt x="48" y="387"/>
                  <a:pt x="47" y="387"/>
                  <a:pt x="46" y="386"/>
                </a:cubicBezTo>
                <a:cubicBezTo>
                  <a:pt x="44" y="385"/>
                  <a:pt x="42" y="382"/>
                  <a:pt x="42" y="380"/>
                </a:cubicBezTo>
                <a:cubicBezTo>
                  <a:pt x="41" y="380"/>
                  <a:pt x="41" y="380"/>
                  <a:pt x="41" y="380"/>
                </a:cubicBezTo>
                <a:cubicBezTo>
                  <a:pt x="41" y="379"/>
                  <a:pt x="42" y="378"/>
                  <a:pt x="43" y="378"/>
                </a:cubicBezTo>
                <a:cubicBezTo>
                  <a:pt x="42" y="376"/>
                  <a:pt x="42" y="374"/>
                  <a:pt x="40" y="372"/>
                </a:cubicBezTo>
                <a:cubicBezTo>
                  <a:pt x="39" y="373"/>
                  <a:pt x="41" y="371"/>
                  <a:pt x="39" y="372"/>
                </a:cubicBezTo>
                <a:cubicBezTo>
                  <a:pt x="41" y="401"/>
                  <a:pt x="41" y="401"/>
                  <a:pt x="41" y="401"/>
                </a:cubicBezTo>
                <a:cubicBezTo>
                  <a:pt x="41" y="401"/>
                  <a:pt x="44" y="400"/>
                  <a:pt x="47" y="400"/>
                </a:cubicBezTo>
                <a:close/>
                <a:moveTo>
                  <a:pt x="78" y="396"/>
                </a:moveTo>
                <a:cubicBezTo>
                  <a:pt x="78" y="398"/>
                  <a:pt x="78" y="398"/>
                  <a:pt x="78" y="398"/>
                </a:cubicBezTo>
                <a:cubicBezTo>
                  <a:pt x="72" y="398"/>
                  <a:pt x="79" y="401"/>
                  <a:pt x="80" y="401"/>
                </a:cubicBezTo>
                <a:cubicBezTo>
                  <a:pt x="81" y="400"/>
                  <a:pt x="81" y="400"/>
                  <a:pt x="81" y="400"/>
                </a:cubicBezTo>
                <a:cubicBezTo>
                  <a:pt x="82" y="399"/>
                  <a:pt x="82" y="399"/>
                  <a:pt x="83" y="399"/>
                </a:cubicBezTo>
                <a:cubicBezTo>
                  <a:pt x="86" y="397"/>
                  <a:pt x="81" y="398"/>
                  <a:pt x="80" y="398"/>
                </a:cubicBezTo>
                <a:cubicBezTo>
                  <a:pt x="79" y="398"/>
                  <a:pt x="79" y="396"/>
                  <a:pt x="78" y="396"/>
                </a:cubicBezTo>
                <a:close/>
              </a:path>
            </a:pathLst>
          </a:custGeom>
          <a:solidFill>
            <a:srgbClr val="00A69D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6" name="Google Shape;606;p102"/>
          <p:cNvSpPr/>
          <p:nvPr/>
        </p:nvSpPr>
        <p:spPr>
          <a:xfrm>
            <a:off x="6530682" y="4827804"/>
            <a:ext cx="314430" cy="422884"/>
          </a:xfrm>
          <a:custGeom>
            <a:avLst/>
            <a:gdLst/>
            <a:ahLst/>
            <a:cxnLst/>
            <a:rect l="l" t="t" r="r" b="b"/>
            <a:pathLst>
              <a:path w="109" h="153" extrusionOk="0">
                <a:moveTo>
                  <a:pt x="5" y="12"/>
                </a:moveTo>
                <a:cubicBezTo>
                  <a:pt x="8" y="10"/>
                  <a:pt x="8" y="10"/>
                  <a:pt x="8" y="10"/>
                </a:cubicBezTo>
                <a:cubicBezTo>
                  <a:pt x="8" y="10"/>
                  <a:pt x="10" y="10"/>
                  <a:pt x="8" y="7"/>
                </a:cubicBezTo>
                <a:cubicBezTo>
                  <a:pt x="7" y="4"/>
                  <a:pt x="11" y="3"/>
                  <a:pt x="11" y="3"/>
                </a:cubicBezTo>
                <a:cubicBezTo>
                  <a:pt x="11" y="3"/>
                  <a:pt x="10" y="0"/>
                  <a:pt x="7" y="2"/>
                </a:cubicBezTo>
                <a:cubicBezTo>
                  <a:pt x="6" y="4"/>
                  <a:pt x="7" y="4"/>
                  <a:pt x="7" y="4"/>
                </a:cubicBezTo>
                <a:cubicBezTo>
                  <a:pt x="7" y="4"/>
                  <a:pt x="6" y="4"/>
                  <a:pt x="5" y="4"/>
                </a:cubicBezTo>
                <a:cubicBezTo>
                  <a:pt x="3" y="4"/>
                  <a:pt x="2" y="4"/>
                  <a:pt x="2" y="5"/>
                </a:cubicBezTo>
                <a:cubicBezTo>
                  <a:pt x="2" y="7"/>
                  <a:pt x="1" y="8"/>
                  <a:pt x="2" y="10"/>
                </a:cubicBezTo>
                <a:cubicBezTo>
                  <a:pt x="2" y="10"/>
                  <a:pt x="5" y="11"/>
                  <a:pt x="5" y="11"/>
                </a:cubicBezTo>
                <a:lnTo>
                  <a:pt x="5" y="12"/>
                </a:lnTo>
                <a:close/>
                <a:moveTo>
                  <a:pt x="7" y="23"/>
                </a:moveTo>
                <a:cubicBezTo>
                  <a:pt x="7" y="24"/>
                  <a:pt x="7" y="25"/>
                  <a:pt x="8" y="26"/>
                </a:cubicBezTo>
                <a:cubicBezTo>
                  <a:pt x="8" y="28"/>
                  <a:pt x="9" y="31"/>
                  <a:pt x="10" y="33"/>
                </a:cubicBezTo>
                <a:cubicBezTo>
                  <a:pt x="10" y="33"/>
                  <a:pt x="12" y="34"/>
                  <a:pt x="12" y="35"/>
                </a:cubicBezTo>
                <a:cubicBezTo>
                  <a:pt x="13" y="37"/>
                  <a:pt x="12" y="39"/>
                  <a:pt x="13" y="41"/>
                </a:cubicBezTo>
                <a:cubicBezTo>
                  <a:pt x="13" y="41"/>
                  <a:pt x="15" y="42"/>
                  <a:pt x="15" y="43"/>
                </a:cubicBezTo>
                <a:cubicBezTo>
                  <a:pt x="15" y="44"/>
                  <a:pt x="14" y="44"/>
                  <a:pt x="14" y="47"/>
                </a:cubicBezTo>
                <a:cubicBezTo>
                  <a:pt x="14" y="47"/>
                  <a:pt x="16" y="49"/>
                  <a:pt x="16" y="49"/>
                </a:cubicBezTo>
                <a:cubicBezTo>
                  <a:pt x="16" y="50"/>
                  <a:pt x="15" y="50"/>
                  <a:pt x="15" y="51"/>
                </a:cubicBezTo>
                <a:cubicBezTo>
                  <a:pt x="14" y="52"/>
                  <a:pt x="16" y="51"/>
                  <a:pt x="16" y="53"/>
                </a:cubicBezTo>
                <a:cubicBezTo>
                  <a:pt x="15" y="53"/>
                  <a:pt x="14" y="54"/>
                  <a:pt x="14" y="54"/>
                </a:cubicBezTo>
                <a:cubicBezTo>
                  <a:pt x="13" y="55"/>
                  <a:pt x="13" y="59"/>
                  <a:pt x="14" y="61"/>
                </a:cubicBezTo>
                <a:cubicBezTo>
                  <a:pt x="15" y="64"/>
                  <a:pt x="15" y="64"/>
                  <a:pt x="15" y="64"/>
                </a:cubicBezTo>
                <a:cubicBezTo>
                  <a:pt x="15" y="65"/>
                  <a:pt x="14" y="66"/>
                  <a:pt x="14" y="68"/>
                </a:cubicBezTo>
                <a:cubicBezTo>
                  <a:pt x="14" y="69"/>
                  <a:pt x="17" y="71"/>
                  <a:pt x="18" y="72"/>
                </a:cubicBezTo>
                <a:cubicBezTo>
                  <a:pt x="19" y="77"/>
                  <a:pt x="19" y="86"/>
                  <a:pt x="18" y="91"/>
                </a:cubicBezTo>
                <a:cubicBezTo>
                  <a:pt x="17" y="93"/>
                  <a:pt x="13" y="95"/>
                  <a:pt x="13" y="96"/>
                </a:cubicBezTo>
                <a:cubicBezTo>
                  <a:pt x="12" y="97"/>
                  <a:pt x="13" y="99"/>
                  <a:pt x="13" y="100"/>
                </a:cubicBezTo>
                <a:cubicBezTo>
                  <a:pt x="12" y="101"/>
                  <a:pt x="9" y="102"/>
                  <a:pt x="8" y="104"/>
                </a:cubicBezTo>
                <a:cubicBezTo>
                  <a:pt x="7" y="108"/>
                  <a:pt x="8" y="112"/>
                  <a:pt x="8" y="116"/>
                </a:cubicBezTo>
                <a:cubicBezTo>
                  <a:pt x="7" y="116"/>
                  <a:pt x="6" y="117"/>
                  <a:pt x="6" y="117"/>
                </a:cubicBezTo>
                <a:cubicBezTo>
                  <a:pt x="5" y="118"/>
                  <a:pt x="6" y="120"/>
                  <a:pt x="5" y="122"/>
                </a:cubicBezTo>
                <a:cubicBezTo>
                  <a:pt x="4" y="123"/>
                  <a:pt x="1" y="127"/>
                  <a:pt x="0" y="129"/>
                </a:cubicBezTo>
                <a:cubicBezTo>
                  <a:pt x="0" y="132"/>
                  <a:pt x="1" y="135"/>
                  <a:pt x="2" y="137"/>
                </a:cubicBezTo>
                <a:cubicBezTo>
                  <a:pt x="2" y="139"/>
                  <a:pt x="0" y="139"/>
                  <a:pt x="0" y="140"/>
                </a:cubicBezTo>
                <a:cubicBezTo>
                  <a:pt x="0" y="140"/>
                  <a:pt x="1" y="142"/>
                  <a:pt x="1" y="143"/>
                </a:cubicBezTo>
                <a:cubicBezTo>
                  <a:pt x="1" y="143"/>
                  <a:pt x="4" y="143"/>
                  <a:pt x="7" y="144"/>
                </a:cubicBezTo>
                <a:cubicBezTo>
                  <a:pt x="10" y="145"/>
                  <a:pt x="10" y="141"/>
                  <a:pt x="12" y="141"/>
                </a:cubicBezTo>
                <a:cubicBezTo>
                  <a:pt x="14" y="141"/>
                  <a:pt x="17" y="144"/>
                  <a:pt x="17" y="144"/>
                </a:cubicBezTo>
                <a:cubicBezTo>
                  <a:pt x="55" y="145"/>
                  <a:pt x="55" y="145"/>
                  <a:pt x="55" y="145"/>
                </a:cubicBezTo>
                <a:cubicBezTo>
                  <a:pt x="55" y="145"/>
                  <a:pt x="57" y="148"/>
                  <a:pt x="59" y="148"/>
                </a:cubicBezTo>
                <a:cubicBezTo>
                  <a:pt x="61" y="148"/>
                  <a:pt x="60" y="151"/>
                  <a:pt x="63" y="150"/>
                </a:cubicBezTo>
                <a:cubicBezTo>
                  <a:pt x="66" y="149"/>
                  <a:pt x="67" y="153"/>
                  <a:pt x="70" y="152"/>
                </a:cubicBezTo>
                <a:cubicBezTo>
                  <a:pt x="72" y="150"/>
                  <a:pt x="71" y="152"/>
                  <a:pt x="73" y="152"/>
                </a:cubicBezTo>
                <a:cubicBezTo>
                  <a:pt x="75" y="151"/>
                  <a:pt x="80" y="153"/>
                  <a:pt x="80" y="153"/>
                </a:cubicBezTo>
                <a:cubicBezTo>
                  <a:pt x="80" y="153"/>
                  <a:pt x="95" y="150"/>
                  <a:pt x="101" y="150"/>
                </a:cubicBezTo>
                <a:cubicBezTo>
                  <a:pt x="96" y="150"/>
                  <a:pt x="99" y="146"/>
                  <a:pt x="95" y="143"/>
                </a:cubicBezTo>
                <a:cubicBezTo>
                  <a:pt x="91" y="139"/>
                  <a:pt x="92" y="141"/>
                  <a:pt x="91" y="137"/>
                </a:cubicBezTo>
                <a:cubicBezTo>
                  <a:pt x="90" y="133"/>
                  <a:pt x="89" y="132"/>
                  <a:pt x="89" y="132"/>
                </a:cubicBezTo>
                <a:cubicBezTo>
                  <a:pt x="89" y="93"/>
                  <a:pt x="89" y="93"/>
                  <a:pt x="89" y="93"/>
                </a:cubicBezTo>
                <a:cubicBezTo>
                  <a:pt x="108" y="93"/>
                  <a:pt x="108" y="93"/>
                  <a:pt x="108" y="93"/>
                </a:cubicBezTo>
                <a:cubicBezTo>
                  <a:pt x="108" y="93"/>
                  <a:pt x="108" y="92"/>
                  <a:pt x="108" y="90"/>
                </a:cubicBezTo>
                <a:cubicBezTo>
                  <a:pt x="108" y="88"/>
                  <a:pt x="108" y="87"/>
                  <a:pt x="108" y="86"/>
                </a:cubicBezTo>
                <a:cubicBezTo>
                  <a:pt x="107" y="84"/>
                  <a:pt x="109" y="83"/>
                  <a:pt x="109" y="81"/>
                </a:cubicBezTo>
                <a:cubicBezTo>
                  <a:pt x="109" y="78"/>
                  <a:pt x="108" y="74"/>
                  <a:pt x="108" y="74"/>
                </a:cubicBezTo>
                <a:cubicBezTo>
                  <a:pt x="108" y="74"/>
                  <a:pt x="103" y="74"/>
                  <a:pt x="102" y="74"/>
                </a:cubicBezTo>
                <a:cubicBezTo>
                  <a:pt x="100" y="74"/>
                  <a:pt x="99" y="73"/>
                  <a:pt x="98" y="75"/>
                </a:cubicBezTo>
                <a:cubicBezTo>
                  <a:pt x="97" y="76"/>
                  <a:pt x="96" y="76"/>
                  <a:pt x="94" y="74"/>
                </a:cubicBezTo>
                <a:cubicBezTo>
                  <a:pt x="92" y="73"/>
                  <a:pt x="93" y="71"/>
                  <a:pt x="92" y="68"/>
                </a:cubicBezTo>
                <a:cubicBezTo>
                  <a:pt x="92" y="66"/>
                  <a:pt x="92" y="65"/>
                  <a:pt x="93" y="64"/>
                </a:cubicBezTo>
                <a:cubicBezTo>
                  <a:pt x="94" y="62"/>
                  <a:pt x="94" y="60"/>
                  <a:pt x="92" y="58"/>
                </a:cubicBezTo>
                <a:cubicBezTo>
                  <a:pt x="90" y="57"/>
                  <a:pt x="92" y="56"/>
                  <a:pt x="90" y="53"/>
                </a:cubicBezTo>
                <a:cubicBezTo>
                  <a:pt x="89" y="51"/>
                  <a:pt x="89" y="50"/>
                  <a:pt x="89" y="48"/>
                </a:cubicBezTo>
                <a:cubicBezTo>
                  <a:pt x="88" y="45"/>
                  <a:pt x="90" y="43"/>
                  <a:pt x="88" y="42"/>
                </a:cubicBezTo>
                <a:cubicBezTo>
                  <a:pt x="86" y="41"/>
                  <a:pt x="88" y="38"/>
                  <a:pt x="87" y="36"/>
                </a:cubicBezTo>
                <a:cubicBezTo>
                  <a:pt x="86" y="32"/>
                  <a:pt x="79" y="34"/>
                  <a:pt x="79" y="34"/>
                </a:cubicBezTo>
                <a:cubicBezTo>
                  <a:pt x="79" y="32"/>
                  <a:pt x="79" y="32"/>
                  <a:pt x="79" y="32"/>
                </a:cubicBezTo>
                <a:cubicBezTo>
                  <a:pt x="79" y="29"/>
                  <a:pt x="78" y="31"/>
                  <a:pt x="74" y="31"/>
                </a:cubicBezTo>
                <a:cubicBezTo>
                  <a:pt x="71" y="31"/>
                  <a:pt x="70" y="30"/>
                  <a:pt x="69" y="31"/>
                </a:cubicBezTo>
                <a:cubicBezTo>
                  <a:pt x="67" y="33"/>
                  <a:pt x="68" y="37"/>
                  <a:pt x="69" y="38"/>
                </a:cubicBezTo>
                <a:cubicBezTo>
                  <a:pt x="70" y="39"/>
                  <a:pt x="67" y="41"/>
                  <a:pt x="66" y="39"/>
                </a:cubicBezTo>
                <a:cubicBezTo>
                  <a:pt x="64" y="38"/>
                  <a:pt x="63" y="41"/>
                  <a:pt x="61" y="41"/>
                </a:cubicBezTo>
                <a:cubicBezTo>
                  <a:pt x="59" y="41"/>
                  <a:pt x="57" y="42"/>
                  <a:pt x="55" y="40"/>
                </a:cubicBezTo>
                <a:cubicBezTo>
                  <a:pt x="54" y="38"/>
                  <a:pt x="53" y="39"/>
                  <a:pt x="53" y="36"/>
                </a:cubicBezTo>
                <a:cubicBezTo>
                  <a:pt x="52" y="32"/>
                  <a:pt x="53" y="31"/>
                  <a:pt x="52" y="29"/>
                </a:cubicBezTo>
                <a:cubicBezTo>
                  <a:pt x="51" y="26"/>
                  <a:pt x="52" y="25"/>
                  <a:pt x="51" y="23"/>
                </a:cubicBezTo>
                <a:cubicBezTo>
                  <a:pt x="51" y="22"/>
                  <a:pt x="49" y="18"/>
                  <a:pt x="49" y="18"/>
                </a:cubicBezTo>
                <a:cubicBezTo>
                  <a:pt x="32" y="18"/>
                  <a:pt x="32" y="18"/>
                  <a:pt x="32" y="18"/>
                </a:cubicBezTo>
                <a:cubicBezTo>
                  <a:pt x="32" y="18"/>
                  <a:pt x="25" y="18"/>
                  <a:pt x="21" y="17"/>
                </a:cubicBezTo>
                <a:cubicBezTo>
                  <a:pt x="17" y="17"/>
                  <a:pt x="14" y="18"/>
                  <a:pt x="12" y="20"/>
                </a:cubicBezTo>
                <a:cubicBezTo>
                  <a:pt x="10" y="22"/>
                  <a:pt x="7" y="23"/>
                  <a:pt x="7" y="23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7" name="Google Shape;607;p102"/>
          <p:cNvSpPr/>
          <p:nvPr/>
        </p:nvSpPr>
        <p:spPr>
          <a:xfrm>
            <a:off x="6281544" y="3391035"/>
            <a:ext cx="45719" cy="55347"/>
          </a:xfrm>
          <a:custGeom>
            <a:avLst/>
            <a:gdLst/>
            <a:ahLst/>
            <a:cxnLst/>
            <a:rect l="l" t="t" r="r" b="b"/>
            <a:pathLst>
              <a:path w="3" h="4" extrusionOk="0">
                <a:moveTo>
                  <a:pt x="3" y="3"/>
                </a:moveTo>
                <a:cubicBezTo>
                  <a:pt x="1" y="4"/>
                  <a:pt x="1" y="4"/>
                  <a:pt x="1" y="4"/>
                </a:cubicBezTo>
                <a:cubicBezTo>
                  <a:pt x="0" y="2"/>
                  <a:pt x="0" y="2"/>
                  <a:pt x="0" y="2"/>
                </a:cubicBezTo>
                <a:cubicBezTo>
                  <a:pt x="0" y="2"/>
                  <a:pt x="2" y="0"/>
                  <a:pt x="3" y="2"/>
                </a:cubicBezTo>
                <a:lnTo>
                  <a:pt x="3" y="3"/>
                </a:ln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8" name="Google Shape;608;p102"/>
          <p:cNvSpPr/>
          <p:nvPr/>
        </p:nvSpPr>
        <p:spPr>
          <a:xfrm>
            <a:off x="6281544" y="3391035"/>
            <a:ext cx="45719" cy="55347"/>
          </a:xfrm>
          <a:custGeom>
            <a:avLst/>
            <a:gdLst/>
            <a:ahLst/>
            <a:cxnLst/>
            <a:rect l="l" t="t" r="r" b="b"/>
            <a:pathLst>
              <a:path w="3" h="4" extrusionOk="0">
                <a:moveTo>
                  <a:pt x="3" y="3"/>
                </a:moveTo>
                <a:cubicBezTo>
                  <a:pt x="1" y="4"/>
                  <a:pt x="1" y="4"/>
                  <a:pt x="1" y="4"/>
                </a:cubicBezTo>
                <a:cubicBezTo>
                  <a:pt x="0" y="2"/>
                  <a:pt x="0" y="2"/>
                  <a:pt x="0" y="2"/>
                </a:cubicBezTo>
                <a:cubicBezTo>
                  <a:pt x="0" y="2"/>
                  <a:pt x="2" y="0"/>
                  <a:pt x="3" y="2"/>
                </a:cubicBezTo>
                <a:lnTo>
                  <a:pt x="3" y="3"/>
                </a:ln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9" name="Google Shape;609;p102"/>
          <p:cNvSpPr/>
          <p:nvPr/>
        </p:nvSpPr>
        <p:spPr>
          <a:xfrm>
            <a:off x="6039278" y="3574748"/>
            <a:ext cx="487967" cy="561535"/>
          </a:xfrm>
          <a:custGeom>
            <a:avLst/>
            <a:gdLst/>
            <a:ahLst/>
            <a:cxnLst/>
            <a:rect l="l" t="t" r="r" b="b"/>
            <a:pathLst>
              <a:path w="169" h="203" extrusionOk="0">
                <a:moveTo>
                  <a:pt x="169" y="154"/>
                </a:moveTo>
                <a:cubicBezTo>
                  <a:pt x="122" y="189"/>
                  <a:pt x="122" y="189"/>
                  <a:pt x="122" y="189"/>
                </a:cubicBezTo>
                <a:cubicBezTo>
                  <a:pt x="117" y="198"/>
                  <a:pt x="117" y="198"/>
                  <a:pt x="117" y="198"/>
                </a:cubicBezTo>
                <a:cubicBezTo>
                  <a:pt x="105" y="200"/>
                  <a:pt x="105" y="200"/>
                  <a:pt x="105" y="200"/>
                </a:cubicBezTo>
                <a:cubicBezTo>
                  <a:pt x="105" y="200"/>
                  <a:pt x="96" y="203"/>
                  <a:pt x="96" y="202"/>
                </a:cubicBezTo>
                <a:cubicBezTo>
                  <a:pt x="97" y="201"/>
                  <a:pt x="97" y="199"/>
                  <a:pt x="96" y="197"/>
                </a:cubicBezTo>
                <a:cubicBezTo>
                  <a:pt x="95" y="195"/>
                  <a:pt x="95" y="196"/>
                  <a:pt x="96" y="192"/>
                </a:cubicBezTo>
                <a:cubicBezTo>
                  <a:pt x="97" y="188"/>
                  <a:pt x="95" y="189"/>
                  <a:pt x="93" y="187"/>
                </a:cubicBezTo>
                <a:cubicBezTo>
                  <a:pt x="91" y="186"/>
                  <a:pt x="89" y="186"/>
                  <a:pt x="87" y="184"/>
                </a:cubicBezTo>
                <a:cubicBezTo>
                  <a:pt x="84" y="183"/>
                  <a:pt x="84" y="180"/>
                  <a:pt x="84" y="180"/>
                </a:cubicBezTo>
                <a:cubicBezTo>
                  <a:pt x="29" y="138"/>
                  <a:pt x="29" y="138"/>
                  <a:pt x="29" y="13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0"/>
                  <a:pt x="1" y="99"/>
                  <a:pt x="2" y="97"/>
                </a:cubicBezTo>
                <a:cubicBezTo>
                  <a:pt x="4" y="96"/>
                  <a:pt x="5" y="94"/>
                  <a:pt x="7" y="93"/>
                </a:cubicBezTo>
                <a:cubicBezTo>
                  <a:pt x="8" y="91"/>
                  <a:pt x="10" y="90"/>
                  <a:pt x="13" y="89"/>
                </a:cubicBezTo>
                <a:cubicBezTo>
                  <a:pt x="17" y="89"/>
                  <a:pt x="20" y="89"/>
                  <a:pt x="22" y="86"/>
                </a:cubicBezTo>
                <a:cubicBezTo>
                  <a:pt x="25" y="82"/>
                  <a:pt x="25" y="84"/>
                  <a:pt x="28" y="84"/>
                </a:cubicBezTo>
                <a:cubicBezTo>
                  <a:pt x="30" y="83"/>
                  <a:pt x="30" y="82"/>
                  <a:pt x="34" y="80"/>
                </a:cubicBezTo>
                <a:cubicBezTo>
                  <a:pt x="37" y="78"/>
                  <a:pt x="40" y="70"/>
                  <a:pt x="40" y="70"/>
                </a:cubicBezTo>
                <a:cubicBezTo>
                  <a:pt x="40" y="70"/>
                  <a:pt x="43" y="70"/>
                  <a:pt x="46" y="68"/>
                </a:cubicBezTo>
                <a:cubicBezTo>
                  <a:pt x="48" y="66"/>
                  <a:pt x="47" y="66"/>
                  <a:pt x="47" y="63"/>
                </a:cubicBezTo>
                <a:cubicBezTo>
                  <a:pt x="47" y="60"/>
                  <a:pt x="52" y="60"/>
                  <a:pt x="52" y="58"/>
                </a:cubicBezTo>
                <a:cubicBezTo>
                  <a:pt x="52" y="55"/>
                  <a:pt x="57" y="54"/>
                  <a:pt x="58" y="52"/>
                </a:cubicBezTo>
                <a:cubicBezTo>
                  <a:pt x="60" y="51"/>
                  <a:pt x="58" y="49"/>
                  <a:pt x="56" y="47"/>
                </a:cubicBezTo>
                <a:cubicBezTo>
                  <a:pt x="55" y="44"/>
                  <a:pt x="55" y="44"/>
                  <a:pt x="55" y="41"/>
                </a:cubicBezTo>
                <a:cubicBezTo>
                  <a:pt x="55" y="38"/>
                  <a:pt x="52" y="39"/>
                  <a:pt x="52" y="36"/>
                </a:cubicBezTo>
                <a:cubicBezTo>
                  <a:pt x="52" y="33"/>
                  <a:pt x="53" y="31"/>
                  <a:pt x="54" y="28"/>
                </a:cubicBezTo>
                <a:cubicBezTo>
                  <a:pt x="54" y="26"/>
                  <a:pt x="51" y="22"/>
                  <a:pt x="51" y="22"/>
                </a:cubicBezTo>
                <a:cubicBezTo>
                  <a:pt x="52" y="22"/>
                  <a:pt x="53" y="21"/>
                  <a:pt x="54" y="21"/>
                </a:cubicBezTo>
                <a:cubicBezTo>
                  <a:pt x="55" y="20"/>
                  <a:pt x="56" y="21"/>
                  <a:pt x="57" y="21"/>
                </a:cubicBezTo>
                <a:cubicBezTo>
                  <a:pt x="59" y="19"/>
                  <a:pt x="60" y="15"/>
                  <a:pt x="63" y="14"/>
                </a:cubicBezTo>
                <a:cubicBezTo>
                  <a:pt x="66" y="13"/>
                  <a:pt x="68" y="14"/>
                  <a:pt x="70" y="13"/>
                </a:cubicBezTo>
                <a:cubicBezTo>
                  <a:pt x="72" y="13"/>
                  <a:pt x="73" y="10"/>
                  <a:pt x="74" y="9"/>
                </a:cubicBezTo>
                <a:cubicBezTo>
                  <a:pt x="76" y="9"/>
                  <a:pt x="78" y="10"/>
                  <a:pt x="79" y="9"/>
                </a:cubicBezTo>
                <a:cubicBezTo>
                  <a:pt x="79" y="9"/>
                  <a:pt x="79" y="7"/>
                  <a:pt x="80" y="7"/>
                </a:cubicBezTo>
                <a:cubicBezTo>
                  <a:pt x="81" y="6"/>
                  <a:pt x="83" y="6"/>
                  <a:pt x="85" y="5"/>
                </a:cubicBezTo>
                <a:cubicBezTo>
                  <a:pt x="85" y="5"/>
                  <a:pt x="86" y="3"/>
                  <a:pt x="86" y="3"/>
                </a:cubicBezTo>
                <a:cubicBezTo>
                  <a:pt x="88" y="3"/>
                  <a:pt x="92" y="5"/>
                  <a:pt x="94" y="5"/>
                </a:cubicBezTo>
                <a:cubicBezTo>
                  <a:pt x="99" y="5"/>
                  <a:pt x="101" y="2"/>
                  <a:pt x="105" y="2"/>
                </a:cubicBezTo>
                <a:cubicBezTo>
                  <a:pt x="109" y="2"/>
                  <a:pt x="111" y="3"/>
                  <a:pt x="115" y="2"/>
                </a:cubicBezTo>
                <a:cubicBezTo>
                  <a:pt x="115" y="2"/>
                  <a:pt x="115" y="3"/>
                  <a:pt x="115" y="3"/>
                </a:cubicBezTo>
                <a:cubicBezTo>
                  <a:pt x="117" y="4"/>
                  <a:pt x="118" y="2"/>
                  <a:pt x="119" y="2"/>
                </a:cubicBezTo>
                <a:cubicBezTo>
                  <a:pt x="122" y="2"/>
                  <a:pt x="122" y="3"/>
                  <a:pt x="124" y="3"/>
                </a:cubicBezTo>
                <a:cubicBezTo>
                  <a:pt x="124" y="1"/>
                  <a:pt x="124" y="1"/>
                  <a:pt x="124" y="1"/>
                </a:cubicBezTo>
                <a:cubicBezTo>
                  <a:pt x="126" y="1"/>
                  <a:pt x="127" y="1"/>
                  <a:pt x="128" y="0"/>
                </a:cubicBezTo>
                <a:cubicBezTo>
                  <a:pt x="130" y="2"/>
                  <a:pt x="131" y="2"/>
                  <a:pt x="132" y="5"/>
                </a:cubicBezTo>
                <a:cubicBezTo>
                  <a:pt x="133" y="5"/>
                  <a:pt x="133" y="5"/>
                  <a:pt x="133" y="5"/>
                </a:cubicBezTo>
                <a:cubicBezTo>
                  <a:pt x="134" y="3"/>
                  <a:pt x="134" y="2"/>
                  <a:pt x="135" y="1"/>
                </a:cubicBezTo>
                <a:cubicBezTo>
                  <a:pt x="136" y="1"/>
                  <a:pt x="137" y="1"/>
                  <a:pt x="138" y="2"/>
                </a:cubicBezTo>
                <a:cubicBezTo>
                  <a:pt x="138" y="2"/>
                  <a:pt x="137" y="9"/>
                  <a:pt x="139" y="10"/>
                </a:cubicBezTo>
                <a:cubicBezTo>
                  <a:pt x="141" y="11"/>
                  <a:pt x="140" y="13"/>
                  <a:pt x="140" y="15"/>
                </a:cubicBezTo>
                <a:cubicBezTo>
                  <a:pt x="140" y="17"/>
                  <a:pt x="142" y="20"/>
                  <a:pt x="142" y="24"/>
                </a:cubicBezTo>
                <a:cubicBezTo>
                  <a:pt x="143" y="27"/>
                  <a:pt x="140" y="26"/>
                  <a:pt x="140" y="28"/>
                </a:cubicBezTo>
                <a:cubicBezTo>
                  <a:pt x="140" y="30"/>
                  <a:pt x="138" y="33"/>
                  <a:pt x="136" y="34"/>
                </a:cubicBezTo>
                <a:cubicBezTo>
                  <a:pt x="134" y="34"/>
                  <a:pt x="133" y="33"/>
                  <a:pt x="133" y="36"/>
                </a:cubicBezTo>
                <a:cubicBezTo>
                  <a:pt x="133" y="39"/>
                  <a:pt x="134" y="46"/>
                  <a:pt x="134" y="46"/>
                </a:cubicBezTo>
                <a:cubicBezTo>
                  <a:pt x="134" y="46"/>
                  <a:pt x="137" y="45"/>
                  <a:pt x="138" y="47"/>
                </a:cubicBezTo>
                <a:cubicBezTo>
                  <a:pt x="139" y="49"/>
                  <a:pt x="140" y="55"/>
                  <a:pt x="140" y="55"/>
                </a:cubicBezTo>
                <a:cubicBezTo>
                  <a:pt x="145" y="56"/>
                  <a:pt x="145" y="56"/>
                  <a:pt x="145" y="56"/>
                </a:cubicBezTo>
                <a:cubicBezTo>
                  <a:pt x="148" y="76"/>
                  <a:pt x="148" y="76"/>
                  <a:pt x="148" y="76"/>
                </a:cubicBezTo>
                <a:cubicBezTo>
                  <a:pt x="147" y="76"/>
                  <a:pt x="147" y="76"/>
                  <a:pt x="146" y="77"/>
                </a:cubicBezTo>
                <a:cubicBezTo>
                  <a:pt x="145" y="78"/>
                  <a:pt x="148" y="81"/>
                  <a:pt x="148" y="81"/>
                </a:cubicBezTo>
                <a:cubicBezTo>
                  <a:pt x="147" y="98"/>
                  <a:pt x="147" y="98"/>
                  <a:pt x="147" y="98"/>
                </a:cubicBezTo>
                <a:cubicBezTo>
                  <a:pt x="150" y="102"/>
                  <a:pt x="150" y="102"/>
                  <a:pt x="150" y="102"/>
                </a:cubicBezTo>
                <a:cubicBezTo>
                  <a:pt x="150" y="102"/>
                  <a:pt x="146" y="105"/>
                  <a:pt x="147" y="105"/>
                </a:cubicBezTo>
                <a:cubicBezTo>
                  <a:pt x="149" y="105"/>
                  <a:pt x="148" y="108"/>
                  <a:pt x="148" y="108"/>
                </a:cubicBezTo>
                <a:cubicBezTo>
                  <a:pt x="148" y="108"/>
                  <a:pt x="148" y="116"/>
                  <a:pt x="147" y="120"/>
                </a:cubicBezTo>
                <a:cubicBezTo>
                  <a:pt x="147" y="123"/>
                  <a:pt x="142" y="124"/>
                  <a:pt x="142" y="124"/>
                </a:cubicBezTo>
                <a:cubicBezTo>
                  <a:pt x="142" y="124"/>
                  <a:pt x="143" y="126"/>
                  <a:pt x="145" y="128"/>
                </a:cubicBezTo>
                <a:cubicBezTo>
                  <a:pt x="146" y="130"/>
                  <a:pt x="146" y="133"/>
                  <a:pt x="148" y="134"/>
                </a:cubicBezTo>
                <a:cubicBezTo>
                  <a:pt x="150" y="136"/>
                  <a:pt x="150" y="137"/>
                  <a:pt x="150" y="140"/>
                </a:cubicBezTo>
                <a:cubicBezTo>
                  <a:pt x="150" y="142"/>
                  <a:pt x="152" y="145"/>
                  <a:pt x="154" y="145"/>
                </a:cubicBezTo>
                <a:cubicBezTo>
                  <a:pt x="156" y="145"/>
                  <a:pt x="158" y="146"/>
                  <a:pt x="160" y="147"/>
                </a:cubicBezTo>
                <a:cubicBezTo>
                  <a:pt x="162" y="147"/>
                  <a:pt x="162" y="150"/>
                  <a:pt x="164" y="150"/>
                </a:cubicBezTo>
                <a:cubicBezTo>
                  <a:pt x="166" y="150"/>
                  <a:pt x="169" y="154"/>
                  <a:pt x="169" y="154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0" name="Google Shape;610;p102"/>
          <p:cNvSpPr/>
          <p:nvPr/>
        </p:nvSpPr>
        <p:spPr>
          <a:xfrm>
            <a:off x="6717965" y="3396235"/>
            <a:ext cx="49827" cy="95322"/>
          </a:xfrm>
          <a:custGeom>
            <a:avLst/>
            <a:gdLst/>
            <a:ahLst/>
            <a:cxnLst/>
            <a:rect l="l" t="t" r="r" b="b"/>
            <a:pathLst>
              <a:path w="17" h="34" extrusionOk="0">
                <a:moveTo>
                  <a:pt x="0" y="6"/>
                </a:moveTo>
                <a:cubicBezTo>
                  <a:pt x="0" y="7"/>
                  <a:pt x="1" y="7"/>
                  <a:pt x="1" y="8"/>
                </a:cubicBezTo>
                <a:cubicBezTo>
                  <a:pt x="2" y="8"/>
                  <a:pt x="4" y="8"/>
                  <a:pt x="4" y="8"/>
                </a:cubicBezTo>
                <a:cubicBezTo>
                  <a:pt x="4" y="11"/>
                  <a:pt x="3" y="15"/>
                  <a:pt x="4" y="15"/>
                </a:cubicBezTo>
                <a:cubicBezTo>
                  <a:pt x="4" y="18"/>
                  <a:pt x="2" y="20"/>
                  <a:pt x="2" y="24"/>
                </a:cubicBezTo>
                <a:cubicBezTo>
                  <a:pt x="3" y="28"/>
                  <a:pt x="7" y="29"/>
                  <a:pt x="9" y="31"/>
                </a:cubicBezTo>
                <a:cubicBezTo>
                  <a:pt x="10" y="32"/>
                  <a:pt x="10" y="33"/>
                  <a:pt x="10" y="34"/>
                </a:cubicBezTo>
                <a:cubicBezTo>
                  <a:pt x="10" y="34"/>
                  <a:pt x="11" y="34"/>
                  <a:pt x="12" y="34"/>
                </a:cubicBezTo>
                <a:cubicBezTo>
                  <a:pt x="14" y="34"/>
                  <a:pt x="13" y="32"/>
                  <a:pt x="13" y="32"/>
                </a:cubicBezTo>
                <a:cubicBezTo>
                  <a:pt x="13" y="32"/>
                  <a:pt x="15" y="32"/>
                  <a:pt x="15" y="31"/>
                </a:cubicBezTo>
                <a:cubicBezTo>
                  <a:pt x="16" y="29"/>
                  <a:pt x="17" y="27"/>
                  <a:pt x="17" y="27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23"/>
                  <a:pt x="16" y="21"/>
                  <a:pt x="15" y="19"/>
                </a:cubicBezTo>
                <a:cubicBezTo>
                  <a:pt x="13" y="17"/>
                  <a:pt x="13" y="17"/>
                  <a:pt x="14" y="15"/>
                </a:cubicBezTo>
                <a:cubicBezTo>
                  <a:pt x="15" y="13"/>
                  <a:pt x="15" y="10"/>
                  <a:pt x="15" y="10"/>
                </a:cubicBezTo>
                <a:cubicBezTo>
                  <a:pt x="14" y="5"/>
                  <a:pt x="14" y="5"/>
                  <a:pt x="14" y="5"/>
                </a:cubicBezTo>
                <a:cubicBezTo>
                  <a:pt x="10" y="1"/>
                  <a:pt x="10" y="1"/>
                  <a:pt x="10" y="1"/>
                </a:cubicBezTo>
                <a:cubicBezTo>
                  <a:pt x="8" y="3"/>
                  <a:pt x="8" y="3"/>
                  <a:pt x="8" y="3"/>
                </a:cubicBezTo>
                <a:cubicBezTo>
                  <a:pt x="6" y="0"/>
                  <a:pt x="6" y="0"/>
                  <a:pt x="6" y="0"/>
                </a:cubicBezTo>
                <a:cubicBezTo>
                  <a:pt x="1" y="3"/>
                  <a:pt x="1" y="3"/>
                  <a:pt x="1" y="3"/>
                </a:cubicBezTo>
                <a:lnTo>
                  <a:pt x="0" y="6"/>
                </a:lnTo>
                <a:close/>
              </a:path>
            </a:pathLst>
          </a:custGeom>
          <a:solidFill>
            <a:srgbClr val="A5A5A5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1" name="Google Shape;611;p102"/>
          <p:cNvSpPr/>
          <p:nvPr/>
        </p:nvSpPr>
        <p:spPr>
          <a:xfrm>
            <a:off x="1695682" y="2257566"/>
            <a:ext cx="9291997" cy="809374"/>
          </a:xfrm>
          <a:custGeom>
            <a:avLst/>
            <a:gdLst/>
            <a:ahLst/>
            <a:cxnLst/>
            <a:rect l="l" t="t" r="r" b="b"/>
            <a:pathLst>
              <a:path w="3230" h="292" extrusionOk="0">
                <a:moveTo>
                  <a:pt x="87" y="160"/>
                </a:moveTo>
                <a:cubicBezTo>
                  <a:pt x="85" y="163"/>
                  <a:pt x="86" y="161"/>
                  <a:pt x="87" y="164"/>
                </a:cubicBezTo>
                <a:cubicBezTo>
                  <a:pt x="88" y="165"/>
                  <a:pt x="90" y="165"/>
                  <a:pt x="90" y="165"/>
                </a:cubicBezTo>
                <a:cubicBezTo>
                  <a:pt x="91" y="166"/>
                  <a:pt x="93" y="165"/>
                  <a:pt x="93" y="164"/>
                </a:cubicBezTo>
                <a:cubicBezTo>
                  <a:pt x="89" y="163"/>
                  <a:pt x="89" y="163"/>
                  <a:pt x="89" y="163"/>
                </a:cubicBezTo>
                <a:cubicBezTo>
                  <a:pt x="87" y="162"/>
                  <a:pt x="89" y="161"/>
                  <a:pt x="87" y="160"/>
                </a:cubicBezTo>
                <a:close/>
                <a:moveTo>
                  <a:pt x="3214" y="127"/>
                </a:moveTo>
                <a:cubicBezTo>
                  <a:pt x="3213" y="130"/>
                  <a:pt x="3213" y="130"/>
                  <a:pt x="3213" y="130"/>
                </a:cubicBezTo>
                <a:cubicBezTo>
                  <a:pt x="3212" y="130"/>
                  <a:pt x="3211" y="130"/>
                  <a:pt x="3210" y="130"/>
                </a:cubicBezTo>
                <a:cubicBezTo>
                  <a:pt x="3209" y="131"/>
                  <a:pt x="3209" y="131"/>
                  <a:pt x="3209" y="131"/>
                </a:cubicBezTo>
                <a:cubicBezTo>
                  <a:pt x="3206" y="131"/>
                  <a:pt x="3206" y="131"/>
                  <a:pt x="3206" y="131"/>
                </a:cubicBezTo>
                <a:cubicBezTo>
                  <a:pt x="3206" y="130"/>
                  <a:pt x="3206" y="128"/>
                  <a:pt x="3206" y="128"/>
                </a:cubicBezTo>
                <a:cubicBezTo>
                  <a:pt x="3205" y="127"/>
                  <a:pt x="3205" y="129"/>
                  <a:pt x="3205" y="129"/>
                </a:cubicBezTo>
                <a:cubicBezTo>
                  <a:pt x="3203" y="129"/>
                  <a:pt x="3205" y="132"/>
                  <a:pt x="3204" y="133"/>
                </a:cubicBezTo>
                <a:cubicBezTo>
                  <a:pt x="3203" y="133"/>
                  <a:pt x="3203" y="133"/>
                  <a:pt x="3203" y="133"/>
                </a:cubicBezTo>
                <a:cubicBezTo>
                  <a:pt x="3203" y="133"/>
                  <a:pt x="3203" y="134"/>
                  <a:pt x="3203" y="135"/>
                </a:cubicBezTo>
                <a:cubicBezTo>
                  <a:pt x="3204" y="135"/>
                  <a:pt x="3205" y="135"/>
                  <a:pt x="3205" y="135"/>
                </a:cubicBezTo>
                <a:cubicBezTo>
                  <a:pt x="3205" y="135"/>
                  <a:pt x="3206" y="136"/>
                  <a:pt x="3207" y="135"/>
                </a:cubicBezTo>
                <a:cubicBezTo>
                  <a:pt x="3210" y="135"/>
                  <a:pt x="3213" y="131"/>
                  <a:pt x="3217" y="133"/>
                </a:cubicBezTo>
                <a:cubicBezTo>
                  <a:pt x="3217" y="134"/>
                  <a:pt x="3217" y="134"/>
                  <a:pt x="3217" y="134"/>
                </a:cubicBezTo>
                <a:cubicBezTo>
                  <a:pt x="3218" y="135"/>
                  <a:pt x="3223" y="139"/>
                  <a:pt x="3223" y="139"/>
                </a:cubicBezTo>
                <a:cubicBezTo>
                  <a:pt x="3224" y="140"/>
                  <a:pt x="3223" y="142"/>
                  <a:pt x="3224" y="142"/>
                </a:cubicBezTo>
                <a:cubicBezTo>
                  <a:pt x="3225" y="142"/>
                  <a:pt x="3226" y="142"/>
                  <a:pt x="3227" y="142"/>
                </a:cubicBezTo>
                <a:cubicBezTo>
                  <a:pt x="3227" y="142"/>
                  <a:pt x="3227" y="139"/>
                  <a:pt x="3227" y="139"/>
                </a:cubicBezTo>
                <a:cubicBezTo>
                  <a:pt x="3227" y="138"/>
                  <a:pt x="3228" y="138"/>
                  <a:pt x="3229" y="138"/>
                </a:cubicBezTo>
                <a:cubicBezTo>
                  <a:pt x="3230" y="137"/>
                  <a:pt x="3230" y="137"/>
                  <a:pt x="3230" y="137"/>
                </a:cubicBezTo>
                <a:cubicBezTo>
                  <a:pt x="3228" y="136"/>
                  <a:pt x="3225" y="136"/>
                  <a:pt x="3223" y="135"/>
                </a:cubicBezTo>
                <a:cubicBezTo>
                  <a:pt x="3221" y="133"/>
                  <a:pt x="3218" y="126"/>
                  <a:pt x="3214" y="127"/>
                </a:cubicBezTo>
                <a:close/>
                <a:moveTo>
                  <a:pt x="408" y="193"/>
                </a:moveTo>
                <a:cubicBezTo>
                  <a:pt x="409" y="194"/>
                  <a:pt x="407" y="195"/>
                  <a:pt x="407" y="195"/>
                </a:cubicBezTo>
                <a:cubicBezTo>
                  <a:pt x="407" y="195"/>
                  <a:pt x="407" y="193"/>
                  <a:pt x="408" y="193"/>
                </a:cubicBezTo>
                <a:close/>
                <a:moveTo>
                  <a:pt x="435" y="242"/>
                </a:moveTo>
                <a:cubicBezTo>
                  <a:pt x="436" y="243"/>
                  <a:pt x="436" y="244"/>
                  <a:pt x="436" y="244"/>
                </a:cubicBezTo>
                <a:cubicBezTo>
                  <a:pt x="438" y="245"/>
                  <a:pt x="436" y="244"/>
                  <a:pt x="437" y="244"/>
                </a:cubicBezTo>
                <a:cubicBezTo>
                  <a:pt x="437" y="243"/>
                  <a:pt x="436" y="243"/>
                  <a:pt x="435" y="242"/>
                </a:cubicBezTo>
                <a:close/>
                <a:moveTo>
                  <a:pt x="422" y="230"/>
                </a:moveTo>
                <a:cubicBezTo>
                  <a:pt x="422" y="231"/>
                  <a:pt x="422" y="231"/>
                  <a:pt x="422" y="231"/>
                </a:cubicBezTo>
                <a:cubicBezTo>
                  <a:pt x="425" y="232"/>
                  <a:pt x="423" y="230"/>
                  <a:pt x="422" y="230"/>
                </a:cubicBezTo>
                <a:close/>
                <a:moveTo>
                  <a:pt x="435" y="226"/>
                </a:moveTo>
                <a:cubicBezTo>
                  <a:pt x="435" y="227"/>
                  <a:pt x="435" y="227"/>
                  <a:pt x="435" y="227"/>
                </a:cubicBezTo>
                <a:cubicBezTo>
                  <a:pt x="435" y="228"/>
                  <a:pt x="439" y="229"/>
                  <a:pt x="440" y="230"/>
                </a:cubicBezTo>
                <a:cubicBezTo>
                  <a:pt x="440" y="230"/>
                  <a:pt x="440" y="231"/>
                  <a:pt x="440" y="232"/>
                </a:cubicBezTo>
                <a:cubicBezTo>
                  <a:pt x="440" y="232"/>
                  <a:pt x="441" y="232"/>
                  <a:pt x="440" y="231"/>
                </a:cubicBezTo>
                <a:cubicBezTo>
                  <a:pt x="442" y="231"/>
                  <a:pt x="440" y="230"/>
                  <a:pt x="440" y="230"/>
                </a:cubicBezTo>
                <a:cubicBezTo>
                  <a:pt x="440" y="229"/>
                  <a:pt x="440" y="228"/>
                  <a:pt x="440" y="228"/>
                </a:cubicBezTo>
                <a:cubicBezTo>
                  <a:pt x="438" y="227"/>
                  <a:pt x="438" y="228"/>
                  <a:pt x="437" y="228"/>
                </a:cubicBezTo>
                <a:cubicBezTo>
                  <a:pt x="437" y="226"/>
                  <a:pt x="437" y="226"/>
                  <a:pt x="437" y="226"/>
                </a:cubicBezTo>
                <a:cubicBezTo>
                  <a:pt x="436" y="226"/>
                  <a:pt x="436" y="226"/>
                  <a:pt x="435" y="226"/>
                </a:cubicBezTo>
                <a:close/>
                <a:moveTo>
                  <a:pt x="408" y="212"/>
                </a:moveTo>
                <a:cubicBezTo>
                  <a:pt x="408" y="213"/>
                  <a:pt x="408" y="214"/>
                  <a:pt x="408" y="214"/>
                </a:cubicBezTo>
                <a:cubicBezTo>
                  <a:pt x="407" y="214"/>
                  <a:pt x="407" y="217"/>
                  <a:pt x="409" y="216"/>
                </a:cubicBezTo>
                <a:cubicBezTo>
                  <a:pt x="409" y="215"/>
                  <a:pt x="409" y="212"/>
                  <a:pt x="408" y="212"/>
                </a:cubicBezTo>
                <a:close/>
                <a:moveTo>
                  <a:pt x="425" y="206"/>
                </a:moveTo>
                <a:cubicBezTo>
                  <a:pt x="426" y="207"/>
                  <a:pt x="426" y="207"/>
                  <a:pt x="426" y="207"/>
                </a:cubicBezTo>
                <a:cubicBezTo>
                  <a:pt x="425" y="206"/>
                  <a:pt x="426" y="206"/>
                  <a:pt x="425" y="206"/>
                </a:cubicBezTo>
                <a:close/>
                <a:moveTo>
                  <a:pt x="401" y="201"/>
                </a:moveTo>
                <a:cubicBezTo>
                  <a:pt x="402" y="203"/>
                  <a:pt x="402" y="203"/>
                  <a:pt x="402" y="203"/>
                </a:cubicBezTo>
                <a:cubicBezTo>
                  <a:pt x="402" y="202"/>
                  <a:pt x="402" y="201"/>
                  <a:pt x="401" y="201"/>
                </a:cubicBezTo>
                <a:close/>
                <a:moveTo>
                  <a:pt x="416" y="199"/>
                </a:moveTo>
                <a:cubicBezTo>
                  <a:pt x="417" y="201"/>
                  <a:pt x="419" y="203"/>
                  <a:pt x="419" y="204"/>
                </a:cubicBezTo>
                <a:cubicBezTo>
                  <a:pt x="419" y="205"/>
                  <a:pt x="419" y="207"/>
                  <a:pt x="419" y="208"/>
                </a:cubicBezTo>
                <a:cubicBezTo>
                  <a:pt x="419" y="209"/>
                  <a:pt x="421" y="209"/>
                  <a:pt x="421" y="210"/>
                </a:cubicBezTo>
                <a:cubicBezTo>
                  <a:pt x="421" y="210"/>
                  <a:pt x="421" y="213"/>
                  <a:pt x="420" y="212"/>
                </a:cubicBezTo>
                <a:cubicBezTo>
                  <a:pt x="421" y="215"/>
                  <a:pt x="421" y="215"/>
                  <a:pt x="421" y="215"/>
                </a:cubicBezTo>
                <a:cubicBezTo>
                  <a:pt x="423" y="213"/>
                  <a:pt x="427" y="212"/>
                  <a:pt x="425" y="208"/>
                </a:cubicBezTo>
                <a:cubicBezTo>
                  <a:pt x="425" y="207"/>
                  <a:pt x="423" y="206"/>
                  <a:pt x="423" y="206"/>
                </a:cubicBezTo>
                <a:cubicBezTo>
                  <a:pt x="423" y="204"/>
                  <a:pt x="423" y="204"/>
                  <a:pt x="423" y="204"/>
                </a:cubicBezTo>
                <a:cubicBezTo>
                  <a:pt x="424" y="205"/>
                  <a:pt x="424" y="203"/>
                  <a:pt x="424" y="202"/>
                </a:cubicBezTo>
                <a:cubicBezTo>
                  <a:pt x="421" y="200"/>
                  <a:pt x="422" y="200"/>
                  <a:pt x="416" y="199"/>
                </a:cubicBezTo>
                <a:close/>
                <a:moveTo>
                  <a:pt x="402" y="187"/>
                </a:moveTo>
                <a:cubicBezTo>
                  <a:pt x="403" y="189"/>
                  <a:pt x="403" y="189"/>
                  <a:pt x="403" y="189"/>
                </a:cubicBezTo>
                <a:cubicBezTo>
                  <a:pt x="407" y="190"/>
                  <a:pt x="406" y="189"/>
                  <a:pt x="407" y="193"/>
                </a:cubicBezTo>
                <a:cubicBezTo>
                  <a:pt x="405" y="193"/>
                  <a:pt x="404" y="192"/>
                  <a:pt x="401" y="192"/>
                </a:cubicBezTo>
                <a:cubicBezTo>
                  <a:pt x="401" y="190"/>
                  <a:pt x="401" y="190"/>
                  <a:pt x="400" y="189"/>
                </a:cubicBezTo>
                <a:cubicBezTo>
                  <a:pt x="401" y="188"/>
                  <a:pt x="400" y="187"/>
                  <a:pt x="402" y="187"/>
                </a:cubicBezTo>
                <a:close/>
                <a:moveTo>
                  <a:pt x="413" y="183"/>
                </a:moveTo>
                <a:cubicBezTo>
                  <a:pt x="413" y="183"/>
                  <a:pt x="413" y="185"/>
                  <a:pt x="413" y="185"/>
                </a:cubicBezTo>
                <a:cubicBezTo>
                  <a:pt x="411" y="186"/>
                  <a:pt x="412" y="183"/>
                  <a:pt x="413" y="183"/>
                </a:cubicBezTo>
                <a:close/>
                <a:moveTo>
                  <a:pt x="176" y="246"/>
                </a:moveTo>
                <a:cubicBezTo>
                  <a:pt x="175" y="246"/>
                  <a:pt x="172" y="250"/>
                  <a:pt x="176" y="248"/>
                </a:cubicBezTo>
                <a:cubicBezTo>
                  <a:pt x="176" y="248"/>
                  <a:pt x="178" y="245"/>
                  <a:pt x="176" y="246"/>
                </a:cubicBezTo>
                <a:close/>
                <a:moveTo>
                  <a:pt x="198" y="242"/>
                </a:moveTo>
                <a:cubicBezTo>
                  <a:pt x="197" y="243"/>
                  <a:pt x="194" y="248"/>
                  <a:pt x="197" y="246"/>
                </a:cubicBezTo>
                <a:cubicBezTo>
                  <a:pt x="198" y="246"/>
                  <a:pt x="199" y="242"/>
                  <a:pt x="198" y="242"/>
                </a:cubicBezTo>
                <a:close/>
                <a:moveTo>
                  <a:pt x="192" y="239"/>
                </a:moveTo>
                <a:cubicBezTo>
                  <a:pt x="192" y="239"/>
                  <a:pt x="191" y="241"/>
                  <a:pt x="191" y="242"/>
                </a:cubicBezTo>
                <a:cubicBezTo>
                  <a:pt x="192" y="241"/>
                  <a:pt x="195" y="241"/>
                  <a:pt x="193" y="240"/>
                </a:cubicBezTo>
                <a:cubicBezTo>
                  <a:pt x="193" y="239"/>
                  <a:pt x="193" y="239"/>
                  <a:pt x="192" y="239"/>
                </a:cubicBezTo>
                <a:close/>
                <a:moveTo>
                  <a:pt x="257" y="214"/>
                </a:moveTo>
                <a:cubicBezTo>
                  <a:pt x="256" y="216"/>
                  <a:pt x="256" y="216"/>
                  <a:pt x="256" y="216"/>
                </a:cubicBezTo>
                <a:cubicBezTo>
                  <a:pt x="257" y="216"/>
                  <a:pt x="258" y="216"/>
                  <a:pt x="258" y="216"/>
                </a:cubicBezTo>
                <a:cubicBezTo>
                  <a:pt x="258" y="216"/>
                  <a:pt x="260" y="213"/>
                  <a:pt x="257" y="214"/>
                </a:cubicBezTo>
                <a:close/>
                <a:moveTo>
                  <a:pt x="257" y="198"/>
                </a:moveTo>
                <a:cubicBezTo>
                  <a:pt x="257" y="200"/>
                  <a:pt x="257" y="200"/>
                  <a:pt x="257" y="200"/>
                </a:cubicBezTo>
                <a:cubicBezTo>
                  <a:pt x="260" y="200"/>
                  <a:pt x="259" y="199"/>
                  <a:pt x="257" y="198"/>
                </a:cubicBezTo>
                <a:close/>
                <a:moveTo>
                  <a:pt x="215" y="183"/>
                </a:moveTo>
                <a:cubicBezTo>
                  <a:pt x="216" y="182"/>
                  <a:pt x="216" y="185"/>
                  <a:pt x="215" y="185"/>
                </a:cubicBezTo>
                <a:cubicBezTo>
                  <a:pt x="214" y="184"/>
                  <a:pt x="214" y="183"/>
                  <a:pt x="215" y="183"/>
                </a:cubicBezTo>
                <a:close/>
                <a:moveTo>
                  <a:pt x="309" y="167"/>
                </a:moveTo>
                <a:cubicBezTo>
                  <a:pt x="309" y="169"/>
                  <a:pt x="309" y="170"/>
                  <a:pt x="308" y="171"/>
                </a:cubicBezTo>
                <a:cubicBezTo>
                  <a:pt x="308" y="172"/>
                  <a:pt x="307" y="172"/>
                  <a:pt x="307" y="173"/>
                </a:cubicBezTo>
                <a:cubicBezTo>
                  <a:pt x="309" y="171"/>
                  <a:pt x="313" y="169"/>
                  <a:pt x="309" y="167"/>
                </a:cubicBezTo>
                <a:close/>
                <a:moveTo>
                  <a:pt x="315" y="165"/>
                </a:moveTo>
                <a:cubicBezTo>
                  <a:pt x="315" y="167"/>
                  <a:pt x="315" y="167"/>
                  <a:pt x="315" y="167"/>
                </a:cubicBezTo>
                <a:cubicBezTo>
                  <a:pt x="317" y="167"/>
                  <a:pt x="317" y="165"/>
                  <a:pt x="315" y="165"/>
                </a:cubicBezTo>
                <a:close/>
                <a:moveTo>
                  <a:pt x="306" y="164"/>
                </a:moveTo>
                <a:cubicBezTo>
                  <a:pt x="306" y="165"/>
                  <a:pt x="306" y="165"/>
                  <a:pt x="306" y="165"/>
                </a:cubicBezTo>
                <a:cubicBezTo>
                  <a:pt x="308" y="166"/>
                  <a:pt x="307" y="164"/>
                  <a:pt x="306" y="164"/>
                </a:cubicBezTo>
                <a:close/>
                <a:moveTo>
                  <a:pt x="155" y="158"/>
                </a:moveTo>
                <a:cubicBezTo>
                  <a:pt x="155" y="159"/>
                  <a:pt x="153" y="159"/>
                  <a:pt x="154" y="161"/>
                </a:cubicBezTo>
                <a:cubicBezTo>
                  <a:pt x="155" y="161"/>
                  <a:pt x="155" y="161"/>
                  <a:pt x="155" y="161"/>
                </a:cubicBezTo>
                <a:cubicBezTo>
                  <a:pt x="156" y="161"/>
                  <a:pt x="155" y="162"/>
                  <a:pt x="157" y="163"/>
                </a:cubicBezTo>
                <a:cubicBezTo>
                  <a:pt x="157" y="164"/>
                  <a:pt x="157" y="164"/>
                  <a:pt x="157" y="164"/>
                </a:cubicBezTo>
                <a:cubicBezTo>
                  <a:pt x="159" y="163"/>
                  <a:pt x="164" y="162"/>
                  <a:pt x="159" y="159"/>
                </a:cubicBezTo>
                <a:cubicBezTo>
                  <a:pt x="158" y="158"/>
                  <a:pt x="157" y="159"/>
                  <a:pt x="155" y="158"/>
                </a:cubicBezTo>
                <a:close/>
                <a:moveTo>
                  <a:pt x="157" y="129"/>
                </a:moveTo>
                <a:cubicBezTo>
                  <a:pt x="158" y="130"/>
                  <a:pt x="156" y="130"/>
                  <a:pt x="156" y="130"/>
                </a:cubicBezTo>
                <a:cubicBezTo>
                  <a:pt x="156" y="130"/>
                  <a:pt x="156" y="132"/>
                  <a:pt x="156" y="132"/>
                </a:cubicBezTo>
                <a:cubicBezTo>
                  <a:pt x="160" y="131"/>
                  <a:pt x="161" y="132"/>
                  <a:pt x="157" y="129"/>
                </a:cubicBezTo>
                <a:close/>
                <a:moveTo>
                  <a:pt x="14" y="288"/>
                </a:moveTo>
                <a:cubicBezTo>
                  <a:pt x="13" y="290"/>
                  <a:pt x="13" y="290"/>
                  <a:pt x="13" y="290"/>
                </a:cubicBezTo>
                <a:cubicBezTo>
                  <a:pt x="14" y="290"/>
                  <a:pt x="16" y="292"/>
                  <a:pt x="16" y="292"/>
                </a:cubicBezTo>
                <a:cubicBezTo>
                  <a:pt x="18" y="292"/>
                  <a:pt x="18" y="292"/>
                  <a:pt x="18" y="292"/>
                </a:cubicBezTo>
                <a:cubicBezTo>
                  <a:pt x="18" y="292"/>
                  <a:pt x="18" y="291"/>
                  <a:pt x="18" y="290"/>
                </a:cubicBezTo>
                <a:cubicBezTo>
                  <a:pt x="17" y="289"/>
                  <a:pt x="15" y="288"/>
                  <a:pt x="14" y="288"/>
                </a:cubicBezTo>
                <a:close/>
                <a:moveTo>
                  <a:pt x="42" y="284"/>
                </a:moveTo>
                <a:cubicBezTo>
                  <a:pt x="43" y="285"/>
                  <a:pt x="43" y="287"/>
                  <a:pt x="44" y="288"/>
                </a:cubicBezTo>
                <a:cubicBezTo>
                  <a:pt x="45" y="288"/>
                  <a:pt x="45" y="288"/>
                  <a:pt x="45" y="288"/>
                </a:cubicBezTo>
                <a:cubicBezTo>
                  <a:pt x="44" y="286"/>
                  <a:pt x="44" y="286"/>
                  <a:pt x="44" y="286"/>
                </a:cubicBezTo>
                <a:cubicBezTo>
                  <a:pt x="45" y="286"/>
                  <a:pt x="45" y="285"/>
                  <a:pt x="45" y="284"/>
                </a:cubicBezTo>
                <a:cubicBezTo>
                  <a:pt x="45" y="284"/>
                  <a:pt x="43" y="284"/>
                  <a:pt x="42" y="284"/>
                </a:cubicBezTo>
                <a:close/>
                <a:moveTo>
                  <a:pt x="53" y="284"/>
                </a:moveTo>
                <a:cubicBezTo>
                  <a:pt x="52" y="284"/>
                  <a:pt x="52" y="287"/>
                  <a:pt x="52" y="288"/>
                </a:cubicBezTo>
                <a:cubicBezTo>
                  <a:pt x="52" y="287"/>
                  <a:pt x="54" y="285"/>
                  <a:pt x="54" y="285"/>
                </a:cubicBezTo>
                <a:cubicBezTo>
                  <a:pt x="54" y="285"/>
                  <a:pt x="53" y="282"/>
                  <a:pt x="53" y="284"/>
                </a:cubicBezTo>
                <a:close/>
                <a:moveTo>
                  <a:pt x="49" y="284"/>
                </a:moveTo>
                <a:cubicBezTo>
                  <a:pt x="49" y="284"/>
                  <a:pt x="48" y="288"/>
                  <a:pt x="49" y="287"/>
                </a:cubicBezTo>
                <a:cubicBezTo>
                  <a:pt x="50" y="287"/>
                  <a:pt x="52" y="282"/>
                  <a:pt x="49" y="284"/>
                </a:cubicBezTo>
                <a:close/>
                <a:moveTo>
                  <a:pt x="83" y="283"/>
                </a:moveTo>
                <a:cubicBezTo>
                  <a:pt x="83" y="283"/>
                  <a:pt x="82" y="284"/>
                  <a:pt x="82" y="284"/>
                </a:cubicBezTo>
                <a:cubicBezTo>
                  <a:pt x="83" y="284"/>
                  <a:pt x="84" y="284"/>
                  <a:pt x="85" y="284"/>
                </a:cubicBezTo>
                <a:cubicBezTo>
                  <a:pt x="85" y="284"/>
                  <a:pt x="85" y="283"/>
                  <a:pt x="85" y="283"/>
                </a:cubicBezTo>
                <a:cubicBezTo>
                  <a:pt x="84" y="283"/>
                  <a:pt x="83" y="283"/>
                  <a:pt x="83" y="283"/>
                </a:cubicBezTo>
                <a:close/>
                <a:moveTo>
                  <a:pt x="20" y="282"/>
                </a:moveTo>
                <a:cubicBezTo>
                  <a:pt x="20" y="283"/>
                  <a:pt x="19" y="284"/>
                  <a:pt x="20" y="286"/>
                </a:cubicBezTo>
                <a:cubicBezTo>
                  <a:pt x="20" y="285"/>
                  <a:pt x="22" y="286"/>
                  <a:pt x="22" y="286"/>
                </a:cubicBezTo>
                <a:cubicBezTo>
                  <a:pt x="22" y="285"/>
                  <a:pt x="22" y="283"/>
                  <a:pt x="22" y="283"/>
                </a:cubicBezTo>
                <a:cubicBezTo>
                  <a:pt x="22" y="283"/>
                  <a:pt x="20" y="282"/>
                  <a:pt x="20" y="282"/>
                </a:cubicBezTo>
                <a:close/>
                <a:moveTo>
                  <a:pt x="4" y="282"/>
                </a:moveTo>
                <a:cubicBezTo>
                  <a:pt x="3" y="282"/>
                  <a:pt x="0" y="287"/>
                  <a:pt x="4" y="286"/>
                </a:cubicBezTo>
                <a:cubicBezTo>
                  <a:pt x="4" y="285"/>
                  <a:pt x="4" y="282"/>
                  <a:pt x="4" y="282"/>
                </a:cubicBezTo>
                <a:close/>
                <a:moveTo>
                  <a:pt x="71" y="278"/>
                </a:moveTo>
                <a:cubicBezTo>
                  <a:pt x="71" y="278"/>
                  <a:pt x="71" y="281"/>
                  <a:pt x="71" y="281"/>
                </a:cubicBezTo>
                <a:cubicBezTo>
                  <a:pt x="70" y="282"/>
                  <a:pt x="69" y="281"/>
                  <a:pt x="68" y="282"/>
                </a:cubicBezTo>
                <a:cubicBezTo>
                  <a:pt x="68" y="282"/>
                  <a:pt x="68" y="282"/>
                  <a:pt x="68" y="282"/>
                </a:cubicBezTo>
                <a:cubicBezTo>
                  <a:pt x="68" y="282"/>
                  <a:pt x="70" y="283"/>
                  <a:pt x="71" y="283"/>
                </a:cubicBezTo>
                <a:cubicBezTo>
                  <a:pt x="71" y="283"/>
                  <a:pt x="78" y="275"/>
                  <a:pt x="71" y="278"/>
                </a:cubicBezTo>
                <a:close/>
                <a:moveTo>
                  <a:pt x="103" y="277"/>
                </a:moveTo>
                <a:cubicBezTo>
                  <a:pt x="101" y="277"/>
                  <a:pt x="104" y="278"/>
                  <a:pt x="105" y="278"/>
                </a:cubicBezTo>
                <a:cubicBezTo>
                  <a:pt x="104" y="278"/>
                  <a:pt x="105" y="277"/>
                  <a:pt x="103" y="277"/>
                </a:cubicBezTo>
                <a:close/>
                <a:moveTo>
                  <a:pt x="109" y="275"/>
                </a:moveTo>
                <a:cubicBezTo>
                  <a:pt x="108" y="275"/>
                  <a:pt x="110" y="276"/>
                  <a:pt x="110" y="276"/>
                </a:cubicBezTo>
                <a:cubicBezTo>
                  <a:pt x="110" y="276"/>
                  <a:pt x="112" y="274"/>
                  <a:pt x="109" y="275"/>
                </a:cubicBezTo>
                <a:close/>
                <a:moveTo>
                  <a:pt x="126" y="266"/>
                </a:moveTo>
                <a:cubicBezTo>
                  <a:pt x="126" y="266"/>
                  <a:pt x="126" y="266"/>
                  <a:pt x="126" y="266"/>
                </a:cubicBezTo>
                <a:cubicBezTo>
                  <a:pt x="123" y="268"/>
                  <a:pt x="125" y="268"/>
                  <a:pt x="125" y="268"/>
                </a:cubicBezTo>
                <a:cubicBezTo>
                  <a:pt x="124" y="269"/>
                  <a:pt x="123" y="268"/>
                  <a:pt x="122" y="269"/>
                </a:cubicBezTo>
                <a:cubicBezTo>
                  <a:pt x="122" y="270"/>
                  <a:pt x="122" y="270"/>
                  <a:pt x="122" y="270"/>
                </a:cubicBezTo>
                <a:cubicBezTo>
                  <a:pt x="121" y="270"/>
                  <a:pt x="121" y="270"/>
                  <a:pt x="121" y="270"/>
                </a:cubicBezTo>
                <a:cubicBezTo>
                  <a:pt x="121" y="271"/>
                  <a:pt x="122" y="272"/>
                  <a:pt x="121" y="273"/>
                </a:cubicBezTo>
                <a:cubicBezTo>
                  <a:pt x="123" y="273"/>
                  <a:pt x="123" y="273"/>
                  <a:pt x="123" y="273"/>
                </a:cubicBezTo>
                <a:cubicBezTo>
                  <a:pt x="124" y="273"/>
                  <a:pt x="125" y="269"/>
                  <a:pt x="127" y="268"/>
                </a:cubicBezTo>
                <a:cubicBezTo>
                  <a:pt x="128" y="268"/>
                  <a:pt x="128" y="268"/>
                  <a:pt x="128" y="268"/>
                </a:cubicBezTo>
                <a:cubicBezTo>
                  <a:pt x="128" y="268"/>
                  <a:pt x="128" y="266"/>
                  <a:pt x="128" y="266"/>
                </a:cubicBezTo>
                <a:cubicBezTo>
                  <a:pt x="127" y="266"/>
                  <a:pt x="126" y="265"/>
                  <a:pt x="126" y="266"/>
                </a:cubicBezTo>
                <a:close/>
                <a:moveTo>
                  <a:pt x="137" y="262"/>
                </a:moveTo>
                <a:cubicBezTo>
                  <a:pt x="136" y="263"/>
                  <a:pt x="133" y="264"/>
                  <a:pt x="137" y="265"/>
                </a:cubicBezTo>
                <a:cubicBezTo>
                  <a:pt x="136" y="265"/>
                  <a:pt x="135" y="267"/>
                  <a:pt x="134" y="268"/>
                </a:cubicBezTo>
                <a:cubicBezTo>
                  <a:pt x="133" y="268"/>
                  <a:pt x="132" y="267"/>
                  <a:pt x="131" y="268"/>
                </a:cubicBezTo>
                <a:cubicBezTo>
                  <a:pt x="132" y="270"/>
                  <a:pt x="132" y="270"/>
                  <a:pt x="132" y="270"/>
                </a:cubicBezTo>
                <a:cubicBezTo>
                  <a:pt x="133" y="270"/>
                  <a:pt x="134" y="269"/>
                  <a:pt x="135" y="270"/>
                </a:cubicBezTo>
                <a:cubicBezTo>
                  <a:pt x="137" y="268"/>
                  <a:pt x="139" y="265"/>
                  <a:pt x="141" y="263"/>
                </a:cubicBezTo>
                <a:cubicBezTo>
                  <a:pt x="139" y="262"/>
                  <a:pt x="138" y="262"/>
                  <a:pt x="137" y="262"/>
                </a:cubicBezTo>
                <a:close/>
                <a:moveTo>
                  <a:pt x="162" y="245"/>
                </a:moveTo>
                <a:cubicBezTo>
                  <a:pt x="161" y="246"/>
                  <a:pt x="161" y="246"/>
                  <a:pt x="161" y="246"/>
                </a:cubicBezTo>
                <a:cubicBezTo>
                  <a:pt x="160" y="247"/>
                  <a:pt x="158" y="246"/>
                  <a:pt x="157" y="246"/>
                </a:cubicBezTo>
                <a:cubicBezTo>
                  <a:pt x="156" y="248"/>
                  <a:pt x="156" y="250"/>
                  <a:pt x="155" y="251"/>
                </a:cubicBezTo>
                <a:cubicBezTo>
                  <a:pt x="154" y="251"/>
                  <a:pt x="154" y="251"/>
                  <a:pt x="154" y="251"/>
                </a:cubicBezTo>
                <a:cubicBezTo>
                  <a:pt x="154" y="252"/>
                  <a:pt x="154" y="252"/>
                  <a:pt x="154" y="253"/>
                </a:cubicBezTo>
                <a:cubicBezTo>
                  <a:pt x="155" y="253"/>
                  <a:pt x="156" y="253"/>
                  <a:pt x="156" y="253"/>
                </a:cubicBezTo>
                <a:cubicBezTo>
                  <a:pt x="157" y="253"/>
                  <a:pt x="160" y="250"/>
                  <a:pt x="161" y="250"/>
                </a:cubicBezTo>
                <a:cubicBezTo>
                  <a:pt x="165" y="249"/>
                  <a:pt x="166" y="250"/>
                  <a:pt x="167" y="248"/>
                </a:cubicBezTo>
                <a:cubicBezTo>
                  <a:pt x="167" y="247"/>
                  <a:pt x="169" y="248"/>
                  <a:pt x="167" y="247"/>
                </a:cubicBezTo>
                <a:cubicBezTo>
                  <a:pt x="166" y="246"/>
                  <a:pt x="166" y="245"/>
                  <a:pt x="162" y="245"/>
                </a:cubicBezTo>
                <a:close/>
                <a:moveTo>
                  <a:pt x="430" y="226"/>
                </a:moveTo>
                <a:cubicBezTo>
                  <a:pt x="429" y="228"/>
                  <a:pt x="429" y="230"/>
                  <a:pt x="428" y="231"/>
                </a:cubicBezTo>
                <a:cubicBezTo>
                  <a:pt x="429" y="231"/>
                  <a:pt x="431" y="231"/>
                  <a:pt x="432" y="231"/>
                </a:cubicBezTo>
                <a:cubicBezTo>
                  <a:pt x="432" y="233"/>
                  <a:pt x="432" y="233"/>
                  <a:pt x="433" y="235"/>
                </a:cubicBezTo>
                <a:cubicBezTo>
                  <a:pt x="434" y="235"/>
                  <a:pt x="434" y="235"/>
                  <a:pt x="434" y="235"/>
                </a:cubicBezTo>
                <a:cubicBezTo>
                  <a:pt x="434" y="235"/>
                  <a:pt x="435" y="234"/>
                  <a:pt x="436" y="234"/>
                </a:cubicBezTo>
                <a:cubicBezTo>
                  <a:pt x="436" y="235"/>
                  <a:pt x="435" y="238"/>
                  <a:pt x="436" y="238"/>
                </a:cubicBezTo>
                <a:cubicBezTo>
                  <a:pt x="435" y="239"/>
                  <a:pt x="435" y="239"/>
                  <a:pt x="435" y="239"/>
                </a:cubicBezTo>
                <a:cubicBezTo>
                  <a:pt x="437" y="239"/>
                  <a:pt x="440" y="240"/>
                  <a:pt x="441" y="241"/>
                </a:cubicBezTo>
                <a:cubicBezTo>
                  <a:pt x="441" y="241"/>
                  <a:pt x="440" y="243"/>
                  <a:pt x="441" y="244"/>
                </a:cubicBezTo>
                <a:cubicBezTo>
                  <a:pt x="443" y="244"/>
                  <a:pt x="443" y="244"/>
                  <a:pt x="443" y="244"/>
                </a:cubicBezTo>
                <a:cubicBezTo>
                  <a:pt x="443" y="245"/>
                  <a:pt x="443" y="246"/>
                  <a:pt x="443" y="248"/>
                </a:cubicBezTo>
                <a:cubicBezTo>
                  <a:pt x="443" y="248"/>
                  <a:pt x="444" y="248"/>
                  <a:pt x="444" y="249"/>
                </a:cubicBezTo>
                <a:cubicBezTo>
                  <a:pt x="445" y="249"/>
                  <a:pt x="447" y="249"/>
                  <a:pt x="448" y="249"/>
                </a:cubicBezTo>
                <a:cubicBezTo>
                  <a:pt x="447" y="242"/>
                  <a:pt x="449" y="243"/>
                  <a:pt x="445" y="244"/>
                </a:cubicBezTo>
                <a:cubicBezTo>
                  <a:pt x="446" y="242"/>
                  <a:pt x="446" y="242"/>
                  <a:pt x="446" y="240"/>
                </a:cubicBezTo>
                <a:cubicBezTo>
                  <a:pt x="446" y="240"/>
                  <a:pt x="446" y="238"/>
                  <a:pt x="446" y="238"/>
                </a:cubicBezTo>
                <a:cubicBezTo>
                  <a:pt x="445" y="238"/>
                  <a:pt x="443" y="239"/>
                  <a:pt x="442" y="238"/>
                </a:cubicBezTo>
                <a:cubicBezTo>
                  <a:pt x="442" y="238"/>
                  <a:pt x="442" y="238"/>
                  <a:pt x="442" y="238"/>
                </a:cubicBezTo>
                <a:cubicBezTo>
                  <a:pt x="442" y="238"/>
                  <a:pt x="442" y="238"/>
                  <a:pt x="442" y="238"/>
                </a:cubicBezTo>
                <a:cubicBezTo>
                  <a:pt x="441" y="236"/>
                  <a:pt x="441" y="236"/>
                  <a:pt x="441" y="236"/>
                </a:cubicBezTo>
                <a:cubicBezTo>
                  <a:pt x="440" y="236"/>
                  <a:pt x="440" y="236"/>
                  <a:pt x="440" y="236"/>
                </a:cubicBezTo>
                <a:cubicBezTo>
                  <a:pt x="439" y="234"/>
                  <a:pt x="440" y="233"/>
                  <a:pt x="439" y="232"/>
                </a:cubicBezTo>
                <a:cubicBezTo>
                  <a:pt x="438" y="231"/>
                  <a:pt x="436" y="231"/>
                  <a:pt x="435" y="230"/>
                </a:cubicBezTo>
                <a:cubicBezTo>
                  <a:pt x="434" y="230"/>
                  <a:pt x="435" y="228"/>
                  <a:pt x="434" y="228"/>
                </a:cubicBezTo>
                <a:cubicBezTo>
                  <a:pt x="434" y="227"/>
                  <a:pt x="430" y="227"/>
                  <a:pt x="430" y="226"/>
                </a:cubicBezTo>
                <a:close/>
                <a:moveTo>
                  <a:pt x="412" y="210"/>
                </a:moveTo>
                <a:cubicBezTo>
                  <a:pt x="412" y="210"/>
                  <a:pt x="411" y="213"/>
                  <a:pt x="411" y="214"/>
                </a:cubicBezTo>
                <a:cubicBezTo>
                  <a:pt x="411" y="215"/>
                  <a:pt x="413" y="217"/>
                  <a:pt x="414" y="218"/>
                </a:cubicBezTo>
                <a:cubicBezTo>
                  <a:pt x="414" y="218"/>
                  <a:pt x="414" y="219"/>
                  <a:pt x="414" y="220"/>
                </a:cubicBezTo>
                <a:cubicBezTo>
                  <a:pt x="414" y="220"/>
                  <a:pt x="417" y="221"/>
                  <a:pt x="417" y="221"/>
                </a:cubicBezTo>
                <a:cubicBezTo>
                  <a:pt x="418" y="222"/>
                  <a:pt x="417" y="223"/>
                  <a:pt x="418" y="224"/>
                </a:cubicBezTo>
                <a:cubicBezTo>
                  <a:pt x="418" y="225"/>
                  <a:pt x="420" y="225"/>
                  <a:pt x="420" y="226"/>
                </a:cubicBezTo>
                <a:cubicBezTo>
                  <a:pt x="421" y="224"/>
                  <a:pt x="421" y="224"/>
                  <a:pt x="421" y="222"/>
                </a:cubicBezTo>
                <a:cubicBezTo>
                  <a:pt x="422" y="223"/>
                  <a:pt x="422" y="223"/>
                  <a:pt x="422" y="225"/>
                </a:cubicBezTo>
                <a:cubicBezTo>
                  <a:pt x="423" y="225"/>
                  <a:pt x="425" y="225"/>
                  <a:pt x="425" y="225"/>
                </a:cubicBezTo>
                <a:cubicBezTo>
                  <a:pt x="423" y="226"/>
                  <a:pt x="424" y="229"/>
                  <a:pt x="425" y="230"/>
                </a:cubicBezTo>
                <a:cubicBezTo>
                  <a:pt x="425" y="230"/>
                  <a:pt x="427" y="229"/>
                  <a:pt x="427" y="228"/>
                </a:cubicBezTo>
                <a:cubicBezTo>
                  <a:pt x="427" y="227"/>
                  <a:pt x="427" y="224"/>
                  <a:pt x="427" y="224"/>
                </a:cubicBezTo>
                <a:cubicBezTo>
                  <a:pt x="427" y="224"/>
                  <a:pt x="427" y="224"/>
                  <a:pt x="427" y="224"/>
                </a:cubicBezTo>
                <a:cubicBezTo>
                  <a:pt x="429" y="224"/>
                  <a:pt x="428" y="226"/>
                  <a:pt x="430" y="225"/>
                </a:cubicBezTo>
                <a:cubicBezTo>
                  <a:pt x="430" y="225"/>
                  <a:pt x="432" y="224"/>
                  <a:pt x="430" y="224"/>
                </a:cubicBezTo>
                <a:cubicBezTo>
                  <a:pt x="431" y="223"/>
                  <a:pt x="430" y="222"/>
                  <a:pt x="430" y="222"/>
                </a:cubicBezTo>
                <a:cubicBezTo>
                  <a:pt x="430" y="222"/>
                  <a:pt x="431" y="222"/>
                  <a:pt x="432" y="222"/>
                </a:cubicBezTo>
                <a:cubicBezTo>
                  <a:pt x="431" y="221"/>
                  <a:pt x="432" y="220"/>
                  <a:pt x="432" y="218"/>
                </a:cubicBezTo>
                <a:cubicBezTo>
                  <a:pt x="431" y="215"/>
                  <a:pt x="427" y="216"/>
                  <a:pt x="424" y="216"/>
                </a:cubicBezTo>
                <a:cubicBezTo>
                  <a:pt x="425" y="216"/>
                  <a:pt x="425" y="220"/>
                  <a:pt x="424" y="220"/>
                </a:cubicBezTo>
                <a:cubicBezTo>
                  <a:pt x="425" y="221"/>
                  <a:pt x="426" y="221"/>
                  <a:pt x="426" y="221"/>
                </a:cubicBezTo>
                <a:cubicBezTo>
                  <a:pt x="429" y="223"/>
                  <a:pt x="424" y="222"/>
                  <a:pt x="424" y="222"/>
                </a:cubicBezTo>
                <a:cubicBezTo>
                  <a:pt x="424" y="221"/>
                  <a:pt x="424" y="220"/>
                  <a:pt x="423" y="219"/>
                </a:cubicBezTo>
                <a:cubicBezTo>
                  <a:pt x="423" y="219"/>
                  <a:pt x="421" y="221"/>
                  <a:pt x="421" y="220"/>
                </a:cubicBezTo>
                <a:cubicBezTo>
                  <a:pt x="419" y="219"/>
                  <a:pt x="420" y="215"/>
                  <a:pt x="418" y="213"/>
                </a:cubicBezTo>
                <a:cubicBezTo>
                  <a:pt x="418" y="213"/>
                  <a:pt x="417" y="213"/>
                  <a:pt x="416" y="213"/>
                </a:cubicBezTo>
                <a:cubicBezTo>
                  <a:pt x="416" y="212"/>
                  <a:pt x="416" y="212"/>
                  <a:pt x="416" y="212"/>
                </a:cubicBezTo>
                <a:cubicBezTo>
                  <a:pt x="415" y="212"/>
                  <a:pt x="413" y="211"/>
                  <a:pt x="412" y="210"/>
                </a:cubicBezTo>
                <a:close/>
                <a:moveTo>
                  <a:pt x="258" y="202"/>
                </a:moveTo>
                <a:cubicBezTo>
                  <a:pt x="257" y="202"/>
                  <a:pt x="258" y="204"/>
                  <a:pt x="258" y="204"/>
                </a:cubicBezTo>
                <a:cubicBezTo>
                  <a:pt x="256" y="204"/>
                  <a:pt x="254" y="204"/>
                  <a:pt x="252" y="204"/>
                </a:cubicBezTo>
                <a:cubicBezTo>
                  <a:pt x="252" y="204"/>
                  <a:pt x="252" y="203"/>
                  <a:pt x="252" y="202"/>
                </a:cubicBezTo>
                <a:cubicBezTo>
                  <a:pt x="251" y="202"/>
                  <a:pt x="250" y="203"/>
                  <a:pt x="250" y="202"/>
                </a:cubicBezTo>
                <a:cubicBezTo>
                  <a:pt x="250" y="204"/>
                  <a:pt x="250" y="204"/>
                  <a:pt x="250" y="204"/>
                </a:cubicBezTo>
                <a:cubicBezTo>
                  <a:pt x="248" y="203"/>
                  <a:pt x="250" y="206"/>
                  <a:pt x="250" y="206"/>
                </a:cubicBezTo>
                <a:cubicBezTo>
                  <a:pt x="251" y="205"/>
                  <a:pt x="250" y="208"/>
                  <a:pt x="250" y="208"/>
                </a:cubicBezTo>
                <a:cubicBezTo>
                  <a:pt x="247" y="208"/>
                  <a:pt x="239" y="206"/>
                  <a:pt x="245" y="211"/>
                </a:cubicBezTo>
                <a:cubicBezTo>
                  <a:pt x="245" y="212"/>
                  <a:pt x="244" y="214"/>
                  <a:pt x="244" y="214"/>
                </a:cubicBezTo>
                <a:cubicBezTo>
                  <a:pt x="245" y="214"/>
                  <a:pt x="245" y="216"/>
                  <a:pt x="247" y="215"/>
                </a:cubicBezTo>
                <a:cubicBezTo>
                  <a:pt x="247" y="215"/>
                  <a:pt x="248" y="213"/>
                  <a:pt x="248" y="213"/>
                </a:cubicBezTo>
                <a:cubicBezTo>
                  <a:pt x="249" y="214"/>
                  <a:pt x="250" y="214"/>
                  <a:pt x="252" y="214"/>
                </a:cubicBezTo>
                <a:cubicBezTo>
                  <a:pt x="252" y="215"/>
                  <a:pt x="251" y="216"/>
                  <a:pt x="252" y="216"/>
                </a:cubicBezTo>
                <a:cubicBezTo>
                  <a:pt x="252" y="217"/>
                  <a:pt x="253" y="216"/>
                  <a:pt x="254" y="216"/>
                </a:cubicBezTo>
                <a:cubicBezTo>
                  <a:pt x="254" y="216"/>
                  <a:pt x="254" y="214"/>
                  <a:pt x="254" y="214"/>
                </a:cubicBezTo>
                <a:cubicBezTo>
                  <a:pt x="256" y="212"/>
                  <a:pt x="259" y="212"/>
                  <a:pt x="262" y="212"/>
                </a:cubicBezTo>
                <a:cubicBezTo>
                  <a:pt x="262" y="210"/>
                  <a:pt x="262" y="210"/>
                  <a:pt x="262" y="210"/>
                </a:cubicBezTo>
                <a:cubicBezTo>
                  <a:pt x="258" y="210"/>
                  <a:pt x="262" y="210"/>
                  <a:pt x="260" y="209"/>
                </a:cubicBezTo>
                <a:cubicBezTo>
                  <a:pt x="261" y="209"/>
                  <a:pt x="269" y="210"/>
                  <a:pt x="266" y="208"/>
                </a:cubicBezTo>
                <a:cubicBezTo>
                  <a:pt x="263" y="207"/>
                  <a:pt x="263" y="207"/>
                  <a:pt x="263" y="204"/>
                </a:cubicBezTo>
                <a:cubicBezTo>
                  <a:pt x="261" y="203"/>
                  <a:pt x="262" y="205"/>
                  <a:pt x="260" y="204"/>
                </a:cubicBezTo>
                <a:cubicBezTo>
                  <a:pt x="260" y="204"/>
                  <a:pt x="259" y="202"/>
                  <a:pt x="258" y="202"/>
                </a:cubicBezTo>
                <a:close/>
                <a:moveTo>
                  <a:pt x="260" y="192"/>
                </a:moveTo>
                <a:cubicBezTo>
                  <a:pt x="259" y="194"/>
                  <a:pt x="256" y="199"/>
                  <a:pt x="260" y="198"/>
                </a:cubicBezTo>
                <a:cubicBezTo>
                  <a:pt x="260" y="198"/>
                  <a:pt x="261" y="197"/>
                  <a:pt x="261" y="196"/>
                </a:cubicBezTo>
                <a:cubicBezTo>
                  <a:pt x="262" y="196"/>
                  <a:pt x="262" y="197"/>
                  <a:pt x="263" y="196"/>
                </a:cubicBezTo>
                <a:cubicBezTo>
                  <a:pt x="262" y="197"/>
                  <a:pt x="264" y="198"/>
                  <a:pt x="264" y="198"/>
                </a:cubicBezTo>
                <a:cubicBezTo>
                  <a:pt x="265" y="198"/>
                  <a:pt x="265" y="197"/>
                  <a:pt x="266" y="197"/>
                </a:cubicBezTo>
                <a:cubicBezTo>
                  <a:pt x="263" y="194"/>
                  <a:pt x="263" y="194"/>
                  <a:pt x="263" y="194"/>
                </a:cubicBezTo>
                <a:cubicBezTo>
                  <a:pt x="263" y="194"/>
                  <a:pt x="263" y="193"/>
                  <a:pt x="263" y="192"/>
                </a:cubicBezTo>
                <a:cubicBezTo>
                  <a:pt x="262" y="192"/>
                  <a:pt x="261" y="193"/>
                  <a:pt x="260" y="192"/>
                </a:cubicBezTo>
                <a:close/>
                <a:moveTo>
                  <a:pt x="145" y="166"/>
                </a:moveTo>
                <a:cubicBezTo>
                  <a:pt x="144" y="166"/>
                  <a:pt x="142" y="168"/>
                  <a:pt x="142" y="169"/>
                </a:cubicBezTo>
                <a:cubicBezTo>
                  <a:pt x="140" y="169"/>
                  <a:pt x="137" y="169"/>
                  <a:pt x="135" y="169"/>
                </a:cubicBezTo>
                <a:cubicBezTo>
                  <a:pt x="135" y="170"/>
                  <a:pt x="135" y="171"/>
                  <a:pt x="136" y="172"/>
                </a:cubicBezTo>
                <a:cubicBezTo>
                  <a:pt x="136" y="172"/>
                  <a:pt x="144" y="175"/>
                  <a:pt x="144" y="175"/>
                </a:cubicBezTo>
                <a:cubicBezTo>
                  <a:pt x="145" y="173"/>
                  <a:pt x="145" y="173"/>
                  <a:pt x="145" y="173"/>
                </a:cubicBezTo>
                <a:cubicBezTo>
                  <a:pt x="147" y="172"/>
                  <a:pt x="148" y="172"/>
                  <a:pt x="150" y="171"/>
                </a:cubicBezTo>
                <a:cubicBezTo>
                  <a:pt x="149" y="168"/>
                  <a:pt x="149" y="165"/>
                  <a:pt x="145" y="166"/>
                </a:cubicBezTo>
                <a:close/>
                <a:moveTo>
                  <a:pt x="107" y="116"/>
                </a:moveTo>
                <a:cubicBezTo>
                  <a:pt x="106" y="116"/>
                  <a:pt x="105" y="119"/>
                  <a:pt x="105" y="119"/>
                </a:cubicBezTo>
                <a:cubicBezTo>
                  <a:pt x="104" y="119"/>
                  <a:pt x="99" y="118"/>
                  <a:pt x="99" y="118"/>
                </a:cubicBezTo>
                <a:cubicBezTo>
                  <a:pt x="98" y="118"/>
                  <a:pt x="98" y="118"/>
                  <a:pt x="97" y="117"/>
                </a:cubicBezTo>
                <a:cubicBezTo>
                  <a:pt x="97" y="118"/>
                  <a:pt x="96" y="119"/>
                  <a:pt x="96" y="119"/>
                </a:cubicBezTo>
                <a:cubicBezTo>
                  <a:pt x="96" y="120"/>
                  <a:pt x="97" y="123"/>
                  <a:pt x="97" y="123"/>
                </a:cubicBezTo>
                <a:cubicBezTo>
                  <a:pt x="101" y="122"/>
                  <a:pt x="107" y="120"/>
                  <a:pt x="111" y="123"/>
                </a:cubicBezTo>
                <a:cubicBezTo>
                  <a:pt x="112" y="123"/>
                  <a:pt x="112" y="125"/>
                  <a:pt x="113" y="125"/>
                </a:cubicBezTo>
                <a:cubicBezTo>
                  <a:pt x="114" y="126"/>
                  <a:pt x="115" y="125"/>
                  <a:pt x="116" y="127"/>
                </a:cubicBezTo>
                <a:cubicBezTo>
                  <a:pt x="116" y="127"/>
                  <a:pt x="116" y="129"/>
                  <a:pt x="116" y="129"/>
                </a:cubicBezTo>
                <a:cubicBezTo>
                  <a:pt x="116" y="129"/>
                  <a:pt x="118" y="129"/>
                  <a:pt x="119" y="129"/>
                </a:cubicBezTo>
                <a:cubicBezTo>
                  <a:pt x="119" y="129"/>
                  <a:pt x="119" y="127"/>
                  <a:pt x="119" y="126"/>
                </a:cubicBezTo>
                <a:cubicBezTo>
                  <a:pt x="119" y="126"/>
                  <a:pt x="120" y="126"/>
                  <a:pt x="121" y="126"/>
                </a:cubicBezTo>
                <a:cubicBezTo>
                  <a:pt x="121" y="126"/>
                  <a:pt x="121" y="124"/>
                  <a:pt x="122" y="124"/>
                </a:cubicBezTo>
                <a:cubicBezTo>
                  <a:pt x="118" y="123"/>
                  <a:pt x="115" y="123"/>
                  <a:pt x="113" y="121"/>
                </a:cubicBezTo>
                <a:cubicBezTo>
                  <a:pt x="112" y="119"/>
                  <a:pt x="110" y="115"/>
                  <a:pt x="107" y="116"/>
                </a:cubicBezTo>
                <a:close/>
                <a:moveTo>
                  <a:pt x="176" y="74"/>
                </a:moveTo>
                <a:cubicBezTo>
                  <a:pt x="176" y="74"/>
                  <a:pt x="176" y="75"/>
                  <a:pt x="176" y="75"/>
                </a:cubicBezTo>
                <a:cubicBezTo>
                  <a:pt x="178" y="76"/>
                  <a:pt x="177" y="74"/>
                  <a:pt x="176" y="74"/>
                </a:cubicBezTo>
                <a:close/>
                <a:moveTo>
                  <a:pt x="358" y="22"/>
                </a:moveTo>
                <a:cubicBezTo>
                  <a:pt x="358" y="22"/>
                  <a:pt x="357" y="20"/>
                  <a:pt x="357" y="20"/>
                </a:cubicBezTo>
                <a:cubicBezTo>
                  <a:pt x="355" y="19"/>
                  <a:pt x="354" y="19"/>
                  <a:pt x="351" y="18"/>
                </a:cubicBezTo>
                <a:cubicBezTo>
                  <a:pt x="351" y="17"/>
                  <a:pt x="351" y="17"/>
                  <a:pt x="351" y="17"/>
                </a:cubicBezTo>
                <a:cubicBezTo>
                  <a:pt x="348" y="17"/>
                  <a:pt x="347" y="19"/>
                  <a:pt x="344" y="18"/>
                </a:cubicBezTo>
                <a:cubicBezTo>
                  <a:pt x="343" y="18"/>
                  <a:pt x="342" y="16"/>
                  <a:pt x="342" y="16"/>
                </a:cubicBezTo>
                <a:cubicBezTo>
                  <a:pt x="342" y="16"/>
                  <a:pt x="340" y="16"/>
                  <a:pt x="340" y="16"/>
                </a:cubicBezTo>
                <a:cubicBezTo>
                  <a:pt x="340" y="17"/>
                  <a:pt x="339" y="18"/>
                  <a:pt x="339" y="19"/>
                </a:cubicBezTo>
                <a:cubicBezTo>
                  <a:pt x="340" y="20"/>
                  <a:pt x="337" y="20"/>
                  <a:pt x="337" y="20"/>
                </a:cubicBezTo>
                <a:cubicBezTo>
                  <a:pt x="337" y="20"/>
                  <a:pt x="336" y="18"/>
                  <a:pt x="335" y="18"/>
                </a:cubicBezTo>
                <a:cubicBezTo>
                  <a:pt x="334" y="18"/>
                  <a:pt x="334" y="20"/>
                  <a:pt x="333" y="20"/>
                </a:cubicBezTo>
                <a:cubicBezTo>
                  <a:pt x="332" y="20"/>
                  <a:pt x="332" y="18"/>
                  <a:pt x="332" y="18"/>
                </a:cubicBezTo>
                <a:cubicBezTo>
                  <a:pt x="327" y="17"/>
                  <a:pt x="325" y="17"/>
                  <a:pt x="321" y="17"/>
                </a:cubicBezTo>
                <a:cubicBezTo>
                  <a:pt x="320" y="15"/>
                  <a:pt x="320" y="15"/>
                  <a:pt x="320" y="15"/>
                </a:cubicBezTo>
                <a:cubicBezTo>
                  <a:pt x="317" y="14"/>
                  <a:pt x="316" y="16"/>
                  <a:pt x="314" y="16"/>
                </a:cubicBezTo>
                <a:cubicBezTo>
                  <a:pt x="309" y="16"/>
                  <a:pt x="306" y="14"/>
                  <a:pt x="301" y="15"/>
                </a:cubicBezTo>
                <a:cubicBezTo>
                  <a:pt x="300" y="14"/>
                  <a:pt x="300" y="14"/>
                  <a:pt x="300" y="14"/>
                </a:cubicBezTo>
                <a:cubicBezTo>
                  <a:pt x="298" y="13"/>
                  <a:pt x="298" y="15"/>
                  <a:pt x="296" y="14"/>
                </a:cubicBezTo>
                <a:cubicBezTo>
                  <a:pt x="295" y="14"/>
                  <a:pt x="293" y="11"/>
                  <a:pt x="292" y="11"/>
                </a:cubicBezTo>
                <a:cubicBezTo>
                  <a:pt x="291" y="11"/>
                  <a:pt x="291" y="12"/>
                  <a:pt x="289" y="12"/>
                </a:cubicBezTo>
                <a:cubicBezTo>
                  <a:pt x="289" y="10"/>
                  <a:pt x="289" y="10"/>
                  <a:pt x="289" y="10"/>
                </a:cubicBezTo>
                <a:cubicBezTo>
                  <a:pt x="286" y="10"/>
                  <a:pt x="285" y="12"/>
                  <a:pt x="283" y="12"/>
                </a:cubicBezTo>
                <a:cubicBezTo>
                  <a:pt x="282" y="13"/>
                  <a:pt x="281" y="12"/>
                  <a:pt x="279" y="12"/>
                </a:cubicBezTo>
                <a:cubicBezTo>
                  <a:pt x="279" y="12"/>
                  <a:pt x="278" y="14"/>
                  <a:pt x="277" y="14"/>
                </a:cubicBezTo>
                <a:cubicBezTo>
                  <a:pt x="276" y="14"/>
                  <a:pt x="272" y="11"/>
                  <a:pt x="270" y="11"/>
                </a:cubicBezTo>
                <a:cubicBezTo>
                  <a:pt x="269" y="11"/>
                  <a:pt x="267" y="11"/>
                  <a:pt x="266" y="11"/>
                </a:cubicBezTo>
                <a:cubicBezTo>
                  <a:pt x="265" y="10"/>
                  <a:pt x="265" y="10"/>
                  <a:pt x="265" y="10"/>
                </a:cubicBezTo>
                <a:cubicBezTo>
                  <a:pt x="263" y="9"/>
                  <a:pt x="261" y="10"/>
                  <a:pt x="260" y="10"/>
                </a:cubicBezTo>
                <a:cubicBezTo>
                  <a:pt x="260" y="8"/>
                  <a:pt x="260" y="8"/>
                  <a:pt x="260" y="8"/>
                </a:cubicBezTo>
                <a:cubicBezTo>
                  <a:pt x="262" y="9"/>
                  <a:pt x="260" y="7"/>
                  <a:pt x="260" y="7"/>
                </a:cubicBezTo>
                <a:cubicBezTo>
                  <a:pt x="260" y="7"/>
                  <a:pt x="256" y="6"/>
                  <a:pt x="256" y="6"/>
                </a:cubicBezTo>
                <a:cubicBezTo>
                  <a:pt x="253" y="6"/>
                  <a:pt x="248" y="9"/>
                  <a:pt x="245" y="8"/>
                </a:cubicBezTo>
                <a:cubicBezTo>
                  <a:pt x="242" y="8"/>
                  <a:pt x="243" y="6"/>
                  <a:pt x="242" y="4"/>
                </a:cubicBezTo>
                <a:cubicBezTo>
                  <a:pt x="240" y="4"/>
                  <a:pt x="240" y="5"/>
                  <a:pt x="240" y="6"/>
                </a:cubicBezTo>
                <a:cubicBezTo>
                  <a:pt x="239" y="6"/>
                  <a:pt x="238" y="5"/>
                  <a:pt x="237" y="6"/>
                </a:cubicBezTo>
                <a:cubicBezTo>
                  <a:pt x="236" y="6"/>
                  <a:pt x="234" y="8"/>
                  <a:pt x="233" y="8"/>
                </a:cubicBezTo>
                <a:cubicBezTo>
                  <a:pt x="233" y="6"/>
                  <a:pt x="233" y="5"/>
                  <a:pt x="234" y="3"/>
                </a:cubicBezTo>
                <a:cubicBezTo>
                  <a:pt x="231" y="2"/>
                  <a:pt x="226" y="0"/>
                  <a:pt x="223" y="0"/>
                </a:cubicBezTo>
                <a:cubicBezTo>
                  <a:pt x="222" y="2"/>
                  <a:pt x="222" y="2"/>
                  <a:pt x="222" y="2"/>
                </a:cubicBezTo>
                <a:cubicBezTo>
                  <a:pt x="220" y="3"/>
                  <a:pt x="215" y="7"/>
                  <a:pt x="212" y="8"/>
                </a:cubicBezTo>
                <a:cubicBezTo>
                  <a:pt x="210" y="8"/>
                  <a:pt x="208" y="7"/>
                  <a:pt x="206" y="8"/>
                </a:cubicBezTo>
                <a:cubicBezTo>
                  <a:pt x="205" y="8"/>
                  <a:pt x="204" y="9"/>
                  <a:pt x="204" y="10"/>
                </a:cubicBezTo>
                <a:cubicBezTo>
                  <a:pt x="203" y="8"/>
                  <a:pt x="203" y="8"/>
                  <a:pt x="202" y="7"/>
                </a:cubicBezTo>
                <a:cubicBezTo>
                  <a:pt x="201" y="8"/>
                  <a:pt x="201" y="9"/>
                  <a:pt x="200" y="10"/>
                </a:cubicBezTo>
                <a:cubicBezTo>
                  <a:pt x="199" y="10"/>
                  <a:pt x="199" y="10"/>
                  <a:pt x="199" y="10"/>
                </a:cubicBezTo>
                <a:cubicBezTo>
                  <a:pt x="199" y="10"/>
                  <a:pt x="198" y="9"/>
                  <a:pt x="197" y="10"/>
                </a:cubicBezTo>
                <a:cubicBezTo>
                  <a:pt x="197" y="10"/>
                  <a:pt x="197" y="12"/>
                  <a:pt x="197" y="12"/>
                </a:cubicBezTo>
                <a:cubicBezTo>
                  <a:pt x="196" y="12"/>
                  <a:pt x="195" y="13"/>
                  <a:pt x="194" y="13"/>
                </a:cubicBezTo>
                <a:cubicBezTo>
                  <a:pt x="192" y="14"/>
                  <a:pt x="189" y="12"/>
                  <a:pt x="187" y="13"/>
                </a:cubicBezTo>
                <a:cubicBezTo>
                  <a:pt x="186" y="13"/>
                  <a:pt x="185" y="15"/>
                  <a:pt x="184" y="16"/>
                </a:cubicBezTo>
                <a:cubicBezTo>
                  <a:pt x="183" y="16"/>
                  <a:pt x="182" y="15"/>
                  <a:pt x="182" y="16"/>
                </a:cubicBezTo>
                <a:cubicBezTo>
                  <a:pt x="180" y="17"/>
                  <a:pt x="180" y="20"/>
                  <a:pt x="178" y="22"/>
                </a:cubicBezTo>
                <a:cubicBezTo>
                  <a:pt x="177" y="23"/>
                  <a:pt x="175" y="22"/>
                  <a:pt x="174" y="24"/>
                </a:cubicBezTo>
                <a:cubicBezTo>
                  <a:pt x="174" y="25"/>
                  <a:pt x="174" y="27"/>
                  <a:pt x="174" y="29"/>
                </a:cubicBezTo>
                <a:cubicBezTo>
                  <a:pt x="173" y="30"/>
                  <a:pt x="171" y="31"/>
                  <a:pt x="171" y="32"/>
                </a:cubicBezTo>
                <a:cubicBezTo>
                  <a:pt x="170" y="34"/>
                  <a:pt x="170" y="37"/>
                  <a:pt x="170" y="39"/>
                </a:cubicBezTo>
                <a:cubicBezTo>
                  <a:pt x="166" y="39"/>
                  <a:pt x="163" y="41"/>
                  <a:pt x="160" y="42"/>
                </a:cubicBezTo>
                <a:cubicBezTo>
                  <a:pt x="158" y="42"/>
                  <a:pt x="157" y="40"/>
                  <a:pt x="155" y="41"/>
                </a:cubicBezTo>
                <a:cubicBezTo>
                  <a:pt x="154" y="42"/>
                  <a:pt x="154" y="42"/>
                  <a:pt x="154" y="42"/>
                </a:cubicBezTo>
                <a:cubicBezTo>
                  <a:pt x="150" y="43"/>
                  <a:pt x="147" y="42"/>
                  <a:pt x="144" y="42"/>
                </a:cubicBezTo>
                <a:cubicBezTo>
                  <a:pt x="144" y="45"/>
                  <a:pt x="145" y="47"/>
                  <a:pt x="145" y="50"/>
                </a:cubicBezTo>
                <a:cubicBezTo>
                  <a:pt x="144" y="51"/>
                  <a:pt x="144" y="50"/>
                  <a:pt x="143" y="52"/>
                </a:cubicBezTo>
                <a:cubicBezTo>
                  <a:pt x="142" y="51"/>
                  <a:pt x="143" y="51"/>
                  <a:pt x="141" y="52"/>
                </a:cubicBezTo>
                <a:cubicBezTo>
                  <a:pt x="143" y="52"/>
                  <a:pt x="145" y="52"/>
                  <a:pt x="147" y="53"/>
                </a:cubicBezTo>
                <a:cubicBezTo>
                  <a:pt x="148" y="53"/>
                  <a:pt x="148" y="56"/>
                  <a:pt x="150" y="56"/>
                </a:cubicBezTo>
                <a:cubicBezTo>
                  <a:pt x="152" y="57"/>
                  <a:pt x="152" y="56"/>
                  <a:pt x="154" y="57"/>
                </a:cubicBezTo>
                <a:cubicBezTo>
                  <a:pt x="155" y="58"/>
                  <a:pt x="159" y="62"/>
                  <a:pt x="160" y="63"/>
                </a:cubicBezTo>
                <a:cubicBezTo>
                  <a:pt x="162" y="63"/>
                  <a:pt x="163" y="62"/>
                  <a:pt x="164" y="63"/>
                </a:cubicBezTo>
                <a:cubicBezTo>
                  <a:pt x="164" y="63"/>
                  <a:pt x="166" y="65"/>
                  <a:pt x="164" y="64"/>
                </a:cubicBezTo>
                <a:cubicBezTo>
                  <a:pt x="165" y="65"/>
                  <a:pt x="165" y="69"/>
                  <a:pt x="165" y="69"/>
                </a:cubicBezTo>
                <a:cubicBezTo>
                  <a:pt x="167" y="69"/>
                  <a:pt x="168" y="70"/>
                  <a:pt x="170" y="70"/>
                </a:cubicBezTo>
                <a:cubicBezTo>
                  <a:pt x="170" y="68"/>
                  <a:pt x="170" y="68"/>
                  <a:pt x="170" y="68"/>
                </a:cubicBezTo>
                <a:cubicBezTo>
                  <a:pt x="171" y="68"/>
                  <a:pt x="173" y="67"/>
                  <a:pt x="174" y="67"/>
                </a:cubicBezTo>
                <a:cubicBezTo>
                  <a:pt x="174" y="68"/>
                  <a:pt x="174" y="68"/>
                  <a:pt x="174" y="68"/>
                </a:cubicBezTo>
                <a:cubicBezTo>
                  <a:pt x="175" y="68"/>
                  <a:pt x="175" y="69"/>
                  <a:pt x="176" y="70"/>
                </a:cubicBezTo>
                <a:cubicBezTo>
                  <a:pt x="178" y="70"/>
                  <a:pt x="181" y="69"/>
                  <a:pt x="182" y="68"/>
                </a:cubicBezTo>
                <a:cubicBezTo>
                  <a:pt x="182" y="68"/>
                  <a:pt x="183" y="72"/>
                  <a:pt x="182" y="71"/>
                </a:cubicBezTo>
                <a:cubicBezTo>
                  <a:pt x="181" y="71"/>
                  <a:pt x="181" y="72"/>
                  <a:pt x="180" y="72"/>
                </a:cubicBezTo>
                <a:cubicBezTo>
                  <a:pt x="180" y="74"/>
                  <a:pt x="180" y="74"/>
                  <a:pt x="180" y="74"/>
                </a:cubicBezTo>
                <a:cubicBezTo>
                  <a:pt x="182" y="75"/>
                  <a:pt x="182" y="74"/>
                  <a:pt x="183" y="74"/>
                </a:cubicBezTo>
                <a:cubicBezTo>
                  <a:pt x="184" y="75"/>
                  <a:pt x="184" y="75"/>
                  <a:pt x="184" y="75"/>
                </a:cubicBezTo>
                <a:cubicBezTo>
                  <a:pt x="186" y="76"/>
                  <a:pt x="189" y="75"/>
                  <a:pt x="192" y="75"/>
                </a:cubicBezTo>
                <a:cubicBezTo>
                  <a:pt x="192" y="75"/>
                  <a:pt x="191" y="78"/>
                  <a:pt x="192" y="78"/>
                </a:cubicBezTo>
                <a:cubicBezTo>
                  <a:pt x="189" y="78"/>
                  <a:pt x="175" y="78"/>
                  <a:pt x="182" y="81"/>
                </a:cubicBezTo>
                <a:cubicBezTo>
                  <a:pt x="182" y="81"/>
                  <a:pt x="183" y="80"/>
                  <a:pt x="184" y="80"/>
                </a:cubicBezTo>
                <a:cubicBezTo>
                  <a:pt x="187" y="81"/>
                  <a:pt x="185" y="82"/>
                  <a:pt x="186" y="85"/>
                </a:cubicBezTo>
                <a:cubicBezTo>
                  <a:pt x="182" y="84"/>
                  <a:pt x="182" y="83"/>
                  <a:pt x="180" y="87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76" y="85"/>
                  <a:pt x="171" y="86"/>
                  <a:pt x="166" y="85"/>
                </a:cubicBezTo>
                <a:cubicBezTo>
                  <a:pt x="166" y="85"/>
                  <a:pt x="166" y="83"/>
                  <a:pt x="165" y="83"/>
                </a:cubicBezTo>
                <a:cubicBezTo>
                  <a:pt x="164" y="82"/>
                  <a:pt x="163" y="83"/>
                  <a:pt x="162" y="83"/>
                </a:cubicBezTo>
                <a:cubicBezTo>
                  <a:pt x="162" y="81"/>
                  <a:pt x="162" y="82"/>
                  <a:pt x="164" y="81"/>
                </a:cubicBezTo>
                <a:cubicBezTo>
                  <a:pt x="163" y="79"/>
                  <a:pt x="164" y="77"/>
                  <a:pt x="163" y="75"/>
                </a:cubicBezTo>
                <a:cubicBezTo>
                  <a:pt x="163" y="75"/>
                  <a:pt x="162" y="74"/>
                  <a:pt x="162" y="74"/>
                </a:cubicBezTo>
                <a:cubicBezTo>
                  <a:pt x="161" y="74"/>
                  <a:pt x="159" y="73"/>
                  <a:pt x="158" y="74"/>
                </a:cubicBezTo>
                <a:cubicBezTo>
                  <a:pt x="157" y="74"/>
                  <a:pt x="157" y="75"/>
                  <a:pt x="156" y="75"/>
                </a:cubicBezTo>
                <a:cubicBezTo>
                  <a:pt x="154" y="77"/>
                  <a:pt x="149" y="78"/>
                  <a:pt x="147" y="79"/>
                </a:cubicBezTo>
                <a:cubicBezTo>
                  <a:pt x="147" y="80"/>
                  <a:pt x="147" y="83"/>
                  <a:pt x="147" y="83"/>
                </a:cubicBezTo>
                <a:cubicBezTo>
                  <a:pt x="146" y="84"/>
                  <a:pt x="146" y="83"/>
                  <a:pt x="145" y="84"/>
                </a:cubicBezTo>
                <a:cubicBezTo>
                  <a:pt x="141" y="83"/>
                  <a:pt x="138" y="83"/>
                  <a:pt x="134" y="85"/>
                </a:cubicBezTo>
                <a:cubicBezTo>
                  <a:pt x="133" y="86"/>
                  <a:pt x="131" y="88"/>
                  <a:pt x="130" y="89"/>
                </a:cubicBezTo>
                <a:cubicBezTo>
                  <a:pt x="130" y="91"/>
                  <a:pt x="130" y="91"/>
                  <a:pt x="130" y="91"/>
                </a:cubicBezTo>
                <a:cubicBezTo>
                  <a:pt x="135" y="91"/>
                  <a:pt x="135" y="92"/>
                  <a:pt x="139" y="93"/>
                </a:cubicBezTo>
                <a:cubicBezTo>
                  <a:pt x="140" y="93"/>
                  <a:pt x="142" y="93"/>
                  <a:pt x="143" y="93"/>
                </a:cubicBezTo>
                <a:cubicBezTo>
                  <a:pt x="143" y="95"/>
                  <a:pt x="143" y="95"/>
                  <a:pt x="143" y="95"/>
                </a:cubicBezTo>
                <a:cubicBezTo>
                  <a:pt x="140" y="95"/>
                  <a:pt x="139" y="95"/>
                  <a:pt x="137" y="96"/>
                </a:cubicBezTo>
                <a:cubicBezTo>
                  <a:pt x="137" y="96"/>
                  <a:pt x="137" y="98"/>
                  <a:pt x="138" y="97"/>
                </a:cubicBezTo>
                <a:cubicBezTo>
                  <a:pt x="139" y="98"/>
                  <a:pt x="141" y="99"/>
                  <a:pt x="141" y="100"/>
                </a:cubicBezTo>
                <a:cubicBezTo>
                  <a:pt x="142" y="101"/>
                  <a:pt x="142" y="103"/>
                  <a:pt x="143" y="104"/>
                </a:cubicBezTo>
                <a:cubicBezTo>
                  <a:pt x="152" y="107"/>
                  <a:pt x="152" y="107"/>
                  <a:pt x="152" y="107"/>
                </a:cubicBezTo>
                <a:cubicBezTo>
                  <a:pt x="154" y="107"/>
                  <a:pt x="154" y="105"/>
                  <a:pt x="155" y="105"/>
                </a:cubicBezTo>
                <a:cubicBezTo>
                  <a:pt x="159" y="104"/>
                  <a:pt x="165" y="104"/>
                  <a:pt x="168" y="104"/>
                </a:cubicBezTo>
                <a:cubicBezTo>
                  <a:pt x="169" y="103"/>
                  <a:pt x="168" y="103"/>
                  <a:pt x="169" y="102"/>
                </a:cubicBezTo>
                <a:cubicBezTo>
                  <a:pt x="170" y="103"/>
                  <a:pt x="172" y="105"/>
                  <a:pt x="172" y="105"/>
                </a:cubicBezTo>
                <a:cubicBezTo>
                  <a:pt x="173" y="106"/>
                  <a:pt x="172" y="107"/>
                  <a:pt x="172" y="107"/>
                </a:cubicBezTo>
                <a:cubicBezTo>
                  <a:pt x="173" y="108"/>
                  <a:pt x="174" y="108"/>
                  <a:pt x="174" y="108"/>
                </a:cubicBezTo>
                <a:cubicBezTo>
                  <a:pt x="175" y="108"/>
                  <a:pt x="177" y="104"/>
                  <a:pt x="178" y="104"/>
                </a:cubicBezTo>
                <a:cubicBezTo>
                  <a:pt x="182" y="103"/>
                  <a:pt x="188" y="103"/>
                  <a:pt x="191" y="103"/>
                </a:cubicBezTo>
                <a:cubicBezTo>
                  <a:pt x="191" y="104"/>
                  <a:pt x="191" y="105"/>
                  <a:pt x="191" y="106"/>
                </a:cubicBezTo>
                <a:cubicBezTo>
                  <a:pt x="191" y="107"/>
                  <a:pt x="189" y="107"/>
                  <a:pt x="188" y="108"/>
                </a:cubicBezTo>
                <a:cubicBezTo>
                  <a:pt x="188" y="110"/>
                  <a:pt x="190" y="113"/>
                  <a:pt x="190" y="115"/>
                </a:cubicBezTo>
                <a:cubicBezTo>
                  <a:pt x="191" y="117"/>
                  <a:pt x="190" y="119"/>
                  <a:pt x="190" y="121"/>
                </a:cubicBezTo>
                <a:cubicBezTo>
                  <a:pt x="188" y="121"/>
                  <a:pt x="185" y="123"/>
                  <a:pt x="183" y="123"/>
                </a:cubicBezTo>
                <a:cubicBezTo>
                  <a:pt x="181" y="123"/>
                  <a:pt x="181" y="122"/>
                  <a:pt x="179" y="123"/>
                </a:cubicBezTo>
                <a:cubicBezTo>
                  <a:pt x="179" y="123"/>
                  <a:pt x="179" y="124"/>
                  <a:pt x="178" y="125"/>
                </a:cubicBezTo>
                <a:cubicBezTo>
                  <a:pt x="177" y="126"/>
                  <a:pt x="172" y="129"/>
                  <a:pt x="168" y="128"/>
                </a:cubicBezTo>
                <a:cubicBezTo>
                  <a:pt x="166" y="127"/>
                  <a:pt x="166" y="124"/>
                  <a:pt x="162" y="124"/>
                </a:cubicBezTo>
                <a:cubicBezTo>
                  <a:pt x="161" y="124"/>
                  <a:pt x="159" y="126"/>
                  <a:pt x="158" y="127"/>
                </a:cubicBezTo>
                <a:cubicBezTo>
                  <a:pt x="158" y="127"/>
                  <a:pt x="158" y="129"/>
                  <a:pt x="158" y="128"/>
                </a:cubicBezTo>
                <a:cubicBezTo>
                  <a:pt x="159" y="128"/>
                  <a:pt x="158" y="129"/>
                  <a:pt x="159" y="129"/>
                </a:cubicBezTo>
                <a:cubicBezTo>
                  <a:pt x="160" y="131"/>
                  <a:pt x="161" y="132"/>
                  <a:pt x="161" y="136"/>
                </a:cubicBezTo>
                <a:cubicBezTo>
                  <a:pt x="160" y="135"/>
                  <a:pt x="161" y="135"/>
                  <a:pt x="160" y="134"/>
                </a:cubicBezTo>
                <a:cubicBezTo>
                  <a:pt x="159" y="134"/>
                  <a:pt x="158" y="134"/>
                  <a:pt x="157" y="133"/>
                </a:cubicBezTo>
                <a:cubicBezTo>
                  <a:pt x="156" y="138"/>
                  <a:pt x="156" y="138"/>
                  <a:pt x="156" y="138"/>
                </a:cubicBezTo>
                <a:cubicBezTo>
                  <a:pt x="156" y="138"/>
                  <a:pt x="154" y="138"/>
                  <a:pt x="154" y="138"/>
                </a:cubicBezTo>
                <a:cubicBezTo>
                  <a:pt x="153" y="138"/>
                  <a:pt x="149" y="141"/>
                  <a:pt x="149" y="142"/>
                </a:cubicBezTo>
                <a:cubicBezTo>
                  <a:pt x="149" y="143"/>
                  <a:pt x="150" y="145"/>
                  <a:pt x="149" y="146"/>
                </a:cubicBezTo>
                <a:cubicBezTo>
                  <a:pt x="149" y="146"/>
                  <a:pt x="146" y="147"/>
                  <a:pt x="146" y="147"/>
                </a:cubicBezTo>
                <a:cubicBezTo>
                  <a:pt x="146" y="147"/>
                  <a:pt x="145" y="150"/>
                  <a:pt x="145" y="150"/>
                </a:cubicBezTo>
                <a:cubicBezTo>
                  <a:pt x="146" y="150"/>
                  <a:pt x="147" y="150"/>
                  <a:pt x="148" y="150"/>
                </a:cubicBezTo>
                <a:cubicBezTo>
                  <a:pt x="148" y="150"/>
                  <a:pt x="147" y="152"/>
                  <a:pt x="147" y="153"/>
                </a:cubicBezTo>
                <a:cubicBezTo>
                  <a:pt x="149" y="153"/>
                  <a:pt x="150" y="152"/>
                  <a:pt x="151" y="153"/>
                </a:cubicBezTo>
                <a:cubicBezTo>
                  <a:pt x="152" y="153"/>
                  <a:pt x="152" y="154"/>
                  <a:pt x="152" y="155"/>
                </a:cubicBezTo>
                <a:cubicBezTo>
                  <a:pt x="153" y="155"/>
                  <a:pt x="152" y="155"/>
                  <a:pt x="153" y="156"/>
                </a:cubicBezTo>
                <a:cubicBezTo>
                  <a:pt x="157" y="156"/>
                  <a:pt x="159" y="156"/>
                  <a:pt x="162" y="157"/>
                </a:cubicBezTo>
                <a:cubicBezTo>
                  <a:pt x="162" y="157"/>
                  <a:pt x="162" y="156"/>
                  <a:pt x="162" y="156"/>
                </a:cubicBezTo>
                <a:cubicBezTo>
                  <a:pt x="163" y="156"/>
                  <a:pt x="164" y="156"/>
                  <a:pt x="165" y="156"/>
                </a:cubicBezTo>
                <a:cubicBezTo>
                  <a:pt x="165" y="157"/>
                  <a:pt x="165" y="157"/>
                  <a:pt x="165" y="157"/>
                </a:cubicBezTo>
                <a:cubicBezTo>
                  <a:pt x="166" y="156"/>
                  <a:pt x="164" y="159"/>
                  <a:pt x="164" y="159"/>
                </a:cubicBezTo>
                <a:cubicBezTo>
                  <a:pt x="163" y="160"/>
                  <a:pt x="163" y="161"/>
                  <a:pt x="162" y="162"/>
                </a:cubicBezTo>
                <a:cubicBezTo>
                  <a:pt x="162" y="162"/>
                  <a:pt x="160" y="163"/>
                  <a:pt x="160" y="163"/>
                </a:cubicBezTo>
                <a:cubicBezTo>
                  <a:pt x="161" y="164"/>
                  <a:pt x="161" y="164"/>
                  <a:pt x="160" y="165"/>
                </a:cubicBezTo>
                <a:cubicBezTo>
                  <a:pt x="160" y="166"/>
                  <a:pt x="160" y="167"/>
                  <a:pt x="160" y="167"/>
                </a:cubicBezTo>
                <a:cubicBezTo>
                  <a:pt x="161" y="168"/>
                  <a:pt x="160" y="168"/>
                  <a:pt x="161" y="169"/>
                </a:cubicBezTo>
                <a:cubicBezTo>
                  <a:pt x="161" y="169"/>
                  <a:pt x="163" y="169"/>
                  <a:pt x="163" y="169"/>
                </a:cubicBezTo>
                <a:cubicBezTo>
                  <a:pt x="164" y="170"/>
                  <a:pt x="163" y="171"/>
                  <a:pt x="163" y="172"/>
                </a:cubicBezTo>
                <a:cubicBezTo>
                  <a:pt x="163" y="172"/>
                  <a:pt x="165" y="173"/>
                  <a:pt x="165" y="174"/>
                </a:cubicBezTo>
                <a:cubicBezTo>
                  <a:pt x="170" y="173"/>
                  <a:pt x="174" y="173"/>
                  <a:pt x="175" y="170"/>
                </a:cubicBezTo>
                <a:cubicBezTo>
                  <a:pt x="176" y="168"/>
                  <a:pt x="175" y="166"/>
                  <a:pt x="175" y="166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8" y="164"/>
                  <a:pt x="178" y="164"/>
                  <a:pt x="178" y="164"/>
                </a:cubicBezTo>
                <a:cubicBezTo>
                  <a:pt x="178" y="164"/>
                  <a:pt x="180" y="169"/>
                  <a:pt x="177" y="168"/>
                </a:cubicBezTo>
                <a:cubicBezTo>
                  <a:pt x="178" y="169"/>
                  <a:pt x="177" y="170"/>
                  <a:pt x="177" y="171"/>
                </a:cubicBezTo>
                <a:cubicBezTo>
                  <a:pt x="177" y="172"/>
                  <a:pt x="179" y="172"/>
                  <a:pt x="180" y="173"/>
                </a:cubicBezTo>
                <a:cubicBezTo>
                  <a:pt x="181" y="175"/>
                  <a:pt x="181" y="177"/>
                  <a:pt x="182" y="180"/>
                </a:cubicBezTo>
                <a:cubicBezTo>
                  <a:pt x="180" y="181"/>
                  <a:pt x="181" y="182"/>
                  <a:pt x="180" y="184"/>
                </a:cubicBezTo>
                <a:cubicBezTo>
                  <a:pt x="182" y="184"/>
                  <a:pt x="182" y="183"/>
                  <a:pt x="184" y="183"/>
                </a:cubicBezTo>
                <a:cubicBezTo>
                  <a:pt x="184" y="183"/>
                  <a:pt x="183" y="185"/>
                  <a:pt x="183" y="185"/>
                </a:cubicBezTo>
                <a:cubicBezTo>
                  <a:pt x="182" y="185"/>
                  <a:pt x="181" y="188"/>
                  <a:pt x="183" y="187"/>
                </a:cubicBezTo>
                <a:cubicBezTo>
                  <a:pt x="183" y="187"/>
                  <a:pt x="183" y="189"/>
                  <a:pt x="182" y="189"/>
                </a:cubicBezTo>
                <a:cubicBezTo>
                  <a:pt x="182" y="189"/>
                  <a:pt x="182" y="190"/>
                  <a:pt x="182" y="191"/>
                </a:cubicBezTo>
                <a:cubicBezTo>
                  <a:pt x="186" y="191"/>
                  <a:pt x="187" y="187"/>
                  <a:pt x="189" y="186"/>
                </a:cubicBezTo>
                <a:cubicBezTo>
                  <a:pt x="191" y="185"/>
                  <a:pt x="194" y="183"/>
                  <a:pt x="196" y="183"/>
                </a:cubicBezTo>
                <a:cubicBezTo>
                  <a:pt x="197" y="183"/>
                  <a:pt x="197" y="183"/>
                  <a:pt x="197" y="183"/>
                </a:cubicBezTo>
                <a:cubicBezTo>
                  <a:pt x="197" y="183"/>
                  <a:pt x="198" y="185"/>
                  <a:pt x="199" y="186"/>
                </a:cubicBezTo>
                <a:cubicBezTo>
                  <a:pt x="199" y="187"/>
                  <a:pt x="199" y="187"/>
                  <a:pt x="199" y="187"/>
                </a:cubicBezTo>
                <a:cubicBezTo>
                  <a:pt x="200" y="186"/>
                  <a:pt x="202" y="185"/>
                  <a:pt x="203" y="185"/>
                </a:cubicBezTo>
                <a:cubicBezTo>
                  <a:pt x="204" y="186"/>
                  <a:pt x="204" y="188"/>
                  <a:pt x="206" y="190"/>
                </a:cubicBezTo>
                <a:cubicBezTo>
                  <a:pt x="206" y="190"/>
                  <a:pt x="207" y="191"/>
                  <a:pt x="207" y="191"/>
                </a:cubicBezTo>
                <a:cubicBezTo>
                  <a:pt x="208" y="192"/>
                  <a:pt x="208" y="192"/>
                  <a:pt x="208" y="192"/>
                </a:cubicBezTo>
                <a:cubicBezTo>
                  <a:pt x="212" y="192"/>
                  <a:pt x="207" y="190"/>
                  <a:pt x="209" y="188"/>
                </a:cubicBezTo>
                <a:cubicBezTo>
                  <a:pt x="209" y="188"/>
                  <a:pt x="211" y="188"/>
                  <a:pt x="212" y="189"/>
                </a:cubicBezTo>
                <a:cubicBezTo>
                  <a:pt x="212" y="187"/>
                  <a:pt x="213" y="187"/>
                  <a:pt x="214" y="186"/>
                </a:cubicBezTo>
                <a:cubicBezTo>
                  <a:pt x="214" y="187"/>
                  <a:pt x="214" y="189"/>
                  <a:pt x="214" y="190"/>
                </a:cubicBezTo>
                <a:cubicBezTo>
                  <a:pt x="218" y="189"/>
                  <a:pt x="220" y="189"/>
                  <a:pt x="223" y="187"/>
                </a:cubicBezTo>
                <a:cubicBezTo>
                  <a:pt x="223" y="187"/>
                  <a:pt x="223" y="185"/>
                  <a:pt x="224" y="185"/>
                </a:cubicBezTo>
                <a:cubicBezTo>
                  <a:pt x="224" y="185"/>
                  <a:pt x="225" y="185"/>
                  <a:pt x="226" y="185"/>
                </a:cubicBezTo>
                <a:cubicBezTo>
                  <a:pt x="226" y="186"/>
                  <a:pt x="225" y="190"/>
                  <a:pt x="224" y="191"/>
                </a:cubicBezTo>
                <a:cubicBezTo>
                  <a:pt x="223" y="193"/>
                  <a:pt x="220" y="193"/>
                  <a:pt x="220" y="194"/>
                </a:cubicBezTo>
                <a:cubicBezTo>
                  <a:pt x="219" y="195"/>
                  <a:pt x="220" y="197"/>
                  <a:pt x="220" y="198"/>
                </a:cubicBezTo>
                <a:cubicBezTo>
                  <a:pt x="218" y="199"/>
                  <a:pt x="218" y="199"/>
                  <a:pt x="218" y="199"/>
                </a:cubicBezTo>
                <a:cubicBezTo>
                  <a:pt x="217" y="201"/>
                  <a:pt x="218" y="206"/>
                  <a:pt x="218" y="206"/>
                </a:cubicBezTo>
                <a:cubicBezTo>
                  <a:pt x="217" y="207"/>
                  <a:pt x="216" y="207"/>
                  <a:pt x="216" y="207"/>
                </a:cubicBezTo>
                <a:cubicBezTo>
                  <a:pt x="215" y="208"/>
                  <a:pt x="216" y="209"/>
                  <a:pt x="215" y="210"/>
                </a:cubicBezTo>
                <a:cubicBezTo>
                  <a:pt x="215" y="211"/>
                  <a:pt x="212" y="212"/>
                  <a:pt x="212" y="213"/>
                </a:cubicBezTo>
                <a:cubicBezTo>
                  <a:pt x="211" y="214"/>
                  <a:pt x="211" y="214"/>
                  <a:pt x="211" y="214"/>
                </a:cubicBezTo>
                <a:cubicBezTo>
                  <a:pt x="211" y="214"/>
                  <a:pt x="211" y="216"/>
                  <a:pt x="211" y="216"/>
                </a:cubicBezTo>
                <a:cubicBezTo>
                  <a:pt x="211" y="217"/>
                  <a:pt x="209" y="216"/>
                  <a:pt x="208" y="216"/>
                </a:cubicBezTo>
                <a:cubicBezTo>
                  <a:pt x="207" y="217"/>
                  <a:pt x="206" y="220"/>
                  <a:pt x="205" y="220"/>
                </a:cubicBezTo>
                <a:cubicBezTo>
                  <a:pt x="204" y="221"/>
                  <a:pt x="204" y="220"/>
                  <a:pt x="203" y="220"/>
                </a:cubicBezTo>
                <a:cubicBezTo>
                  <a:pt x="197" y="222"/>
                  <a:pt x="196" y="224"/>
                  <a:pt x="195" y="230"/>
                </a:cubicBezTo>
                <a:cubicBezTo>
                  <a:pt x="193" y="231"/>
                  <a:pt x="191" y="231"/>
                  <a:pt x="190" y="231"/>
                </a:cubicBezTo>
                <a:cubicBezTo>
                  <a:pt x="190" y="231"/>
                  <a:pt x="191" y="230"/>
                  <a:pt x="191" y="229"/>
                </a:cubicBezTo>
                <a:cubicBezTo>
                  <a:pt x="188" y="230"/>
                  <a:pt x="183" y="230"/>
                  <a:pt x="180" y="231"/>
                </a:cubicBezTo>
                <a:cubicBezTo>
                  <a:pt x="180" y="232"/>
                  <a:pt x="180" y="234"/>
                  <a:pt x="180" y="234"/>
                </a:cubicBezTo>
                <a:cubicBezTo>
                  <a:pt x="179" y="235"/>
                  <a:pt x="178" y="235"/>
                  <a:pt x="177" y="236"/>
                </a:cubicBezTo>
                <a:cubicBezTo>
                  <a:pt x="176" y="237"/>
                  <a:pt x="177" y="238"/>
                  <a:pt x="176" y="239"/>
                </a:cubicBezTo>
                <a:cubicBezTo>
                  <a:pt x="176" y="240"/>
                  <a:pt x="172" y="242"/>
                  <a:pt x="170" y="242"/>
                </a:cubicBezTo>
                <a:cubicBezTo>
                  <a:pt x="170" y="243"/>
                  <a:pt x="171" y="244"/>
                  <a:pt x="170" y="244"/>
                </a:cubicBezTo>
                <a:cubicBezTo>
                  <a:pt x="171" y="244"/>
                  <a:pt x="172" y="243"/>
                  <a:pt x="172" y="243"/>
                </a:cubicBezTo>
                <a:cubicBezTo>
                  <a:pt x="172" y="243"/>
                  <a:pt x="173" y="244"/>
                  <a:pt x="174" y="244"/>
                </a:cubicBezTo>
                <a:cubicBezTo>
                  <a:pt x="175" y="242"/>
                  <a:pt x="175" y="242"/>
                  <a:pt x="175" y="242"/>
                </a:cubicBezTo>
                <a:cubicBezTo>
                  <a:pt x="176" y="242"/>
                  <a:pt x="176" y="242"/>
                  <a:pt x="176" y="242"/>
                </a:cubicBezTo>
                <a:cubicBezTo>
                  <a:pt x="177" y="242"/>
                  <a:pt x="176" y="243"/>
                  <a:pt x="178" y="244"/>
                </a:cubicBezTo>
                <a:cubicBezTo>
                  <a:pt x="180" y="240"/>
                  <a:pt x="182" y="237"/>
                  <a:pt x="184" y="233"/>
                </a:cubicBezTo>
                <a:cubicBezTo>
                  <a:pt x="185" y="233"/>
                  <a:pt x="186" y="233"/>
                  <a:pt x="187" y="233"/>
                </a:cubicBezTo>
                <a:cubicBezTo>
                  <a:pt x="187" y="234"/>
                  <a:pt x="188" y="235"/>
                  <a:pt x="186" y="234"/>
                </a:cubicBezTo>
                <a:cubicBezTo>
                  <a:pt x="186" y="236"/>
                  <a:pt x="186" y="236"/>
                  <a:pt x="186" y="236"/>
                </a:cubicBezTo>
                <a:cubicBezTo>
                  <a:pt x="187" y="236"/>
                  <a:pt x="189" y="237"/>
                  <a:pt x="190" y="236"/>
                </a:cubicBezTo>
                <a:cubicBezTo>
                  <a:pt x="190" y="234"/>
                  <a:pt x="190" y="234"/>
                  <a:pt x="190" y="234"/>
                </a:cubicBezTo>
                <a:cubicBezTo>
                  <a:pt x="196" y="234"/>
                  <a:pt x="194" y="235"/>
                  <a:pt x="198" y="231"/>
                </a:cubicBezTo>
                <a:cubicBezTo>
                  <a:pt x="199" y="231"/>
                  <a:pt x="200" y="231"/>
                  <a:pt x="200" y="231"/>
                </a:cubicBezTo>
                <a:cubicBezTo>
                  <a:pt x="200" y="231"/>
                  <a:pt x="200" y="233"/>
                  <a:pt x="200" y="233"/>
                </a:cubicBezTo>
                <a:cubicBezTo>
                  <a:pt x="202" y="232"/>
                  <a:pt x="201" y="232"/>
                  <a:pt x="202" y="230"/>
                </a:cubicBezTo>
                <a:cubicBezTo>
                  <a:pt x="202" y="231"/>
                  <a:pt x="204" y="232"/>
                  <a:pt x="205" y="231"/>
                </a:cubicBezTo>
                <a:cubicBezTo>
                  <a:pt x="206" y="230"/>
                  <a:pt x="206" y="228"/>
                  <a:pt x="206" y="226"/>
                </a:cubicBezTo>
                <a:cubicBezTo>
                  <a:pt x="210" y="228"/>
                  <a:pt x="209" y="230"/>
                  <a:pt x="210" y="224"/>
                </a:cubicBezTo>
                <a:cubicBezTo>
                  <a:pt x="209" y="224"/>
                  <a:pt x="209" y="225"/>
                  <a:pt x="208" y="224"/>
                </a:cubicBezTo>
                <a:cubicBezTo>
                  <a:pt x="208" y="224"/>
                  <a:pt x="210" y="224"/>
                  <a:pt x="209" y="223"/>
                </a:cubicBezTo>
                <a:cubicBezTo>
                  <a:pt x="211" y="223"/>
                  <a:pt x="213" y="221"/>
                  <a:pt x="214" y="221"/>
                </a:cubicBezTo>
                <a:cubicBezTo>
                  <a:pt x="214" y="221"/>
                  <a:pt x="213" y="220"/>
                  <a:pt x="214" y="220"/>
                </a:cubicBezTo>
                <a:cubicBezTo>
                  <a:pt x="215" y="219"/>
                  <a:pt x="217" y="220"/>
                  <a:pt x="218" y="219"/>
                </a:cubicBezTo>
                <a:cubicBezTo>
                  <a:pt x="218" y="219"/>
                  <a:pt x="218" y="216"/>
                  <a:pt x="218" y="216"/>
                </a:cubicBezTo>
                <a:cubicBezTo>
                  <a:pt x="219" y="216"/>
                  <a:pt x="220" y="217"/>
                  <a:pt x="221" y="216"/>
                </a:cubicBezTo>
                <a:cubicBezTo>
                  <a:pt x="222" y="216"/>
                  <a:pt x="225" y="214"/>
                  <a:pt x="226" y="213"/>
                </a:cubicBezTo>
                <a:cubicBezTo>
                  <a:pt x="225" y="212"/>
                  <a:pt x="225" y="209"/>
                  <a:pt x="225" y="209"/>
                </a:cubicBezTo>
                <a:cubicBezTo>
                  <a:pt x="226" y="208"/>
                  <a:pt x="227" y="208"/>
                  <a:pt x="229" y="208"/>
                </a:cubicBezTo>
                <a:cubicBezTo>
                  <a:pt x="229" y="206"/>
                  <a:pt x="229" y="206"/>
                  <a:pt x="229" y="206"/>
                </a:cubicBezTo>
                <a:cubicBezTo>
                  <a:pt x="229" y="206"/>
                  <a:pt x="231" y="207"/>
                  <a:pt x="231" y="206"/>
                </a:cubicBezTo>
                <a:cubicBezTo>
                  <a:pt x="233" y="205"/>
                  <a:pt x="233" y="202"/>
                  <a:pt x="235" y="201"/>
                </a:cubicBezTo>
                <a:cubicBezTo>
                  <a:pt x="236" y="201"/>
                  <a:pt x="237" y="201"/>
                  <a:pt x="238" y="200"/>
                </a:cubicBezTo>
                <a:cubicBezTo>
                  <a:pt x="238" y="200"/>
                  <a:pt x="237" y="199"/>
                  <a:pt x="238" y="198"/>
                </a:cubicBezTo>
                <a:cubicBezTo>
                  <a:pt x="240" y="196"/>
                  <a:pt x="240" y="196"/>
                  <a:pt x="240" y="196"/>
                </a:cubicBezTo>
                <a:cubicBezTo>
                  <a:pt x="242" y="196"/>
                  <a:pt x="245" y="196"/>
                  <a:pt x="246" y="195"/>
                </a:cubicBezTo>
                <a:cubicBezTo>
                  <a:pt x="246" y="194"/>
                  <a:pt x="247" y="194"/>
                  <a:pt x="248" y="193"/>
                </a:cubicBezTo>
                <a:cubicBezTo>
                  <a:pt x="248" y="192"/>
                  <a:pt x="247" y="191"/>
                  <a:pt x="247" y="191"/>
                </a:cubicBezTo>
                <a:cubicBezTo>
                  <a:pt x="247" y="189"/>
                  <a:pt x="250" y="189"/>
                  <a:pt x="250" y="189"/>
                </a:cubicBezTo>
                <a:cubicBezTo>
                  <a:pt x="250" y="187"/>
                  <a:pt x="250" y="187"/>
                  <a:pt x="250" y="187"/>
                </a:cubicBezTo>
                <a:cubicBezTo>
                  <a:pt x="251" y="186"/>
                  <a:pt x="252" y="187"/>
                  <a:pt x="253" y="187"/>
                </a:cubicBezTo>
                <a:cubicBezTo>
                  <a:pt x="253" y="186"/>
                  <a:pt x="253" y="184"/>
                  <a:pt x="253" y="184"/>
                </a:cubicBezTo>
                <a:cubicBezTo>
                  <a:pt x="251" y="184"/>
                  <a:pt x="249" y="184"/>
                  <a:pt x="248" y="184"/>
                </a:cubicBezTo>
                <a:cubicBezTo>
                  <a:pt x="248" y="182"/>
                  <a:pt x="247" y="180"/>
                  <a:pt x="248" y="178"/>
                </a:cubicBezTo>
                <a:cubicBezTo>
                  <a:pt x="248" y="177"/>
                  <a:pt x="249" y="176"/>
                  <a:pt x="250" y="176"/>
                </a:cubicBezTo>
                <a:cubicBezTo>
                  <a:pt x="250" y="175"/>
                  <a:pt x="249" y="174"/>
                  <a:pt x="250" y="173"/>
                </a:cubicBezTo>
                <a:cubicBezTo>
                  <a:pt x="252" y="173"/>
                  <a:pt x="253" y="173"/>
                  <a:pt x="255" y="173"/>
                </a:cubicBezTo>
                <a:cubicBezTo>
                  <a:pt x="255" y="172"/>
                  <a:pt x="255" y="171"/>
                  <a:pt x="256" y="171"/>
                </a:cubicBezTo>
                <a:cubicBezTo>
                  <a:pt x="256" y="170"/>
                  <a:pt x="258" y="170"/>
                  <a:pt x="258" y="169"/>
                </a:cubicBezTo>
                <a:cubicBezTo>
                  <a:pt x="258" y="168"/>
                  <a:pt x="257" y="167"/>
                  <a:pt x="258" y="166"/>
                </a:cubicBezTo>
                <a:cubicBezTo>
                  <a:pt x="258" y="166"/>
                  <a:pt x="260" y="167"/>
                  <a:pt x="260" y="167"/>
                </a:cubicBezTo>
                <a:cubicBezTo>
                  <a:pt x="261" y="167"/>
                  <a:pt x="261" y="166"/>
                  <a:pt x="262" y="167"/>
                </a:cubicBezTo>
                <a:cubicBezTo>
                  <a:pt x="263" y="163"/>
                  <a:pt x="263" y="161"/>
                  <a:pt x="266" y="159"/>
                </a:cubicBezTo>
                <a:cubicBezTo>
                  <a:pt x="268" y="159"/>
                  <a:pt x="268" y="159"/>
                  <a:pt x="269" y="159"/>
                </a:cubicBezTo>
                <a:cubicBezTo>
                  <a:pt x="270" y="158"/>
                  <a:pt x="270" y="156"/>
                  <a:pt x="270" y="155"/>
                </a:cubicBezTo>
                <a:cubicBezTo>
                  <a:pt x="271" y="154"/>
                  <a:pt x="273" y="154"/>
                  <a:pt x="274" y="153"/>
                </a:cubicBezTo>
                <a:cubicBezTo>
                  <a:pt x="276" y="152"/>
                  <a:pt x="277" y="149"/>
                  <a:pt x="279" y="148"/>
                </a:cubicBezTo>
                <a:cubicBezTo>
                  <a:pt x="279" y="148"/>
                  <a:pt x="280" y="150"/>
                  <a:pt x="280" y="151"/>
                </a:cubicBezTo>
                <a:cubicBezTo>
                  <a:pt x="282" y="150"/>
                  <a:pt x="283" y="151"/>
                  <a:pt x="285" y="150"/>
                </a:cubicBezTo>
                <a:cubicBezTo>
                  <a:pt x="286" y="150"/>
                  <a:pt x="286" y="148"/>
                  <a:pt x="287" y="148"/>
                </a:cubicBezTo>
                <a:cubicBezTo>
                  <a:pt x="288" y="148"/>
                  <a:pt x="288" y="148"/>
                  <a:pt x="289" y="148"/>
                </a:cubicBezTo>
                <a:cubicBezTo>
                  <a:pt x="287" y="151"/>
                  <a:pt x="287" y="151"/>
                  <a:pt x="287" y="151"/>
                </a:cubicBezTo>
                <a:cubicBezTo>
                  <a:pt x="286" y="150"/>
                  <a:pt x="286" y="154"/>
                  <a:pt x="286" y="153"/>
                </a:cubicBezTo>
                <a:cubicBezTo>
                  <a:pt x="287" y="154"/>
                  <a:pt x="288" y="154"/>
                  <a:pt x="288" y="155"/>
                </a:cubicBezTo>
                <a:cubicBezTo>
                  <a:pt x="290" y="158"/>
                  <a:pt x="282" y="154"/>
                  <a:pt x="279" y="155"/>
                </a:cubicBezTo>
                <a:cubicBezTo>
                  <a:pt x="279" y="155"/>
                  <a:pt x="278" y="156"/>
                  <a:pt x="278" y="157"/>
                </a:cubicBezTo>
                <a:cubicBezTo>
                  <a:pt x="276" y="158"/>
                  <a:pt x="274" y="158"/>
                  <a:pt x="272" y="159"/>
                </a:cubicBezTo>
                <a:cubicBezTo>
                  <a:pt x="272" y="162"/>
                  <a:pt x="273" y="167"/>
                  <a:pt x="273" y="169"/>
                </a:cubicBezTo>
                <a:cubicBezTo>
                  <a:pt x="273" y="169"/>
                  <a:pt x="270" y="171"/>
                  <a:pt x="269" y="172"/>
                </a:cubicBezTo>
                <a:cubicBezTo>
                  <a:pt x="270" y="173"/>
                  <a:pt x="270" y="174"/>
                  <a:pt x="271" y="175"/>
                </a:cubicBezTo>
                <a:cubicBezTo>
                  <a:pt x="271" y="175"/>
                  <a:pt x="274" y="176"/>
                  <a:pt x="273" y="175"/>
                </a:cubicBezTo>
                <a:cubicBezTo>
                  <a:pt x="274" y="174"/>
                  <a:pt x="274" y="177"/>
                  <a:pt x="273" y="178"/>
                </a:cubicBezTo>
                <a:cubicBezTo>
                  <a:pt x="272" y="178"/>
                  <a:pt x="269" y="179"/>
                  <a:pt x="269" y="179"/>
                </a:cubicBezTo>
                <a:cubicBezTo>
                  <a:pt x="268" y="179"/>
                  <a:pt x="269" y="181"/>
                  <a:pt x="268" y="182"/>
                </a:cubicBezTo>
                <a:cubicBezTo>
                  <a:pt x="270" y="182"/>
                  <a:pt x="271" y="183"/>
                  <a:pt x="273" y="183"/>
                </a:cubicBezTo>
                <a:cubicBezTo>
                  <a:pt x="273" y="182"/>
                  <a:pt x="275" y="181"/>
                  <a:pt x="275" y="181"/>
                </a:cubicBezTo>
                <a:cubicBezTo>
                  <a:pt x="276" y="180"/>
                  <a:pt x="276" y="182"/>
                  <a:pt x="278" y="181"/>
                </a:cubicBezTo>
                <a:cubicBezTo>
                  <a:pt x="278" y="180"/>
                  <a:pt x="278" y="180"/>
                  <a:pt x="278" y="180"/>
                </a:cubicBezTo>
                <a:cubicBezTo>
                  <a:pt x="278" y="179"/>
                  <a:pt x="281" y="179"/>
                  <a:pt x="281" y="178"/>
                </a:cubicBezTo>
                <a:cubicBezTo>
                  <a:pt x="282" y="177"/>
                  <a:pt x="281" y="176"/>
                  <a:pt x="281" y="176"/>
                </a:cubicBezTo>
                <a:cubicBezTo>
                  <a:pt x="283" y="175"/>
                  <a:pt x="285" y="175"/>
                  <a:pt x="287" y="175"/>
                </a:cubicBezTo>
                <a:cubicBezTo>
                  <a:pt x="287" y="173"/>
                  <a:pt x="286" y="172"/>
                  <a:pt x="287" y="171"/>
                </a:cubicBezTo>
                <a:cubicBezTo>
                  <a:pt x="287" y="171"/>
                  <a:pt x="289" y="172"/>
                  <a:pt x="289" y="173"/>
                </a:cubicBezTo>
                <a:cubicBezTo>
                  <a:pt x="289" y="172"/>
                  <a:pt x="289" y="170"/>
                  <a:pt x="289" y="170"/>
                </a:cubicBezTo>
                <a:cubicBezTo>
                  <a:pt x="290" y="169"/>
                  <a:pt x="291" y="169"/>
                  <a:pt x="291" y="168"/>
                </a:cubicBezTo>
                <a:cubicBezTo>
                  <a:pt x="293" y="168"/>
                  <a:pt x="292" y="169"/>
                  <a:pt x="292" y="170"/>
                </a:cubicBezTo>
                <a:cubicBezTo>
                  <a:pt x="293" y="170"/>
                  <a:pt x="294" y="169"/>
                  <a:pt x="294" y="169"/>
                </a:cubicBezTo>
                <a:cubicBezTo>
                  <a:pt x="295" y="168"/>
                  <a:pt x="299" y="170"/>
                  <a:pt x="301" y="170"/>
                </a:cubicBezTo>
                <a:cubicBezTo>
                  <a:pt x="301" y="169"/>
                  <a:pt x="301" y="167"/>
                  <a:pt x="301" y="167"/>
                </a:cubicBezTo>
                <a:cubicBezTo>
                  <a:pt x="302" y="166"/>
                  <a:pt x="303" y="167"/>
                  <a:pt x="304" y="167"/>
                </a:cubicBezTo>
                <a:cubicBezTo>
                  <a:pt x="303" y="163"/>
                  <a:pt x="303" y="164"/>
                  <a:pt x="304" y="161"/>
                </a:cubicBezTo>
                <a:cubicBezTo>
                  <a:pt x="303" y="160"/>
                  <a:pt x="303" y="162"/>
                  <a:pt x="301" y="161"/>
                </a:cubicBezTo>
                <a:cubicBezTo>
                  <a:pt x="301" y="160"/>
                  <a:pt x="301" y="160"/>
                  <a:pt x="301" y="160"/>
                </a:cubicBezTo>
                <a:cubicBezTo>
                  <a:pt x="301" y="160"/>
                  <a:pt x="300" y="160"/>
                  <a:pt x="299" y="160"/>
                </a:cubicBezTo>
                <a:cubicBezTo>
                  <a:pt x="299" y="159"/>
                  <a:pt x="299" y="156"/>
                  <a:pt x="299" y="154"/>
                </a:cubicBezTo>
                <a:cubicBezTo>
                  <a:pt x="303" y="155"/>
                  <a:pt x="304" y="154"/>
                  <a:pt x="308" y="156"/>
                </a:cubicBezTo>
                <a:cubicBezTo>
                  <a:pt x="308" y="156"/>
                  <a:pt x="308" y="154"/>
                  <a:pt x="308" y="154"/>
                </a:cubicBezTo>
                <a:cubicBezTo>
                  <a:pt x="309" y="154"/>
                  <a:pt x="309" y="155"/>
                  <a:pt x="309" y="155"/>
                </a:cubicBezTo>
                <a:cubicBezTo>
                  <a:pt x="311" y="155"/>
                  <a:pt x="312" y="155"/>
                  <a:pt x="313" y="155"/>
                </a:cubicBezTo>
                <a:cubicBezTo>
                  <a:pt x="313" y="154"/>
                  <a:pt x="313" y="153"/>
                  <a:pt x="314" y="153"/>
                </a:cubicBezTo>
                <a:cubicBezTo>
                  <a:pt x="314" y="153"/>
                  <a:pt x="315" y="155"/>
                  <a:pt x="315" y="155"/>
                </a:cubicBezTo>
                <a:cubicBezTo>
                  <a:pt x="314" y="154"/>
                  <a:pt x="314" y="156"/>
                  <a:pt x="314" y="156"/>
                </a:cubicBezTo>
                <a:cubicBezTo>
                  <a:pt x="315" y="156"/>
                  <a:pt x="316" y="157"/>
                  <a:pt x="317" y="157"/>
                </a:cubicBezTo>
                <a:cubicBezTo>
                  <a:pt x="316" y="158"/>
                  <a:pt x="315" y="158"/>
                  <a:pt x="314" y="159"/>
                </a:cubicBezTo>
                <a:cubicBezTo>
                  <a:pt x="315" y="159"/>
                  <a:pt x="317" y="158"/>
                  <a:pt x="319" y="159"/>
                </a:cubicBezTo>
                <a:cubicBezTo>
                  <a:pt x="319" y="160"/>
                  <a:pt x="319" y="160"/>
                  <a:pt x="319" y="160"/>
                </a:cubicBezTo>
                <a:cubicBezTo>
                  <a:pt x="320" y="160"/>
                  <a:pt x="320" y="160"/>
                  <a:pt x="321" y="161"/>
                </a:cubicBezTo>
                <a:cubicBezTo>
                  <a:pt x="321" y="161"/>
                  <a:pt x="321" y="163"/>
                  <a:pt x="321" y="163"/>
                </a:cubicBezTo>
                <a:cubicBezTo>
                  <a:pt x="320" y="163"/>
                  <a:pt x="320" y="163"/>
                  <a:pt x="320" y="163"/>
                </a:cubicBezTo>
                <a:cubicBezTo>
                  <a:pt x="320" y="164"/>
                  <a:pt x="321" y="165"/>
                  <a:pt x="321" y="165"/>
                </a:cubicBezTo>
                <a:cubicBezTo>
                  <a:pt x="323" y="165"/>
                  <a:pt x="324" y="165"/>
                  <a:pt x="325" y="164"/>
                </a:cubicBezTo>
                <a:cubicBezTo>
                  <a:pt x="325" y="164"/>
                  <a:pt x="326" y="164"/>
                  <a:pt x="327" y="163"/>
                </a:cubicBezTo>
                <a:cubicBezTo>
                  <a:pt x="328" y="164"/>
                  <a:pt x="327" y="165"/>
                  <a:pt x="327" y="166"/>
                </a:cubicBezTo>
                <a:cubicBezTo>
                  <a:pt x="328" y="166"/>
                  <a:pt x="329" y="168"/>
                  <a:pt x="329" y="168"/>
                </a:cubicBezTo>
                <a:cubicBezTo>
                  <a:pt x="330" y="168"/>
                  <a:pt x="332" y="168"/>
                  <a:pt x="333" y="168"/>
                </a:cubicBezTo>
                <a:cubicBezTo>
                  <a:pt x="334" y="168"/>
                  <a:pt x="335" y="170"/>
                  <a:pt x="335" y="171"/>
                </a:cubicBezTo>
                <a:cubicBezTo>
                  <a:pt x="336" y="171"/>
                  <a:pt x="343" y="173"/>
                  <a:pt x="343" y="173"/>
                </a:cubicBezTo>
                <a:cubicBezTo>
                  <a:pt x="345" y="172"/>
                  <a:pt x="348" y="170"/>
                  <a:pt x="351" y="170"/>
                </a:cubicBezTo>
                <a:cubicBezTo>
                  <a:pt x="352" y="170"/>
                  <a:pt x="354" y="172"/>
                  <a:pt x="355" y="173"/>
                </a:cubicBezTo>
                <a:cubicBezTo>
                  <a:pt x="357" y="173"/>
                  <a:pt x="357" y="171"/>
                  <a:pt x="359" y="172"/>
                </a:cubicBezTo>
                <a:cubicBezTo>
                  <a:pt x="359" y="172"/>
                  <a:pt x="360" y="174"/>
                  <a:pt x="360" y="174"/>
                </a:cubicBezTo>
                <a:cubicBezTo>
                  <a:pt x="362" y="175"/>
                  <a:pt x="370" y="177"/>
                  <a:pt x="373" y="176"/>
                </a:cubicBezTo>
                <a:cubicBezTo>
                  <a:pt x="374" y="176"/>
                  <a:pt x="375" y="174"/>
                  <a:pt x="376" y="173"/>
                </a:cubicBezTo>
                <a:cubicBezTo>
                  <a:pt x="376" y="175"/>
                  <a:pt x="376" y="177"/>
                  <a:pt x="376" y="178"/>
                </a:cubicBezTo>
                <a:cubicBezTo>
                  <a:pt x="376" y="178"/>
                  <a:pt x="374" y="179"/>
                  <a:pt x="374" y="180"/>
                </a:cubicBezTo>
                <a:cubicBezTo>
                  <a:pt x="374" y="180"/>
                  <a:pt x="376" y="181"/>
                  <a:pt x="376" y="181"/>
                </a:cubicBezTo>
                <a:cubicBezTo>
                  <a:pt x="377" y="181"/>
                  <a:pt x="379" y="180"/>
                  <a:pt x="379" y="181"/>
                </a:cubicBezTo>
                <a:cubicBezTo>
                  <a:pt x="380" y="181"/>
                  <a:pt x="380" y="183"/>
                  <a:pt x="380" y="183"/>
                </a:cubicBezTo>
                <a:cubicBezTo>
                  <a:pt x="381" y="184"/>
                  <a:pt x="383" y="183"/>
                  <a:pt x="383" y="184"/>
                </a:cubicBezTo>
                <a:cubicBezTo>
                  <a:pt x="384" y="182"/>
                  <a:pt x="383" y="184"/>
                  <a:pt x="384" y="183"/>
                </a:cubicBezTo>
                <a:cubicBezTo>
                  <a:pt x="385" y="183"/>
                  <a:pt x="384" y="182"/>
                  <a:pt x="384" y="182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85" y="181"/>
                  <a:pt x="387" y="181"/>
                  <a:pt x="388" y="181"/>
                </a:cubicBezTo>
                <a:cubicBezTo>
                  <a:pt x="387" y="183"/>
                  <a:pt x="387" y="185"/>
                  <a:pt x="386" y="187"/>
                </a:cubicBezTo>
                <a:cubicBezTo>
                  <a:pt x="387" y="187"/>
                  <a:pt x="393" y="195"/>
                  <a:pt x="393" y="195"/>
                </a:cubicBezTo>
                <a:cubicBezTo>
                  <a:pt x="396" y="196"/>
                  <a:pt x="397" y="194"/>
                  <a:pt x="398" y="195"/>
                </a:cubicBezTo>
                <a:cubicBezTo>
                  <a:pt x="399" y="195"/>
                  <a:pt x="398" y="198"/>
                  <a:pt x="398" y="198"/>
                </a:cubicBezTo>
                <a:cubicBezTo>
                  <a:pt x="399" y="198"/>
                  <a:pt x="400" y="198"/>
                  <a:pt x="400" y="198"/>
                </a:cubicBezTo>
                <a:cubicBezTo>
                  <a:pt x="404" y="202"/>
                  <a:pt x="404" y="202"/>
                  <a:pt x="404" y="202"/>
                </a:cubicBezTo>
                <a:cubicBezTo>
                  <a:pt x="404" y="204"/>
                  <a:pt x="402" y="204"/>
                  <a:pt x="403" y="205"/>
                </a:cubicBezTo>
                <a:cubicBezTo>
                  <a:pt x="404" y="207"/>
                  <a:pt x="406" y="206"/>
                  <a:pt x="408" y="207"/>
                </a:cubicBezTo>
                <a:cubicBezTo>
                  <a:pt x="408" y="208"/>
                  <a:pt x="409" y="210"/>
                  <a:pt x="409" y="210"/>
                </a:cubicBezTo>
                <a:cubicBezTo>
                  <a:pt x="409" y="210"/>
                  <a:pt x="411" y="210"/>
                  <a:pt x="411" y="210"/>
                </a:cubicBezTo>
                <a:cubicBezTo>
                  <a:pt x="411" y="209"/>
                  <a:pt x="411" y="208"/>
                  <a:pt x="411" y="207"/>
                </a:cubicBezTo>
                <a:cubicBezTo>
                  <a:pt x="412" y="208"/>
                  <a:pt x="414" y="210"/>
                  <a:pt x="415" y="210"/>
                </a:cubicBezTo>
                <a:cubicBezTo>
                  <a:pt x="416" y="211"/>
                  <a:pt x="417" y="210"/>
                  <a:pt x="418" y="210"/>
                </a:cubicBezTo>
                <a:cubicBezTo>
                  <a:pt x="418" y="209"/>
                  <a:pt x="417" y="207"/>
                  <a:pt x="417" y="205"/>
                </a:cubicBezTo>
                <a:cubicBezTo>
                  <a:pt x="417" y="205"/>
                  <a:pt x="415" y="205"/>
                  <a:pt x="414" y="205"/>
                </a:cubicBezTo>
                <a:cubicBezTo>
                  <a:pt x="420" y="202"/>
                  <a:pt x="408" y="200"/>
                  <a:pt x="404" y="200"/>
                </a:cubicBezTo>
                <a:cubicBezTo>
                  <a:pt x="404" y="199"/>
                  <a:pt x="403" y="197"/>
                  <a:pt x="403" y="197"/>
                </a:cubicBezTo>
                <a:cubicBezTo>
                  <a:pt x="404" y="197"/>
                  <a:pt x="405" y="198"/>
                  <a:pt x="405" y="198"/>
                </a:cubicBezTo>
                <a:cubicBezTo>
                  <a:pt x="406" y="199"/>
                  <a:pt x="411" y="196"/>
                  <a:pt x="412" y="195"/>
                </a:cubicBezTo>
                <a:cubicBezTo>
                  <a:pt x="413" y="196"/>
                  <a:pt x="413" y="197"/>
                  <a:pt x="413" y="198"/>
                </a:cubicBezTo>
                <a:cubicBezTo>
                  <a:pt x="414" y="198"/>
                  <a:pt x="414" y="198"/>
                  <a:pt x="414" y="198"/>
                </a:cubicBezTo>
                <a:cubicBezTo>
                  <a:pt x="414" y="194"/>
                  <a:pt x="414" y="192"/>
                  <a:pt x="414" y="189"/>
                </a:cubicBezTo>
                <a:cubicBezTo>
                  <a:pt x="414" y="189"/>
                  <a:pt x="416" y="189"/>
                  <a:pt x="416" y="189"/>
                </a:cubicBezTo>
                <a:cubicBezTo>
                  <a:pt x="417" y="193"/>
                  <a:pt x="416" y="196"/>
                  <a:pt x="420" y="197"/>
                </a:cubicBezTo>
                <a:cubicBezTo>
                  <a:pt x="421" y="197"/>
                  <a:pt x="423" y="196"/>
                  <a:pt x="423" y="196"/>
                </a:cubicBezTo>
                <a:cubicBezTo>
                  <a:pt x="424" y="197"/>
                  <a:pt x="424" y="200"/>
                  <a:pt x="424" y="200"/>
                </a:cubicBezTo>
                <a:cubicBezTo>
                  <a:pt x="425" y="200"/>
                  <a:pt x="426" y="199"/>
                  <a:pt x="427" y="200"/>
                </a:cubicBezTo>
                <a:cubicBezTo>
                  <a:pt x="427" y="201"/>
                  <a:pt x="426" y="203"/>
                  <a:pt x="426" y="204"/>
                </a:cubicBezTo>
                <a:cubicBezTo>
                  <a:pt x="430" y="206"/>
                  <a:pt x="430" y="206"/>
                  <a:pt x="430" y="206"/>
                </a:cubicBezTo>
                <a:cubicBezTo>
                  <a:pt x="430" y="207"/>
                  <a:pt x="429" y="212"/>
                  <a:pt x="430" y="214"/>
                </a:cubicBezTo>
                <a:cubicBezTo>
                  <a:pt x="430" y="214"/>
                  <a:pt x="434" y="215"/>
                  <a:pt x="434" y="215"/>
                </a:cubicBezTo>
                <a:cubicBezTo>
                  <a:pt x="435" y="216"/>
                  <a:pt x="434" y="218"/>
                  <a:pt x="434" y="219"/>
                </a:cubicBezTo>
                <a:cubicBezTo>
                  <a:pt x="434" y="219"/>
                  <a:pt x="435" y="220"/>
                  <a:pt x="435" y="220"/>
                </a:cubicBezTo>
                <a:cubicBezTo>
                  <a:pt x="433" y="221"/>
                  <a:pt x="433" y="221"/>
                  <a:pt x="433" y="221"/>
                </a:cubicBezTo>
                <a:cubicBezTo>
                  <a:pt x="433" y="221"/>
                  <a:pt x="433" y="223"/>
                  <a:pt x="433" y="223"/>
                </a:cubicBezTo>
                <a:cubicBezTo>
                  <a:pt x="434" y="223"/>
                  <a:pt x="434" y="223"/>
                  <a:pt x="434" y="223"/>
                </a:cubicBezTo>
                <a:cubicBezTo>
                  <a:pt x="434" y="224"/>
                  <a:pt x="434" y="224"/>
                  <a:pt x="434" y="224"/>
                </a:cubicBezTo>
                <a:cubicBezTo>
                  <a:pt x="434" y="224"/>
                  <a:pt x="435" y="224"/>
                  <a:pt x="436" y="224"/>
                </a:cubicBezTo>
                <a:cubicBezTo>
                  <a:pt x="436" y="223"/>
                  <a:pt x="436" y="221"/>
                  <a:pt x="435" y="222"/>
                </a:cubicBezTo>
                <a:cubicBezTo>
                  <a:pt x="435" y="220"/>
                  <a:pt x="435" y="220"/>
                  <a:pt x="435" y="220"/>
                </a:cubicBezTo>
                <a:cubicBezTo>
                  <a:pt x="435" y="221"/>
                  <a:pt x="436" y="220"/>
                  <a:pt x="437" y="220"/>
                </a:cubicBezTo>
                <a:cubicBezTo>
                  <a:pt x="437" y="220"/>
                  <a:pt x="441" y="225"/>
                  <a:pt x="441" y="225"/>
                </a:cubicBezTo>
                <a:cubicBezTo>
                  <a:pt x="440" y="225"/>
                  <a:pt x="439" y="225"/>
                  <a:pt x="439" y="225"/>
                </a:cubicBezTo>
                <a:cubicBezTo>
                  <a:pt x="439" y="226"/>
                  <a:pt x="439" y="226"/>
                  <a:pt x="439" y="226"/>
                </a:cubicBezTo>
                <a:cubicBezTo>
                  <a:pt x="439" y="226"/>
                  <a:pt x="440" y="227"/>
                  <a:pt x="441" y="227"/>
                </a:cubicBezTo>
                <a:cubicBezTo>
                  <a:pt x="440" y="227"/>
                  <a:pt x="442" y="225"/>
                  <a:pt x="442" y="225"/>
                </a:cubicBezTo>
                <a:cubicBezTo>
                  <a:pt x="442" y="226"/>
                  <a:pt x="442" y="226"/>
                  <a:pt x="443" y="226"/>
                </a:cubicBezTo>
                <a:cubicBezTo>
                  <a:pt x="442" y="230"/>
                  <a:pt x="443" y="232"/>
                  <a:pt x="442" y="235"/>
                </a:cubicBezTo>
                <a:cubicBezTo>
                  <a:pt x="443" y="234"/>
                  <a:pt x="444" y="235"/>
                  <a:pt x="445" y="234"/>
                </a:cubicBezTo>
                <a:cubicBezTo>
                  <a:pt x="445" y="234"/>
                  <a:pt x="445" y="231"/>
                  <a:pt x="445" y="231"/>
                </a:cubicBezTo>
                <a:cubicBezTo>
                  <a:pt x="446" y="231"/>
                  <a:pt x="447" y="231"/>
                  <a:pt x="448" y="230"/>
                </a:cubicBezTo>
                <a:cubicBezTo>
                  <a:pt x="448" y="231"/>
                  <a:pt x="449" y="231"/>
                  <a:pt x="449" y="232"/>
                </a:cubicBezTo>
                <a:cubicBezTo>
                  <a:pt x="449" y="232"/>
                  <a:pt x="447" y="232"/>
                  <a:pt x="447" y="232"/>
                </a:cubicBezTo>
                <a:cubicBezTo>
                  <a:pt x="447" y="233"/>
                  <a:pt x="446" y="237"/>
                  <a:pt x="446" y="236"/>
                </a:cubicBezTo>
                <a:cubicBezTo>
                  <a:pt x="447" y="238"/>
                  <a:pt x="447" y="238"/>
                  <a:pt x="448" y="240"/>
                </a:cubicBezTo>
                <a:cubicBezTo>
                  <a:pt x="453" y="239"/>
                  <a:pt x="451" y="241"/>
                  <a:pt x="451" y="235"/>
                </a:cubicBezTo>
                <a:cubicBezTo>
                  <a:pt x="451" y="235"/>
                  <a:pt x="452" y="235"/>
                  <a:pt x="452" y="236"/>
                </a:cubicBezTo>
                <a:cubicBezTo>
                  <a:pt x="453" y="238"/>
                  <a:pt x="453" y="239"/>
                  <a:pt x="454" y="240"/>
                </a:cubicBezTo>
                <a:cubicBezTo>
                  <a:pt x="453" y="241"/>
                  <a:pt x="453" y="241"/>
                  <a:pt x="453" y="242"/>
                </a:cubicBezTo>
                <a:cubicBezTo>
                  <a:pt x="452" y="242"/>
                  <a:pt x="448" y="242"/>
                  <a:pt x="450" y="243"/>
                </a:cubicBezTo>
                <a:cubicBezTo>
                  <a:pt x="451" y="244"/>
                  <a:pt x="450" y="244"/>
                  <a:pt x="452" y="244"/>
                </a:cubicBezTo>
                <a:cubicBezTo>
                  <a:pt x="450" y="245"/>
                  <a:pt x="453" y="245"/>
                  <a:pt x="453" y="245"/>
                </a:cubicBezTo>
                <a:cubicBezTo>
                  <a:pt x="453" y="246"/>
                  <a:pt x="452" y="246"/>
                  <a:pt x="452" y="246"/>
                </a:cubicBezTo>
                <a:cubicBezTo>
                  <a:pt x="452" y="248"/>
                  <a:pt x="452" y="248"/>
                  <a:pt x="452" y="248"/>
                </a:cubicBezTo>
                <a:cubicBezTo>
                  <a:pt x="454" y="248"/>
                  <a:pt x="454" y="249"/>
                  <a:pt x="456" y="249"/>
                </a:cubicBezTo>
                <a:cubicBezTo>
                  <a:pt x="457" y="247"/>
                  <a:pt x="457" y="245"/>
                  <a:pt x="459" y="244"/>
                </a:cubicBezTo>
                <a:cubicBezTo>
                  <a:pt x="459" y="244"/>
                  <a:pt x="459" y="244"/>
                  <a:pt x="460" y="243"/>
                </a:cubicBezTo>
                <a:cubicBezTo>
                  <a:pt x="460" y="243"/>
                  <a:pt x="460" y="243"/>
                  <a:pt x="459" y="243"/>
                </a:cubicBezTo>
                <a:cubicBezTo>
                  <a:pt x="460" y="242"/>
                  <a:pt x="461" y="241"/>
                  <a:pt x="462" y="240"/>
                </a:cubicBezTo>
                <a:cubicBezTo>
                  <a:pt x="462" y="239"/>
                  <a:pt x="462" y="238"/>
                  <a:pt x="462" y="236"/>
                </a:cubicBezTo>
                <a:cubicBezTo>
                  <a:pt x="461" y="234"/>
                  <a:pt x="465" y="232"/>
                  <a:pt x="463" y="232"/>
                </a:cubicBezTo>
                <a:cubicBezTo>
                  <a:pt x="461" y="232"/>
                  <a:pt x="462" y="228"/>
                  <a:pt x="460" y="226"/>
                </a:cubicBezTo>
                <a:cubicBezTo>
                  <a:pt x="458" y="225"/>
                  <a:pt x="458" y="227"/>
                  <a:pt x="457" y="224"/>
                </a:cubicBezTo>
                <a:cubicBezTo>
                  <a:pt x="456" y="221"/>
                  <a:pt x="455" y="219"/>
                  <a:pt x="455" y="216"/>
                </a:cubicBezTo>
                <a:cubicBezTo>
                  <a:pt x="455" y="213"/>
                  <a:pt x="452" y="218"/>
                  <a:pt x="449" y="216"/>
                </a:cubicBezTo>
                <a:cubicBezTo>
                  <a:pt x="445" y="214"/>
                  <a:pt x="446" y="211"/>
                  <a:pt x="443" y="209"/>
                </a:cubicBezTo>
                <a:cubicBezTo>
                  <a:pt x="439" y="207"/>
                  <a:pt x="439" y="203"/>
                  <a:pt x="437" y="200"/>
                </a:cubicBezTo>
                <a:cubicBezTo>
                  <a:pt x="435" y="197"/>
                  <a:pt x="428" y="191"/>
                  <a:pt x="427" y="188"/>
                </a:cubicBezTo>
                <a:cubicBezTo>
                  <a:pt x="425" y="186"/>
                  <a:pt x="423" y="182"/>
                  <a:pt x="419" y="181"/>
                </a:cubicBezTo>
                <a:cubicBezTo>
                  <a:pt x="416" y="181"/>
                  <a:pt x="416" y="179"/>
                  <a:pt x="416" y="177"/>
                </a:cubicBezTo>
                <a:cubicBezTo>
                  <a:pt x="416" y="174"/>
                  <a:pt x="411" y="175"/>
                  <a:pt x="410" y="172"/>
                </a:cubicBezTo>
                <a:cubicBezTo>
                  <a:pt x="408" y="169"/>
                  <a:pt x="405" y="172"/>
                  <a:pt x="402" y="172"/>
                </a:cubicBezTo>
                <a:cubicBezTo>
                  <a:pt x="400" y="172"/>
                  <a:pt x="403" y="174"/>
                  <a:pt x="402" y="177"/>
                </a:cubicBezTo>
                <a:cubicBezTo>
                  <a:pt x="401" y="180"/>
                  <a:pt x="398" y="179"/>
                  <a:pt x="395" y="181"/>
                </a:cubicBezTo>
                <a:cubicBezTo>
                  <a:pt x="390" y="186"/>
                  <a:pt x="393" y="182"/>
                  <a:pt x="391" y="179"/>
                </a:cubicBezTo>
                <a:cubicBezTo>
                  <a:pt x="389" y="176"/>
                  <a:pt x="383" y="173"/>
                  <a:pt x="381" y="170"/>
                </a:cubicBezTo>
                <a:cubicBezTo>
                  <a:pt x="379" y="167"/>
                  <a:pt x="379" y="167"/>
                  <a:pt x="378" y="164"/>
                </a:cubicBezTo>
                <a:cubicBezTo>
                  <a:pt x="377" y="161"/>
                  <a:pt x="380" y="155"/>
                  <a:pt x="374" y="161"/>
                </a:cubicBezTo>
                <a:cubicBezTo>
                  <a:pt x="373" y="162"/>
                  <a:pt x="370" y="160"/>
                  <a:pt x="369" y="159"/>
                </a:cubicBezTo>
                <a:cubicBezTo>
                  <a:pt x="367" y="158"/>
                  <a:pt x="361" y="161"/>
                  <a:pt x="361" y="161"/>
                </a:cubicBezTo>
                <a:cubicBezTo>
                  <a:pt x="358" y="22"/>
                  <a:pt x="358" y="22"/>
                  <a:pt x="358" y="22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2" name="Google Shape;612;p102"/>
          <p:cNvSpPr/>
          <p:nvPr/>
        </p:nvSpPr>
        <p:spPr>
          <a:xfrm>
            <a:off x="1695682" y="2257566"/>
            <a:ext cx="9291997" cy="809374"/>
          </a:xfrm>
          <a:custGeom>
            <a:avLst/>
            <a:gdLst/>
            <a:ahLst/>
            <a:cxnLst/>
            <a:rect l="l" t="t" r="r" b="b"/>
            <a:pathLst>
              <a:path w="3230" h="292" extrusionOk="0">
                <a:moveTo>
                  <a:pt x="87" y="160"/>
                </a:moveTo>
                <a:cubicBezTo>
                  <a:pt x="85" y="163"/>
                  <a:pt x="86" y="161"/>
                  <a:pt x="87" y="164"/>
                </a:cubicBezTo>
                <a:cubicBezTo>
                  <a:pt x="88" y="165"/>
                  <a:pt x="90" y="165"/>
                  <a:pt x="90" y="165"/>
                </a:cubicBezTo>
                <a:cubicBezTo>
                  <a:pt x="91" y="166"/>
                  <a:pt x="93" y="165"/>
                  <a:pt x="93" y="164"/>
                </a:cubicBezTo>
                <a:cubicBezTo>
                  <a:pt x="89" y="163"/>
                  <a:pt x="89" y="163"/>
                  <a:pt x="89" y="163"/>
                </a:cubicBezTo>
                <a:cubicBezTo>
                  <a:pt x="87" y="162"/>
                  <a:pt x="89" y="161"/>
                  <a:pt x="87" y="160"/>
                </a:cubicBezTo>
                <a:close/>
                <a:moveTo>
                  <a:pt x="3214" y="127"/>
                </a:moveTo>
                <a:cubicBezTo>
                  <a:pt x="3213" y="130"/>
                  <a:pt x="3213" y="130"/>
                  <a:pt x="3213" y="130"/>
                </a:cubicBezTo>
                <a:cubicBezTo>
                  <a:pt x="3212" y="130"/>
                  <a:pt x="3211" y="130"/>
                  <a:pt x="3210" y="130"/>
                </a:cubicBezTo>
                <a:cubicBezTo>
                  <a:pt x="3209" y="131"/>
                  <a:pt x="3209" y="131"/>
                  <a:pt x="3209" y="131"/>
                </a:cubicBezTo>
                <a:cubicBezTo>
                  <a:pt x="3206" y="131"/>
                  <a:pt x="3206" y="131"/>
                  <a:pt x="3206" y="131"/>
                </a:cubicBezTo>
                <a:cubicBezTo>
                  <a:pt x="3206" y="130"/>
                  <a:pt x="3206" y="128"/>
                  <a:pt x="3206" y="128"/>
                </a:cubicBezTo>
                <a:cubicBezTo>
                  <a:pt x="3205" y="127"/>
                  <a:pt x="3205" y="129"/>
                  <a:pt x="3205" y="129"/>
                </a:cubicBezTo>
                <a:cubicBezTo>
                  <a:pt x="3203" y="129"/>
                  <a:pt x="3205" y="132"/>
                  <a:pt x="3204" y="133"/>
                </a:cubicBezTo>
                <a:cubicBezTo>
                  <a:pt x="3203" y="133"/>
                  <a:pt x="3203" y="133"/>
                  <a:pt x="3203" y="133"/>
                </a:cubicBezTo>
                <a:cubicBezTo>
                  <a:pt x="3203" y="133"/>
                  <a:pt x="3203" y="134"/>
                  <a:pt x="3203" y="135"/>
                </a:cubicBezTo>
                <a:cubicBezTo>
                  <a:pt x="3204" y="135"/>
                  <a:pt x="3205" y="135"/>
                  <a:pt x="3205" y="135"/>
                </a:cubicBezTo>
                <a:cubicBezTo>
                  <a:pt x="3205" y="135"/>
                  <a:pt x="3206" y="136"/>
                  <a:pt x="3207" y="135"/>
                </a:cubicBezTo>
                <a:cubicBezTo>
                  <a:pt x="3210" y="135"/>
                  <a:pt x="3213" y="131"/>
                  <a:pt x="3217" y="133"/>
                </a:cubicBezTo>
                <a:cubicBezTo>
                  <a:pt x="3217" y="134"/>
                  <a:pt x="3217" y="134"/>
                  <a:pt x="3217" y="134"/>
                </a:cubicBezTo>
                <a:cubicBezTo>
                  <a:pt x="3218" y="135"/>
                  <a:pt x="3223" y="139"/>
                  <a:pt x="3223" y="139"/>
                </a:cubicBezTo>
                <a:cubicBezTo>
                  <a:pt x="3224" y="140"/>
                  <a:pt x="3223" y="142"/>
                  <a:pt x="3224" y="142"/>
                </a:cubicBezTo>
                <a:cubicBezTo>
                  <a:pt x="3225" y="142"/>
                  <a:pt x="3226" y="142"/>
                  <a:pt x="3227" y="142"/>
                </a:cubicBezTo>
                <a:cubicBezTo>
                  <a:pt x="3227" y="142"/>
                  <a:pt x="3227" y="139"/>
                  <a:pt x="3227" y="139"/>
                </a:cubicBezTo>
                <a:cubicBezTo>
                  <a:pt x="3227" y="138"/>
                  <a:pt x="3228" y="138"/>
                  <a:pt x="3229" y="138"/>
                </a:cubicBezTo>
                <a:cubicBezTo>
                  <a:pt x="3230" y="137"/>
                  <a:pt x="3230" y="137"/>
                  <a:pt x="3230" y="137"/>
                </a:cubicBezTo>
                <a:cubicBezTo>
                  <a:pt x="3228" y="136"/>
                  <a:pt x="3225" y="136"/>
                  <a:pt x="3223" y="135"/>
                </a:cubicBezTo>
                <a:cubicBezTo>
                  <a:pt x="3221" y="133"/>
                  <a:pt x="3218" y="126"/>
                  <a:pt x="3214" y="127"/>
                </a:cubicBezTo>
                <a:close/>
                <a:moveTo>
                  <a:pt x="408" y="193"/>
                </a:moveTo>
                <a:cubicBezTo>
                  <a:pt x="409" y="194"/>
                  <a:pt x="407" y="195"/>
                  <a:pt x="407" y="195"/>
                </a:cubicBezTo>
                <a:cubicBezTo>
                  <a:pt x="407" y="195"/>
                  <a:pt x="407" y="193"/>
                  <a:pt x="408" y="193"/>
                </a:cubicBezTo>
                <a:close/>
                <a:moveTo>
                  <a:pt x="435" y="242"/>
                </a:moveTo>
                <a:cubicBezTo>
                  <a:pt x="436" y="243"/>
                  <a:pt x="436" y="244"/>
                  <a:pt x="436" y="244"/>
                </a:cubicBezTo>
                <a:cubicBezTo>
                  <a:pt x="438" y="245"/>
                  <a:pt x="436" y="244"/>
                  <a:pt x="437" y="244"/>
                </a:cubicBezTo>
                <a:cubicBezTo>
                  <a:pt x="437" y="243"/>
                  <a:pt x="436" y="243"/>
                  <a:pt x="435" y="242"/>
                </a:cubicBezTo>
                <a:close/>
                <a:moveTo>
                  <a:pt x="422" y="230"/>
                </a:moveTo>
                <a:cubicBezTo>
                  <a:pt x="422" y="231"/>
                  <a:pt x="422" y="231"/>
                  <a:pt x="422" y="231"/>
                </a:cubicBezTo>
                <a:cubicBezTo>
                  <a:pt x="425" y="232"/>
                  <a:pt x="423" y="230"/>
                  <a:pt x="422" y="230"/>
                </a:cubicBezTo>
                <a:close/>
                <a:moveTo>
                  <a:pt x="435" y="226"/>
                </a:moveTo>
                <a:cubicBezTo>
                  <a:pt x="435" y="227"/>
                  <a:pt x="435" y="227"/>
                  <a:pt x="435" y="227"/>
                </a:cubicBezTo>
                <a:cubicBezTo>
                  <a:pt x="435" y="228"/>
                  <a:pt x="439" y="229"/>
                  <a:pt x="440" y="230"/>
                </a:cubicBezTo>
                <a:cubicBezTo>
                  <a:pt x="440" y="230"/>
                  <a:pt x="440" y="231"/>
                  <a:pt x="440" y="232"/>
                </a:cubicBezTo>
                <a:cubicBezTo>
                  <a:pt x="440" y="232"/>
                  <a:pt x="441" y="232"/>
                  <a:pt x="440" y="231"/>
                </a:cubicBezTo>
                <a:cubicBezTo>
                  <a:pt x="442" y="231"/>
                  <a:pt x="440" y="230"/>
                  <a:pt x="440" y="230"/>
                </a:cubicBezTo>
                <a:cubicBezTo>
                  <a:pt x="440" y="229"/>
                  <a:pt x="440" y="228"/>
                  <a:pt x="440" y="228"/>
                </a:cubicBezTo>
                <a:cubicBezTo>
                  <a:pt x="438" y="227"/>
                  <a:pt x="438" y="228"/>
                  <a:pt x="437" y="228"/>
                </a:cubicBezTo>
                <a:cubicBezTo>
                  <a:pt x="437" y="226"/>
                  <a:pt x="437" y="226"/>
                  <a:pt x="437" y="226"/>
                </a:cubicBezTo>
                <a:cubicBezTo>
                  <a:pt x="436" y="226"/>
                  <a:pt x="436" y="226"/>
                  <a:pt x="435" y="226"/>
                </a:cubicBezTo>
                <a:close/>
                <a:moveTo>
                  <a:pt x="408" y="212"/>
                </a:moveTo>
                <a:cubicBezTo>
                  <a:pt x="408" y="213"/>
                  <a:pt x="408" y="214"/>
                  <a:pt x="408" y="214"/>
                </a:cubicBezTo>
                <a:cubicBezTo>
                  <a:pt x="407" y="214"/>
                  <a:pt x="407" y="217"/>
                  <a:pt x="409" y="216"/>
                </a:cubicBezTo>
                <a:cubicBezTo>
                  <a:pt x="409" y="215"/>
                  <a:pt x="409" y="212"/>
                  <a:pt x="408" y="212"/>
                </a:cubicBezTo>
                <a:close/>
                <a:moveTo>
                  <a:pt x="425" y="206"/>
                </a:moveTo>
                <a:cubicBezTo>
                  <a:pt x="426" y="207"/>
                  <a:pt x="426" y="207"/>
                  <a:pt x="426" y="207"/>
                </a:cubicBezTo>
                <a:cubicBezTo>
                  <a:pt x="425" y="206"/>
                  <a:pt x="426" y="206"/>
                  <a:pt x="425" y="206"/>
                </a:cubicBezTo>
                <a:close/>
                <a:moveTo>
                  <a:pt x="401" y="201"/>
                </a:moveTo>
                <a:cubicBezTo>
                  <a:pt x="402" y="203"/>
                  <a:pt x="402" y="203"/>
                  <a:pt x="402" y="203"/>
                </a:cubicBezTo>
                <a:cubicBezTo>
                  <a:pt x="402" y="202"/>
                  <a:pt x="402" y="201"/>
                  <a:pt x="401" y="201"/>
                </a:cubicBezTo>
                <a:close/>
                <a:moveTo>
                  <a:pt x="416" y="199"/>
                </a:moveTo>
                <a:cubicBezTo>
                  <a:pt x="417" y="201"/>
                  <a:pt x="419" y="203"/>
                  <a:pt x="419" y="204"/>
                </a:cubicBezTo>
                <a:cubicBezTo>
                  <a:pt x="419" y="205"/>
                  <a:pt x="419" y="207"/>
                  <a:pt x="419" y="208"/>
                </a:cubicBezTo>
                <a:cubicBezTo>
                  <a:pt x="419" y="209"/>
                  <a:pt x="421" y="209"/>
                  <a:pt x="421" y="210"/>
                </a:cubicBezTo>
                <a:cubicBezTo>
                  <a:pt x="421" y="210"/>
                  <a:pt x="421" y="213"/>
                  <a:pt x="420" y="212"/>
                </a:cubicBezTo>
                <a:cubicBezTo>
                  <a:pt x="421" y="215"/>
                  <a:pt x="421" y="215"/>
                  <a:pt x="421" y="215"/>
                </a:cubicBezTo>
                <a:cubicBezTo>
                  <a:pt x="423" y="213"/>
                  <a:pt x="427" y="212"/>
                  <a:pt x="425" y="208"/>
                </a:cubicBezTo>
                <a:cubicBezTo>
                  <a:pt x="425" y="207"/>
                  <a:pt x="423" y="206"/>
                  <a:pt x="423" y="206"/>
                </a:cubicBezTo>
                <a:cubicBezTo>
                  <a:pt x="423" y="204"/>
                  <a:pt x="423" y="204"/>
                  <a:pt x="423" y="204"/>
                </a:cubicBezTo>
                <a:cubicBezTo>
                  <a:pt x="424" y="205"/>
                  <a:pt x="424" y="203"/>
                  <a:pt x="424" y="202"/>
                </a:cubicBezTo>
                <a:cubicBezTo>
                  <a:pt x="421" y="200"/>
                  <a:pt x="422" y="200"/>
                  <a:pt x="416" y="199"/>
                </a:cubicBezTo>
                <a:close/>
                <a:moveTo>
                  <a:pt x="402" y="187"/>
                </a:moveTo>
                <a:cubicBezTo>
                  <a:pt x="403" y="189"/>
                  <a:pt x="403" y="189"/>
                  <a:pt x="403" y="189"/>
                </a:cubicBezTo>
                <a:cubicBezTo>
                  <a:pt x="407" y="190"/>
                  <a:pt x="406" y="189"/>
                  <a:pt x="407" y="193"/>
                </a:cubicBezTo>
                <a:cubicBezTo>
                  <a:pt x="405" y="193"/>
                  <a:pt x="404" y="192"/>
                  <a:pt x="401" y="192"/>
                </a:cubicBezTo>
                <a:cubicBezTo>
                  <a:pt x="401" y="190"/>
                  <a:pt x="401" y="190"/>
                  <a:pt x="400" y="189"/>
                </a:cubicBezTo>
                <a:cubicBezTo>
                  <a:pt x="401" y="188"/>
                  <a:pt x="400" y="187"/>
                  <a:pt x="402" y="187"/>
                </a:cubicBezTo>
                <a:close/>
                <a:moveTo>
                  <a:pt x="413" y="183"/>
                </a:moveTo>
                <a:cubicBezTo>
                  <a:pt x="413" y="183"/>
                  <a:pt x="413" y="185"/>
                  <a:pt x="413" y="185"/>
                </a:cubicBezTo>
                <a:cubicBezTo>
                  <a:pt x="411" y="186"/>
                  <a:pt x="412" y="183"/>
                  <a:pt x="413" y="183"/>
                </a:cubicBezTo>
                <a:close/>
                <a:moveTo>
                  <a:pt x="176" y="246"/>
                </a:moveTo>
                <a:cubicBezTo>
                  <a:pt x="175" y="246"/>
                  <a:pt x="172" y="250"/>
                  <a:pt x="176" y="248"/>
                </a:cubicBezTo>
                <a:cubicBezTo>
                  <a:pt x="176" y="248"/>
                  <a:pt x="178" y="245"/>
                  <a:pt x="176" y="246"/>
                </a:cubicBezTo>
                <a:close/>
                <a:moveTo>
                  <a:pt x="198" y="242"/>
                </a:moveTo>
                <a:cubicBezTo>
                  <a:pt x="197" y="243"/>
                  <a:pt x="194" y="248"/>
                  <a:pt x="197" y="246"/>
                </a:cubicBezTo>
                <a:cubicBezTo>
                  <a:pt x="198" y="246"/>
                  <a:pt x="199" y="242"/>
                  <a:pt x="198" y="242"/>
                </a:cubicBezTo>
                <a:close/>
                <a:moveTo>
                  <a:pt x="192" y="239"/>
                </a:moveTo>
                <a:cubicBezTo>
                  <a:pt x="192" y="239"/>
                  <a:pt x="191" y="241"/>
                  <a:pt x="191" y="242"/>
                </a:cubicBezTo>
                <a:cubicBezTo>
                  <a:pt x="192" y="241"/>
                  <a:pt x="195" y="241"/>
                  <a:pt x="193" y="240"/>
                </a:cubicBezTo>
                <a:cubicBezTo>
                  <a:pt x="193" y="239"/>
                  <a:pt x="193" y="239"/>
                  <a:pt x="192" y="239"/>
                </a:cubicBezTo>
                <a:close/>
                <a:moveTo>
                  <a:pt x="257" y="214"/>
                </a:moveTo>
                <a:cubicBezTo>
                  <a:pt x="256" y="216"/>
                  <a:pt x="256" y="216"/>
                  <a:pt x="256" y="216"/>
                </a:cubicBezTo>
                <a:cubicBezTo>
                  <a:pt x="257" y="216"/>
                  <a:pt x="258" y="216"/>
                  <a:pt x="258" y="216"/>
                </a:cubicBezTo>
                <a:cubicBezTo>
                  <a:pt x="258" y="216"/>
                  <a:pt x="260" y="213"/>
                  <a:pt x="257" y="214"/>
                </a:cubicBezTo>
                <a:close/>
                <a:moveTo>
                  <a:pt x="257" y="198"/>
                </a:moveTo>
                <a:cubicBezTo>
                  <a:pt x="257" y="200"/>
                  <a:pt x="257" y="200"/>
                  <a:pt x="257" y="200"/>
                </a:cubicBezTo>
                <a:cubicBezTo>
                  <a:pt x="260" y="200"/>
                  <a:pt x="259" y="199"/>
                  <a:pt x="257" y="198"/>
                </a:cubicBezTo>
                <a:close/>
                <a:moveTo>
                  <a:pt x="215" y="183"/>
                </a:moveTo>
                <a:cubicBezTo>
                  <a:pt x="216" y="182"/>
                  <a:pt x="216" y="185"/>
                  <a:pt x="215" y="185"/>
                </a:cubicBezTo>
                <a:cubicBezTo>
                  <a:pt x="214" y="184"/>
                  <a:pt x="214" y="183"/>
                  <a:pt x="215" y="183"/>
                </a:cubicBezTo>
                <a:close/>
                <a:moveTo>
                  <a:pt x="309" y="167"/>
                </a:moveTo>
                <a:cubicBezTo>
                  <a:pt x="309" y="169"/>
                  <a:pt x="309" y="170"/>
                  <a:pt x="308" y="171"/>
                </a:cubicBezTo>
                <a:cubicBezTo>
                  <a:pt x="308" y="172"/>
                  <a:pt x="307" y="172"/>
                  <a:pt x="307" y="173"/>
                </a:cubicBezTo>
                <a:cubicBezTo>
                  <a:pt x="309" y="171"/>
                  <a:pt x="313" y="169"/>
                  <a:pt x="309" y="167"/>
                </a:cubicBezTo>
                <a:close/>
                <a:moveTo>
                  <a:pt x="315" y="165"/>
                </a:moveTo>
                <a:cubicBezTo>
                  <a:pt x="315" y="167"/>
                  <a:pt x="315" y="167"/>
                  <a:pt x="315" y="167"/>
                </a:cubicBezTo>
                <a:cubicBezTo>
                  <a:pt x="317" y="167"/>
                  <a:pt x="317" y="165"/>
                  <a:pt x="315" y="165"/>
                </a:cubicBezTo>
                <a:close/>
                <a:moveTo>
                  <a:pt x="306" y="164"/>
                </a:moveTo>
                <a:cubicBezTo>
                  <a:pt x="306" y="165"/>
                  <a:pt x="306" y="165"/>
                  <a:pt x="306" y="165"/>
                </a:cubicBezTo>
                <a:cubicBezTo>
                  <a:pt x="308" y="166"/>
                  <a:pt x="307" y="164"/>
                  <a:pt x="306" y="164"/>
                </a:cubicBezTo>
                <a:close/>
                <a:moveTo>
                  <a:pt x="155" y="158"/>
                </a:moveTo>
                <a:cubicBezTo>
                  <a:pt x="155" y="159"/>
                  <a:pt x="153" y="159"/>
                  <a:pt x="154" y="161"/>
                </a:cubicBezTo>
                <a:cubicBezTo>
                  <a:pt x="155" y="161"/>
                  <a:pt x="155" y="161"/>
                  <a:pt x="155" y="161"/>
                </a:cubicBezTo>
                <a:cubicBezTo>
                  <a:pt x="156" y="161"/>
                  <a:pt x="155" y="162"/>
                  <a:pt x="157" y="163"/>
                </a:cubicBezTo>
                <a:cubicBezTo>
                  <a:pt x="157" y="164"/>
                  <a:pt x="157" y="164"/>
                  <a:pt x="157" y="164"/>
                </a:cubicBezTo>
                <a:cubicBezTo>
                  <a:pt x="159" y="163"/>
                  <a:pt x="164" y="162"/>
                  <a:pt x="159" y="159"/>
                </a:cubicBezTo>
                <a:cubicBezTo>
                  <a:pt x="158" y="158"/>
                  <a:pt x="157" y="159"/>
                  <a:pt x="155" y="158"/>
                </a:cubicBezTo>
                <a:close/>
                <a:moveTo>
                  <a:pt x="157" y="129"/>
                </a:moveTo>
                <a:cubicBezTo>
                  <a:pt x="158" y="130"/>
                  <a:pt x="156" y="130"/>
                  <a:pt x="156" y="130"/>
                </a:cubicBezTo>
                <a:cubicBezTo>
                  <a:pt x="156" y="130"/>
                  <a:pt x="156" y="132"/>
                  <a:pt x="156" y="132"/>
                </a:cubicBezTo>
                <a:cubicBezTo>
                  <a:pt x="160" y="131"/>
                  <a:pt x="161" y="132"/>
                  <a:pt x="157" y="129"/>
                </a:cubicBezTo>
                <a:close/>
                <a:moveTo>
                  <a:pt x="14" y="288"/>
                </a:moveTo>
                <a:cubicBezTo>
                  <a:pt x="13" y="290"/>
                  <a:pt x="13" y="290"/>
                  <a:pt x="13" y="290"/>
                </a:cubicBezTo>
                <a:cubicBezTo>
                  <a:pt x="14" y="290"/>
                  <a:pt x="16" y="292"/>
                  <a:pt x="16" y="292"/>
                </a:cubicBezTo>
                <a:cubicBezTo>
                  <a:pt x="18" y="292"/>
                  <a:pt x="18" y="292"/>
                  <a:pt x="18" y="292"/>
                </a:cubicBezTo>
                <a:cubicBezTo>
                  <a:pt x="18" y="292"/>
                  <a:pt x="18" y="291"/>
                  <a:pt x="18" y="290"/>
                </a:cubicBezTo>
                <a:cubicBezTo>
                  <a:pt x="17" y="289"/>
                  <a:pt x="15" y="288"/>
                  <a:pt x="14" y="288"/>
                </a:cubicBezTo>
                <a:close/>
                <a:moveTo>
                  <a:pt x="42" y="284"/>
                </a:moveTo>
                <a:cubicBezTo>
                  <a:pt x="43" y="285"/>
                  <a:pt x="43" y="287"/>
                  <a:pt x="44" y="288"/>
                </a:cubicBezTo>
                <a:cubicBezTo>
                  <a:pt x="45" y="288"/>
                  <a:pt x="45" y="288"/>
                  <a:pt x="45" y="288"/>
                </a:cubicBezTo>
                <a:cubicBezTo>
                  <a:pt x="44" y="286"/>
                  <a:pt x="44" y="286"/>
                  <a:pt x="44" y="286"/>
                </a:cubicBezTo>
                <a:cubicBezTo>
                  <a:pt x="45" y="286"/>
                  <a:pt x="45" y="285"/>
                  <a:pt x="45" y="284"/>
                </a:cubicBezTo>
                <a:cubicBezTo>
                  <a:pt x="45" y="284"/>
                  <a:pt x="43" y="284"/>
                  <a:pt x="42" y="284"/>
                </a:cubicBezTo>
                <a:close/>
                <a:moveTo>
                  <a:pt x="53" y="284"/>
                </a:moveTo>
                <a:cubicBezTo>
                  <a:pt x="52" y="284"/>
                  <a:pt x="52" y="287"/>
                  <a:pt x="52" y="288"/>
                </a:cubicBezTo>
                <a:cubicBezTo>
                  <a:pt x="52" y="287"/>
                  <a:pt x="54" y="285"/>
                  <a:pt x="54" y="285"/>
                </a:cubicBezTo>
                <a:cubicBezTo>
                  <a:pt x="54" y="285"/>
                  <a:pt x="53" y="282"/>
                  <a:pt x="53" y="284"/>
                </a:cubicBezTo>
                <a:close/>
                <a:moveTo>
                  <a:pt x="49" y="284"/>
                </a:moveTo>
                <a:cubicBezTo>
                  <a:pt x="49" y="284"/>
                  <a:pt x="48" y="288"/>
                  <a:pt x="49" y="287"/>
                </a:cubicBezTo>
                <a:cubicBezTo>
                  <a:pt x="50" y="287"/>
                  <a:pt x="52" y="282"/>
                  <a:pt x="49" y="284"/>
                </a:cubicBezTo>
                <a:close/>
                <a:moveTo>
                  <a:pt x="83" y="283"/>
                </a:moveTo>
                <a:cubicBezTo>
                  <a:pt x="83" y="283"/>
                  <a:pt x="82" y="284"/>
                  <a:pt x="82" y="284"/>
                </a:cubicBezTo>
                <a:cubicBezTo>
                  <a:pt x="83" y="284"/>
                  <a:pt x="84" y="284"/>
                  <a:pt x="85" y="284"/>
                </a:cubicBezTo>
                <a:cubicBezTo>
                  <a:pt x="85" y="284"/>
                  <a:pt x="85" y="283"/>
                  <a:pt x="85" y="283"/>
                </a:cubicBezTo>
                <a:cubicBezTo>
                  <a:pt x="84" y="283"/>
                  <a:pt x="83" y="283"/>
                  <a:pt x="83" y="283"/>
                </a:cubicBezTo>
                <a:close/>
                <a:moveTo>
                  <a:pt x="20" y="282"/>
                </a:moveTo>
                <a:cubicBezTo>
                  <a:pt x="20" y="283"/>
                  <a:pt x="19" y="284"/>
                  <a:pt x="20" y="286"/>
                </a:cubicBezTo>
                <a:cubicBezTo>
                  <a:pt x="20" y="285"/>
                  <a:pt x="22" y="286"/>
                  <a:pt x="22" y="286"/>
                </a:cubicBezTo>
                <a:cubicBezTo>
                  <a:pt x="22" y="285"/>
                  <a:pt x="22" y="283"/>
                  <a:pt x="22" y="283"/>
                </a:cubicBezTo>
                <a:cubicBezTo>
                  <a:pt x="22" y="283"/>
                  <a:pt x="20" y="282"/>
                  <a:pt x="20" y="282"/>
                </a:cubicBezTo>
                <a:close/>
                <a:moveTo>
                  <a:pt x="4" y="282"/>
                </a:moveTo>
                <a:cubicBezTo>
                  <a:pt x="3" y="282"/>
                  <a:pt x="0" y="287"/>
                  <a:pt x="4" y="286"/>
                </a:cubicBezTo>
                <a:cubicBezTo>
                  <a:pt x="4" y="285"/>
                  <a:pt x="4" y="282"/>
                  <a:pt x="4" y="282"/>
                </a:cubicBezTo>
                <a:close/>
                <a:moveTo>
                  <a:pt x="71" y="278"/>
                </a:moveTo>
                <a:cubicBezTo>
                  <a:pt x="71" y="278"/>
                  <a:pt x="71" y="281"/>
                  <a:pt x="71" y="281"/>
                </a:cubicBezTo>
                <a:cubicBezTo>
                  <a:pt x="70" y="282"/>
                  <a:pt x="69" y="281"/>
                  <a:pt x="68" y="282"/>
                </a:cubicBezTo>
                <a:cubicBezTo>
                  <a:pt x="68" y="282"/>
                  <a:pt x="68" y="282"/>
                  <a:pt x="68" y="282"/>
                </a:cubicBezTo>
                <a:cubicBezTo>
                  <a:pt x="68" y="282"/>
                  <a:pt x="70" y="283"/>
                  <a:pt x="71" y="283"/>
                </a:cubicBezTo>
                <a:cubicBezTo>
                  <a:pt x="71" y="283"/>
                  <a:pt x="78" y="275"/>
                  <a:pt x="71" y="278"/>
                </a:cubicBezTo>
                <a:close/>
                <a:moveTo>
                  <a:pt x="103" y="277"/>
                </a:moveTo>
                <a:cubicBezTo>
                  <a:pt x="101" y="277"/>
                  <a:pt x="104" y="278"/>
                  <a:pt x="105" y="278"/>
                </a:cubicBezTo>
                <a:cubicBezTo>
                  <a:pt x="104" y="278"/>
                  <a:pt x="105" y="277"/>
                  <a:pt x="103" y="277"/>
                </a:cubicBezTo>
                <a:close/>
                <a:moveTo>
                  <a:pt x="109" y="275"/>
                </a:moveTo>
                <a:cubicBezTo>
                  <a:pt x="108" y="275"/>
                  <a:pt x="110" y="276"/>
                  <a:pt x="110" y="276"/>
                </a:cubicBezTo>
                <a:cubicBezTo>
                  <a:pt x="110" y="276"/>
                  <a:pt x="112" y="274"/>
                  <a:pt x="109" y="275"/>
                </a:cubicBezTo>
                <a:close/>
                <a:moveTo>
                  <a:pt x="126" y="266"/>
                </a:moveTo>
                <a:cubicBezTo>
                  <a:pt x="126" y="266"/>
                  <a:pt x="126" y="266"/>
                  <a:pt x="126" y="266"/>
                </a:cubicBezTo>
                <a:cubicBezTo>
                  <a:pt x="123" y="268"/>
                  <a:pt x="125" y="268"/>
                  <a:pt x="125" y="268"/>
                </a:cubicBezTo>
                <a:cubicBezTo>
                  <a:pt x="124" y="269"/>
                  <a:pt x="123" y="268"/>
                  <a:pt x="122" y="269"/>
                </a:cubicBezTo>
                <a:cubicBezTo>
                  <a:pt x="122" y="270"/>
                  <a:pt x="122" y="270"/>
                  <a:pt x="122" y="270"/>
                </a:cubicBezTo>
                <a:cubicBezTo>
                  <a:pt x="121" y="270"/>
                  <a:pt x="121" y="270"/>
                  <a:pt x="121" y="270"/>
                </a:cubicBezTo>
                <a:cubicBezTo>
                  <a:pt x="121" y="271"/>
                  <a:pt x="122" y="272"/>
                  <a:pt x="121" y="273"/>
                </a:cubicBezTo>
                <a:cubicBezTo>
                  <a:pt x="123" y="273"/>
                  <a:pt x="123" y="273"/>
                  <a:pt x="123" y="273"/>
                </a:cubicBezTo>
                <a:cubicBezTo>
                  <a:pt x="124" y="273"/>
                  <a:pt x="125" y="269"/>
                  <a:pt x="127" y="268"/>
                </a:cubicBezTo>
                <a:cubicBezTo>
                  <a:pt x="128" y="268"/>
                  <a:pt x="128" y="268"/>
                  <a:pt x="128" y="268"/>
                </a:cubicBezTo>
                <a:cubicBezTo>
                  <a:pt x="128" y="268"/>
                  <a:pt x="128" y="266"/>
                  <a:pt x="128" y="266"/>
                </a:cubicBezTo>
                <a:cubicBezTo>
                  <a:pt x="127" y="266"/>
                  <a:pt x="126" y="265"/>
                  <a:pt x="126" y="266"/>
                </a:cubicBezTo>
                <a:close/>
                <a:moveTo>
                  <a:pt x="137" y="262"/>
                </a:moveTo>
                <a:cubicBezTo>
                  <a:pt x="136" y="263"/>
                  <a:pt x="133" y="264"/>
                  <a:pt x="137" y="265"/>
                </a:cubicBezTo>
                <a:cubicBezTo>
                  <a:pt x="136" y="265"/>
                  <a:pt x="135" y="267"/>
                  <a:pt x="134" y="268"/>
                </a:cubicBezTo>
                <a:cubicBezTo>
                  <a:pt x="133" y="268"/>
                  <a:pt x="132" y="267"/>
                  <a:pt x="131" y="268"/>
                </a:cubicBezTo>
                <a:cubicBezTo>
                  <a:pt x="132" y="270"/>
                  <a:pt x="132" y="270"/>
                  <a:pt x="132" y="270"/>
                </a:cubicBezTo>
                <a:cubicBezTo>
                  <a:pt x="133" y="270"/>
                  <a:pt x="134" y="269"/>
                  <a:pt x="135" y="270"/>
                </a:cubicBezTo>
                <a:cubicBezTo>
                  <a:pt x="137" y="268"/>
                  <a:pt x="139" y="265"/>
                  <a:pt x="141" y="263"/>
                </a:cubicBezTo>
                <a:cubicBezTo>
                  <a:pt x="139" y="262"/>
                  <a:pt x="138" y="262"/>
                  <a:pt x="137" y="262"/>
                </a:cubicBezTo>
                <a:close/>
                <a:moveTo>
                  <a:pt x="162" y="245"/>
                </a:moveTo>
                <a:cubicBezTo>
                  <a:pt x="161" y="246"/>
                  <a:pt x="161" y="246"/>
                  <a:pt x="161" y="246"/>
                </a:cubicBezTo>
                <a:cubicBezTo>
                  <a:pt x="160" y="247"/>
                  <a:pt x="158" y="246"/>
                  <a:pt x="157" y="246"/>
                </a:cubicBezTo>
                <a:cubicBezTo>
                  <a:pt x="156" y="248"/>
                  <a:pt x="156" y="250"/>
                  <a:pt x="155" y="251"/>
                </a:cubicBezTo>
                <a:cubicBezTo>
                  <a:pt x="154" y="251"/>
                  <a:pt x="154" y="251"/>
                  <a:pt x="154" y="251"/>
                </a:cubicBezTo>
                <a:cubicBezTo>
                  <a:pt x="154" y="252"/>
                  <a:pt x="154" y="252"/>
                  <a:pt x="154" y="253"/>
                </a:cubicBezTo>
                <a:cubicBezTo>
                  <a:pt x="155" y="253"/>
                  <a:pt x="156" y="253"/>
                  <a:pt x="156" y="253"/>
                </a:cubicBezTo>
                <a:cubicBezTo>
                  <a:pt x="157" y="253"/>
                  <a:pt x="160" y="250"/>
                  <a:pt x="161" y="250"/>
                </a:cubicBezTo>
                <a:cubicBezTo>
                  <a:pt x="165" y="249"/>
                  <a:pt x="166" y="250"/>
                  <a:pt x="167" y="248"/>
                </a:cubicBezTo>
                <a:cubicBezTo>
                  <a:pt x="167" y="247"/>
                  <a:pt x="169" y="248"/>
                  <a:pt x="167" y="247"/>
                </a:cubicBezTo>
                <a:cubicBezTo>
                  <a:pt x="166" y="246"/>
                  <a:pt x="166" y="245"/>
                  <a:pt x="162" y="245"/>
                </a:cubicBezTo>
                <a:close/>
                <a:moveTo>
                  <a:pt x="430" y="226"/>
                </a:moveTo>
                <a:cubicBezTo>
                  <a:pt x="429" y="228"/>
                  <a:pt x="429" y="230"/>
                  <a:pt x="428" y="231"/>
                </a:cubicBezTo>
                <a:cubicBezTo>
                  <a:pt x="429" y="231"/>
                  <a:pt x="431" y="231"/>
                  <a:pt x="432" y="231"/>
                </a:cubicBezTo>
                <a:cubicBezTo>
                  <a:pt x="432" y="233"/>
                  <a:pt x="432" y="233"/>
                  <a:pt x="433" y="235"/>
                </a:cubicBezTo>
                <a:cubicBezTo>
                  <a:pt x="434" y="235"/>
                  <a:pt x="434" y="235"/>
                  <a:pt x="434" y="235"/>
                </a:cubicBezTo>
                <a:cubicBezTo>
                  <a:pt x="434" y="235"/>
                  <a:pt x="435" y="234"/>
                  <a:pt x="436" y="234"/>
                </a:cubicBezTo>
                <a:cubicBezTo>
                  <a:pt x="436" y="235"/>
                  <a:pt x="435" y="238"/>
                  <a:pt x="436" y="238"/>
                </a:cubicBezTo>
                <a:cubicBezTo>
                  <a:pt x="435" y="239"/>
                  <a:pt x="435" y="239"/>
                  <a:pt x="435" y="239"/>
                </a:cubicBezTo>
                <a:cubicBezTo>
                  <a:pt x="437" y="239"/>
                  <a:pt x="440" y="240"/>
                  <a:pt x="441" y="241"/>
                </a:cubicBezTo>
                <a:cubicBezTo>
                  <a:pt x="441" y="241"/>
                  <a:pt x="440" y="243"/>
                  <a:pt x="441" y="244"/>
                </a:cubicBezTo>
                <a:cubicBezTo>
                  <a:pt x="443" y="244"/>
                  <a:pt x="443" y="244"/>
                  <a:pt x="443" y="244"/>
                </a:cubicBezTo>
                <a:cubicBezTo>
                  <a:pt x="443" y="245"/>
                  <a:pt x="443" y="246"/>
                  <a:pt x="443" y="248"/>
                </a:cubicBezTo>
                <a:cubicBezTo>
                  <a:pt x="443" y="248"/>
                  <a:pt x="444" y="248"/>
                  <a:pt x="444" y="249"/>
                </a:cubicBezTo>
                <a:cubicBezTo>
                  <a:pt x="445" y="249"/>
                  <a:pt x="447" y="249"/>
                  <a:pt x="448" y="249"/>
                </a:cubicBezTo>
                <a:cubicBezTo>
                  <a:pt x="447" y="242"/>
                  <a:pt x="449" y="243"/>
                  <a:pt x="445" y="244"/>
                </a:cubicBezTo>
                <a:cubicBezTo>
                  <a:pt x="446" y="242"/>
                  <a:pt x="446" y="242"/>
                  <a:pt x="446" y="240"/>
                </a:cubicBezTo>
                <a:cubicBezTo>
                  <a:pt x="446" y="240"/>
                  <a:pt x="446" y="238"/>
                  <a:pt x="446" y="238"/>
                </a:cubicBezTo>
                <a:cubicBezTo>
                  <a:pt x="445" y="238"/>
                  <a:pt x="443" y="239"/>
                  <a:pt x="442" y="238"/>
                </a:cubicBezTo>
                <a:cubicBezTo>
                  <a:pt x="442" y="238"/>
                  <a:pt x="442" y="238"/>
                  <a:pt x="442" y="238"/>
                </a:cubicBezTo>
                <a:cubicBezTo>
                  <a:pt x="442" y="238"/>
                  <a:pt x="442" y="238"/>
                  <a:pt x="442" y="238"/>
                </a:cubicBezTo>
                <a:cubicBezTo>
                  <a:pt x="441" y="236"/>
                  <a:pt x="441" y="236"/>
                  <a:pt x="441" y="236"/>
                </a:cubicBezTo>
                <a:cubicBezTo>
                  <a:pt x="440" y="236"/>
                  <a:pt x="440" y="236"/>
                  <a:pt x="440" y="236"/>
                </a:cubicBezTo>
                <a:cubicBezTo>
                  <a:pt x="439" y="234"/>
                  <a:pt x="440" y="233"/>
                  <a:pt x="439" y="232"/>
                </a:cubicBezTo>
                <a:cubicBezTo>
                  <a:pt x="438" y="231"/>
                  <a:pt x="436" y="231"/>
                  <a:pt x="435" y="230"/>
                </a:cubicBezTo>
                <a:cubicBezTo>
                  <a:pt x="434" y="230"/>
                  <a:pt x="435" y="228"/>
                  <a:pt x="434" y="228"/>
                </a:cubicBezTo>
                <a:cubicBezTo>
                  <a:pt x="434" y="227"/>
                  <a:pt x="430" y="227"/>
                  <a:pt x="430" y="226"/>
                </a:cubicBezTo>
                <a:close/>
                <a:moveTo>
                  <a:pt x="412" y="210"/>
                </a:moveTo>
                <a:cubicBezTo>
                  <a:pt x="412" y="210"/>
                  <a:pt x="411" y="213"/>
                  <a:pt x="411" y="214"/>
                </a:cubicBezTo>
                <a:cubicBezTo>
                  <a:pt x="411" y="215"/>
                  <a:pt x="413" y="217"/>
                  <a:pt x="414" y="218"/>
                </a:cubicBezTo>
                <a:cubicBezTo>
                  <a:pt x="414" y="218"/>
                  <a:pt x="414" y="219"/>
                  <a:pt x="414" y="220"/>
                </a:cubicBezTo>
                <a:cubicBezTo>
                  <a:pt x="414" y="220"/>
                  <a:pt x="417" y="221"/>
                  <a:pt x="417" y="221"/>
                </a:cubicBezTo>
                <a:cubicBezTo>
                  <a:pt x="418" y="222"/>
                  <a:pt x="417" y="223"/>
                  <a:pt x="418" y="224"/>
                </a:cubicBezTo>
                <a:cubicBezTo>
                  <a:pt x="418" y="225"/>
                  <a:pt x="420" y="225"/>
                  <a:pt x="420" y="226"/>
                </a:cubicBezTo>
                <a:cubicBezTo>
                  <a:pt x="421" y="224"/>
                  <a:pt x="421" y="224"/>
                  <a:pt x="421" y="222"/>
                </a:cubicBezTo>
                <a:cubicBezTo>
                  <a:pt x="422" y="223"/>
                  <a:pt x="422" y="223"/>
                  <a:pt x="422" y="225"/>
                </a:cubicBezTo>
                <a:cubicBezTo>
                  <a:pt x="423" y="225"/>
                  <a:pt x="425" y="225"/>
                  <a:pt x="425" y="225"/>
                </a:cubicBezTo>
                <a:cubicBezTo>
                  <a:pt x="423" y="226"/>
                  <a:pt x="424" y="229"/>
                  <a:pt x="425" y="230"/>
                </a:cubicBezTo>
                <a:cubicBezTo>
                  <a:pt x="425" y="230"/>
                  <a:pt x="427" y="229"/>
                  <a:pt x="427" y="228"/>
                </a:cubicBezTo>
                <a:cubicBezTo>
                  <a:pt x="427" y="227"/>
                  <a:pt x="427" y="224"/>
                  <a:pt x="427" y="224"/>
                </a:cubicBezTo>
                <a:cubicBezTo>
                  <a:pt x="427" y="224"/>
                  <a:pt x="427" y="224"/>
                  <a:pt x="427" y="224"/>
                </a:cubicBezTo>
                <a:cubicBezTo>
                  <a:pt x="429" y="224"/>
                  <a:pt x="428" y="226"/>
                  <a:pt x="430" y="225"/>
                </a:cubicBezTo>
                <a:cubicBezTo>
                  <a:pt x="430" y="225"/>
                  <a:pt x="432" y="224"/>
                  <a:pt x="430" y="224"/>
                </a:cubicBezTo>
                <a:cubicBezTo>
                  <a:pt x="431" y="223"/>
                  <a:pt x="430" y="222"/>
                  <a:pt x="430" y="222"/>
                </a:cubicBezTo>
                <a:cubicBezTo>
                  <a:pt x="430" y="222"/>
                  <a:pt x="431" y="222"/>
                  <a:pt x="432" y="222"/>
                </a:cubicBezTo>
                <a:cubicBezTo>
                  <a:pt x="431" y="221"/>
                  <a:pt x="432" y="220"/>
                  <a:pt x="432" y="218"/>
                </a:cubicBezTo>
                <a:cubicBezTo>
                  <a:pt x="431" y="215"/>
                  <a:pt x="427" y="216"/>
                  <a:pt x="424" y="216"/>
                </a:cubicBezTo>
                <a:cubicBezTo>
                  <a:pt x="425" y="216"/>
                  <a:pt x="425" y="220"/>
                  <a:pt x="424" y="220"/>
                </a:cubicBezTo>
                <a:cubicBezTo>
                  <a:pt x="425" y="221"/>
                  <a:pt x="426" y="221"/>
                  <a:pt x="426" y="221"/>
                </a:cubicBezTo>
                <a:cubicBezTo>
                  <a:pt x="429" y="223"/>
                  <a:pt x="424" y="222"/>
                  <a:pt x="424" y="222"/>
                </a:cubicBezTo>
                <a:cubicBezTo>
                  <a:pt x="424" y="221"/>
                  <a:pt x="424" y="220"/>
                  <a:pt x="423" y="219"/>
                </a:cubicBezTo>
                <a:cubicBezTo>
                  <a:pt x="423" y="219"/>
                  <a:pt x="421" y="221"/>
                  <a:pt x="421" y="220"/>
                </a:cubicBezTo>
                <a:cubicBezTo>
                  <a:pt x="419" y="219"/>
                  <a:pt x="420" y="215"/>
                  <a:pt x="418" y="213"/>
                </a:cubicBezTo>
                <a:cubicBezTo>
                  <a:pt x="418" y="213"/>
                  <a:pt x="417" y="213"/>
                  <a:pt x="416" y="213"/>
                </a:cubicBezTo>
                <a:cubicBezTo>
                  <a:pt x="416" y="212"/>
                  <a:pt x="416" y="212"/>
                  <a:pt x="416" y="212"/>
                </a:cubicBezTo>
                <a:cubicBezTo>
                  <a:pt x="415" y="212"/>
                  <a:pt x="413" y="211"/>
                  <a:pt x="412" y="210"/>
                </a:cubicBezTo>
                <a:close/>
                <a:moveTo>
                  <a:pt x="258" y="202"/>
                </a:moveTo>
                <a:cubicBezTo>
                  <a:pt x="257" y="202"/>
                  <a:pt x="258" y="204"/>
                  <a:pt x="258" y="204"/>
                </a:cubicBezTo>
                <a:cubicBezTo>
                  <a:pt x="256" y="204"/>
                  <a:pt x="254" y="204"/>
                  <a:pt x="252" y="204"/>
                </a:cubicBezTo>
                <a:cubicBezTo>
                  <a:pt x="252" y="204"/>
                  <a:pt x="252" y="203"/>
                  <a:pt x="252" y="202"/>
                </a:cubicBezTo>
                <a:cubicBezTo>
                  <a:pt x="251" y="202"/>
                  <a:pt x="250" y="203"/>
                  <a:pt x="250" y="202"/>
                </a:cubicBezTo>
                <a:cubicBezTo>
                  <a:pt x="250" y="204"/>
                  <a:pt x="250" y="204"/>
                  <a:pt x="250" y="204"/>
                </a:cubicBezTo>
                <a:cubicBezTo>
                  <a:pt x="248" y="203"/>
                  <a:pt x="250" y="206"/>
                  <a:pt x="250" y="206"/>
                </a:cubicBezTo>
                <a:cubicBezTo>
                  <a:pt x="251" y="205"/>
                  <a:pt x="250" y="208"/>
                  <a:pt x="250" y="208"/>
                </a:cubicBezTo>
                <a:cubicBezTo>
                  <a:pt x="247" y="208"/>
                  <a:pt x="239" y="206"/>
                  <a:pt x="245" y="211"/>
                </a:cubicBezTo>
                <a:cubicBezTo>
                  <a:pt x="245" y="212"/>
                  <a:pt x="244" y="214"/>
                  <a:pt x="244" y="214"/>
                </a:cubicBezTo>
                <a:cubicBezTo>
                  <a:pt x="245" y="214"/>
                  <a:pt x="245" y="216"/>
                  <a:pt x="247" y="215"/>
                </a:cubicBezTo>
                <a:cubicBezTo>
                  <a:pt x="247" y="215"/>
                  <a:pt x="248" y="213"/>
                  <a:pt x="248" y="213"/>
                </a:cubicBezTo>
                <a:cubicBezTo>
                  <a:pt x="249" y="214"/>
                  <a:pt x="250" y="214"/>
                  <a:pt x="252" y="214"/>
                </a:cubicBezTo>
                <a:cubicBezTo>
                  <a:pt x="252" y="215"/>
                  <a:pt x="251" y="216"/>
                  <a:pt x="252" y="216"/>
                </a:cubicBezTo>
                <a:cubicBezTo>
                  <a:pt x="252" y="217"/>
                  <a:pt x="253" y="216"/>
                  <a:pt x="254" y="216"/>
                </a:cubicBezTo>
                <a:cubicBezTo>
                  <a:pt x="254" y="216"/>
                  <a:pt x="254" y="214"/>
                  <a:pt x="254" y="214"/>
                </a:cubicBezTo>
                <a:cubicBezTo>
                  <a:pt x="256" y="212"/>
                  <a:pt x="259" y="212"/>
                  <a:pt x="262" y="212"/>
                </a:cubicBezTo>
                <a:cubicBezTo>
                  <a:pt x="262" y="210"/>
                  <a:pt x="262" y="210"/>
                  <a:pt x="262" y="210"/>
                </a:cubicBezTo>
                <a:cubicBezTo>
                  <a:pt x="258" y="210"/>
                  <a:pt x="262" y="210"/>
                  <a:pt x="260" y="209"/>
                </a:cubicBezTo>
                <a:cubicBezTo>
                  <a:pt x="261" y="209"/>
                  <a:pt x="269" y="210"/>
                  <a:pt x="266" y="208"/>
                </a:cubicBezTo>
                <a:cubicBezTo>
                  <a:pt x="263" y="207"/>
                  <a:pt x="263" y="207"/>
                  <a:pt x="263" y="204"/>
                </a:cubicBezTo>
                <a:cubicBezTo>
                  <a:pt x="261" y="203"/>
                  <a:pt x="262" y="205"/>
                  <a:pt x="260" y="204"/>
                </a:cubicBezTo>
                <a:cubicBezTo>
                  <a:pt x="260" y="204"/>
                  <a:pt x="259" y="202"/>
                  <a:pt x="258" y="202"/>
                </a:cubicBezTo>
                <a:close/>
                <a:moveTo>
                  <a:pt x="260" y="192"/>
                </a:moveTo>
                <a:cubicBezTo>
                  <a:pt x="259" y="194"/>
                  <a:pt x="256" y="199"/>
                  <a:pt x="260" y="198"/>
                </a:cubicBezTo>
                <a:cubicBezTo>
                  <a:pt x="260" y="198"/>
                  <a:pt x="261" y="197"/>
                  <a:pt x="261" y="196"/>
                </a:cubicBezTo>
                <a:cubicBezTo>
                  <a:pt x="262" y="196"/>
                  <a:pt x="262" y="197"/>
                  <a:pt x="263" y="196"/>
                </a:cubicBezTo>
                <a:cubicBezTo>
                  <a:pt x="262" y="197"/>
                  <a:pt x="264" y="198"/>
                  <a:pt x="264" y="198"/>
                </a:cubicBezTo>
                <a:cubicBezTo>
                  <a:pt x="265" y="198"/>
                  <a:pt x="265" y="197"/>
                  <a:pt x="266" y="197"/>
                </a:cubicBezTo>
                <a:cubicBezTo>
                  <a:pt x="263" y="194"/>
                  <a:pt x="263" y="194"/>
                  <a:pt x="263" y="194"/>
                </a:cubicBezTo>
                <a:cubicBezTo>
                  <a:pt x="263" y="194"/>
                  <a:pt x="263" y="193"/>
                  <a:pt x="263" y="192"/>
                </a:cubicBezTo>
                <a:cubicBezTo>
                  <a:pt x="262" y="192"/>
                  <a:pt x="261" y="193"/>
                  <a:pt x="260" y="192"/>
                </a:cubicBezTo>
                <a:close/>
                <a:moveTo>
                  <a:pt x="145" y="166"/>
                </a:moveTo>
                <a:cubicBezTo>
                  <a:pt x="144" y="166"/>
                  <a:pt x="142" y="168"/>
                  <a:pt x="142" y="169"/>
                </a:cubicBezTo>
                <a:cubicBezTo>
                  <a:pt x="140" y="169"/>
                  <a:pt x="137" y="169"/>
                  <a:pt x="135" y="169"/>
                </a:cubicBezTo>
                <a:cubicBezTo>
                  <a:pt x="135" y="170"/>
                  <a:pt x="135" y="171"/>
                  <a:pt x="136" y="172"/>
                </a:cubicBezTo>
                <a:cubicBezTo>
                  <a:pt x="136" y="172"/>
                  <a:pt x="144" y="175"/>
                  <a:pt x="144" y="175"/>
                </a:cubicBezTo>
                <a:cubicBezTo>
                  <a:pt x="145" y="173"/>
                  <a:pt x="145" y="173"/>
                  <a:pt x="145" y="173"/>
                </a:cubicBezTo>
                <a:cubicBezTo>
                  <a:pt x="147" y="172"/>
                  <a:pt x="148" y="172"/>
                  <a:pt x="150" y="171"/>
                </a:cubicBezTo>
                <a:cubicBezTo>
                  <a:pt x="149" y="168"/>
                  <a:pt x="149" y="165"/>
                  <a:pt x="145" y="166"/>
                </a:cubicBezTo>
                <a:close/>
                <a:moveTo>
                  <a:pt x="107" y="116"/>
                </a:moveTo>
                <a:cubicBezTo>
                  <a:pt x="106" y="116"/>
                  <a:pt x="105" y="119"/>
                  <a:pt x="105" y="119"/>
                </a:cubicBezTo>
                <a:cubicBezTo>
                  <a:pt x="104" y="119"/>
                  <a:pt x="99" y="118"/>
                  <a:pt x="99" y="118"/>
                </a:cubicBezTo>
                <a:cubicBezTo>
                  <a:pt x="98" y="118"/>
                  <a:pt x="98" y="118"/>
                  <a:pt x="97" y="117"/>
                </a:cubicBezTo>
                <a:cubicBezTo>
                  <a:pt x="97" y="118"/>
                  <a:pt x="96" y="119"/>
                  <a:pt x="96" y="119"/>
                </a:cubicBezTo>
                <a:cubicBezTo>
                  <a:pt x="96" y="120"/>
                  <a:pt x="97" y="123"/>
                  <a:pt x="97" y="123"/>
                </a:cubicBezTo>
                <a:cubicBezTo>
                  <a:pt x="101" y="122"/>
                  <a:pt x="107" y="120"/>
                  <a:pt x="111" y="123"/>
                </a:cubicBezTo>
                <a:cubicBezTo>
                  <a:pt x="112" y="123"/>
                  <a:pt x="112" y="125"/>
                  <a:pt x="113" y="125"/>
                </a:cubicBezTo>
                <a:cubicBezTo>
                  <a:pt x="114" y="126"/>
                  <a:pt x="115" y="125"/>
                  <a:pt x="116" y="127"/>
                </a:cubicBezTo>
                <a:cubicBezTo>
                  <a:pt x="116" y="127"/>
                  <a:pt x="116" y="129"/>
                  <a:pt x="116" y="129"/>
                </a:cubicBezTo>
                <a:cubicBezTo>
                  <a:pt x="116" y="129"/>
                  <a:pt x="118" y="129"/>
                  <a:pt x="119" y="129"/>
                </a:cubicBezTo>
                <a:cubicBezTo>
                  <a:pt x="119" y="129"/>
                  <a:pt x="119" y="127"/>
                  <a:pt x="119" y="126"/>
                </a:cubicBezTo>
                <a:cubicBezTo>
                  <a:pt x="119" y="126"/>
                  <a:pt x="120" y="126"/>
                  <a:pt x="121" y="126"/>
                </a:cubicBezTo>
                <a:cubicBezTo>
                  <a:pt x="121" y="126"/>
                  <a:pt x="121" y="124"/>
                  <a:pt x="122" y="124"/>
                </a:cubicBezTo>
                <a:cubicBezTo>
                  <a:pt x="118" y="123"/>
                  <a:pt x="115" y="123"/>
                  <a:pt x="113" y="121"/>
                </a:cubicBezTo>
                <a:cubicBezTo>
                  <a:pt x="112" y="119"/>
                  <a:pt x="110" y="115"/>
                  <a:pt x="107" y="116"/>
                </a:cubicBezTo>
                <a:close/>
                <a:moveTo>
                  <a:pt x="176" y="74"/>
                </a:moveTo>
                <a:cubicBezTo>
                  <a:pt x="176" y="74"/>
                  <a:pt x="176" y="75"/>
                  <a:pt x="176" y="75"/>
                </a:cubicBezTo>
                <a:cubicBezTo>
                  <a:pt x="178" y="76"/>
                  <a:pt x="177" y="74"/>
                  <a:pt x="176" y="74"/>
                </a:cubicBezTo>
                <a:close/>
                <a:moveTo>
                  <a:pt x="358" y="22"/>
                </a:moveTo>
                <a:cubicBezTo>
                  <a:pt x="358" y="22"/>
                  <a:pt x="357" y="20"/>
                  <a:pt x="357" y="20"/>
                </a:cubicBezTo>
                <a:cubicBezTo>
                  <a:pt x="355" y="19"/>
                  <a:pt x="354" y="19"/>
                  <a:pt x="351" y="18"/>
                </a:cubicBezTo>
                <a:cubicBezTo>
                  <a:pt x="351" y="17"/>
                  <a:pt x="351" y="17"/>
                  <a:pt x="351" y="17"/>
                </a:cubicBezTo>
                <a:cubicBezTo>
                  <a:pt x="348" y="17"/>
                  <a:pt x="347" y="19"/>
                  <a:pt x="344" y="18"/>
                </a:cubicBezTo>
                <a:cubicBezTo>
                  <a:pt x="343" y="18"/>
                  <a:pt x="342" y="16"/>
                  <a:pt x="342" y="16"/>
                </a:cubicBezTo>
                <a:cubicBezTo>
                  <a:pt x="342" y="16"/>
                  <a:pt x="340" y="16"/>
                  <a:pt x="340" y="16"/>
                </a:cubicBezTo>
                <a:cubicBezTo>
                  <a:pt x="340" y="17"/>
                  <a:pt x="339" y="18"/>
                  <a:pt x="339" y="19"/>
                </a:cubicBezTo>
                <a:cubicBezTo>
                  <a:pt x="340" y="20"/>
                  <a:pt x="337" y="20"/>
                  <a:pt x="337" y="20"/>
                </a:cubicBezTo>
                <a:cubicBezTo>
                  <a:pt x="337" y="20"/>
                  <a:pt x="336" y="18"/>
                  <a:pt x="335" y="18"/>
                </a:cubicBezTo>
                <a:cubicBezTo>
                  <a:pt x="334" y="18"/>
                  <a:pt x="334" y="20"/>
                  <a:pt x="333" y="20"/>
                </a:cubicBezTo>
                <a:cubicBezTo>
                  <a:pt x="332" y="20"/>
                  <a:pt x="332" y="18"/>
                  <a:pt x="332" y="18"/>
                </a:cubicBezTo>
                <a:cubicBezTo>
                  <a:pt x="327" y="17"/>
                  <a:pt x="325" y="17"/>
                  <a:pt x="321" y="17"/>
                </a:cubicBezTo>
                <a:cubicBezTo>
                  <a:pt x="320" y="15"/>
                  <a:pt x="320" y="15"/>
                  <a:pt x="320" y="15"/>
                </a:cubicBezTo>
                <a:cubicBezTo>
                  <a:pt x="317" y="14"/>
                  <a:pt x="316" y="16"/>
                  <a:pt x="314" y="16"/>
                </a:cubicBezTo>
                <a:cubicBezTo>
                  <a:pt x="309" y="16"/>
                  <a:pt x="306" y="14"/>
                  <a:pt x="301" y="15"/>
                </a:cubicBezTo>
                <a:cubicBezTo>
                  <a:pt x="300" y="14"/>
                  <a:pt x="300" y="14"/>
                  <a:pt x="300" y="14"/>
                </a:cubicBezTo>
                <a:cubicBezTo>
                  <a:pt x="298" y="13"/>
                  <a:pt x="298" y="15"/>
                  <a:pt x="296" y="14"/>
                </a:cubicBezTo>
                <a:cubicBezTo>
                  <a:pt x="295" y="14"/>
                  <a:pt x="293" y="11"/>
                  <a:pt x="292" y="11"/>
                </a:cubicBezTo>
                <a:cubicBezTo>
                  <a:pt x="291" y="11"/>
                  <a:pt x="291" y="12"/>
                  <a:pt x="289" y="12"/>
                </a:cubicBezTo>
                <a:cubicBezTo>
                  <a:pt x="289" y="10"/>
                  <a:pt x="289" y="10"/>
                  <a:pt x="289" y="10"/>
                </a:cubicBezTo>
                <a:cubicBezTo>
                  <a:pt x="286" y="10"/>
                  <a:pt x="285" y="12"/>
                  <a:pt x="283" y="12"/>
                </a:cubicBezTo>
                <a:cubicBezTo>
                  <a:pt x="282" y="13"/>
                  <a:pt x="281" y="12"/>
                  <a:pt x="279" y="12"/>
                </a:cubicBezTo>
                <a:cubicBezTo>
                  <a:pt x="279" y="12"/>
                  <a:pt x="278" y="14"/>
                  <a:pt x="277" y="14"/>
                </a:cubicBezTo>
                <a:cubicBezTo>
                  <a:pt x="276" y="14"/>
                  <a:pt x="272" y="11"/>
                  <a:pt x="270" y="11"/>
                </a:cubicBezTo>
                <a:cubicBezTo>
                  <a:pt x="269" y="11"/>
                  <a:pt x="267" y="11"/>
                  <a:pt x="266" y="11"/>
                </a:cubicBezTo>
                <a:cubicBezTo>
                  <a:pt x="265" y="10"/>
                  <a:pt x="265" y="10"/>
                  <a:pt x="265" y="10"/>
                </a:cubicBezTo>
                <a:cubicBezTo>
                  <a:pt x="263" y="9"/>
                  <a:pt x="261" y="10"/>
                  <a:pt x="260" y="10"/>
                </a:cubicBezTo>
                <a:cubicBezTo>
                  <a:pt x="260" y="8"/>
                  <a:pt x="260" y="8"/>
                  <a:pt x="260" y="8"/>
                </a:cubicBezTo>
                <a:cubicBezTo>
                  <a:pt x="262" y="9"/>
                  <a:pt x="260" y="7"/>
                  <a:pt x="260" y="7"/>
                </a:cubicBezTo>
                <a:cubicBezTo>
                  <a:pt x="260" y="7"/>
                  <a:pt x="256" y="6"/>
                  <a:pt x="256" y="6"/>
                </a:cubicBezTo>
                <a:cubicBezTo>
                  <a:pt x="253" y="6"/>
                  <a:pt x="248" y="9"/>
                  <a:pt x="245" y="8"/>
                </a:cubicBezTo>
                <a:cubicBezTo>
                  <a:pt x="242" y="8"/>
                  <a:pt x="243" y="6"/>
                  <a:pt x="242" y="4"/>
                </a:cubicBezTo>
                <a:cubicBezTo>
                  <a:pt x="240" y="4"/>
                  <a:pt x="240" y="5"/>
                  <a:pt x="240" y="6"/>
                </a:cubicBezTo>
                <a:cubicBezTo>
                  <a:pt x="239" y="6"/>
                  <a:pt x="238" y="5"/>
                  <a:pt x="237" y="6"/>
                </a:cubicBezTo>
                <a:cubicBezTo>
                  <a:pt x="236" y="6"/>
                  <a:pt x="234" y="8"/>
                  <a:pt x="233" y="8"/>
                </a:cubicBezTo>
                <a:cubicBezTo>
                  <a:pt x="233" y="6"/>
                  <a:pt x="233" y="5"/>
                  <a:pt x="234" y="3"/>
                </a:cubicBezTo>
                <a:cubicBezTo>
                  <a:pt x="231" y="2"/>
                  <a:pt x="226" y="0"/>
                  <a:pt x="223" y="0"/>
                </a:cubicBezTo>
                <a:cubicBezTo>
                  <a:pt x="222" y="2"/>
                  <a:pt x="222" y="2"/>
                  <a:pt x="222" y="2"/>
                </a:cubicBezTo>
                <a:cubicBezTo>
                  <a:pt x="220" y="3"/>
                  <a:pt x="215" y="7"/>
                  <a:pt x="212" y="8"/>
                </a:cubicBezTo>
                <a:cubicBezTo>
                  <a:pt x="210" y="8"/>
                  <a:pt x="208" y="7"/>
                  <a:pt x="206" y="8"/>
                </a:cubicBezTo>
                <a:cubicBezTo>
                  <a:pt x="205" y="8"/>
                  <a:pt x="204" y="9"/>
                  <a:pt x="204" y="10"/>
                </a:cubicBezTo>
                <a:cubicBezTo>
                  <a:pt x="203" y="8"/>
                  <a:pt x="203" y="8"/>
                  <a:pt x="202" y="7"/>
                </a:cubicBezTo>
                <a:cubicBezTo>
                  <a:pt x="201" y="8"/>
                  <a:pt x="201" y="9"/>
                  <a:pt x="200" y="10"/>
                </a:cubicBezTo>
                <a:cubicBezTo>
                  <a:pt x="199" y="10"/>
                  <a:pt x="199" y="10"/>
                  <a:pt x="199" y="10"/>
                </a:cubicBezTo>
                <a:cubicBezTo>
                  <a:pt x="199" y="10"/>
                  <a:pt x="198" y="9"/>
                  <a:pt x="197" y="10"/>
                </a:cubicBezTo>
                <a:cubicBezTo>
                  <a:pt x="197" y="10"/>
                  <a:pt x="197" y="12"/>
                  <a:pt x="197" y="12"/>
                </a:cubicBezTo>
                <a:cubicBezTo>
                  <a:pt x="196" y="12"/>
                  <a:pt x="195" y="13"/>
                  <a:pt x="194" y="13"/>
                </a:cubicBezTo>
                <a:cubicBezTo>
                  <a:pt x="192" y="14"/>
                  <a:pt x="189" y="12"/>
                  <a:pt x="187" y="13"/>
                </a:cubicBezTo>
                <a:cubicBezTo>
                  <a:pt x="186" y="13"/>
                  <a:pt x="185" y="15"/>
                  <a:pt x="184" y="16"/>
                </a:cubicBezTo>
                <a:cubicBezTo>
                  <a:pt x="183" y="16"/>
                  <a:pt x="182" y="15"/>
                  <a:pt x="182" y="16"/>
                </a:cubicBezTo>
                <a:cubicBezTo>
                  <a:pt x="180" y="17"/>
                  <a:pt x="180" y="20"/>
                  <a:pt x="178" y="22"/>
                </a:cubicBezTo>
                <a:cubicBezTo>
                  <a:pt x="177" y="23"/>
                  <a:pt x="175" y="22"/>
                  <a:pt x="174" y="24"/>
                </a:cubicBezTo>
                <a:cubicBezTo>
                  <a:pt x="174" y="25"/>
                  <a:pt x="174" y="27"/>
                  <a:pt x="174" y="29"/>
                </a:cubicBezTo>
                <a:cubicBezTo>
                  <a:pt x="173" y="30"/>
                  <a:pt x="171" y="31"/>
                  <a:pt x="171" y="32"/>
                </a:cubicBezTo>
                <a:cubicBezTo>
                  <a:pt x="170" y="34"/>
                  <a:pt x="170" y="37"/>
                  <a:pt x="170" y="39"/>
                </a:cubicBezTo>
                <a:cubicBezTo>
                  <a:pt x="166" y="39"/>
                  <a:pt x="163" y="41"/>
                  <a:pt x="160" y="42"/>
                </a:cubicBezTo>
                <a:cubicBezTo>
                  <a:pt x="158" y="42"/>
                  <a:pt x="157" y="40"/>
                  <a:pt x="155" y="41"/>
                </a:cubicBezTo>
                <a:cubicBezTo>
                  <a:pt x="154" y="42"/>
                  <a:pt x="154" y="42"/>
                  <a:pt x="154" y="42"/>
                </a:cubicBezTo>
                <a:cubicBezTo>
                  <a:pt x="150" y="43"/>
                  <a:pt x="147" y="42"/>
                  <a:pt x="144" y="42"/>
                </a:cubicBezTo>
                <a:cubicBezTo>
                  <a:pt x="144" y="45"/>
                  <a:pt x="145" y="47"/>
                  <a:pt x="145" y="50"/>
                </a:cubicBezTo>
                <a:cubicBezTo>
                  <a:pt x="144" y="51"/>
                  <a:pt x="144" y="50"/>
                  <a:pt x="143" y="52"/>
                </a:cubicBezTo>
                <a:cubicBezTo>
                  <a:pt x="142" y="51"/>
                  <a:pt x="143" y="51"/>
                  <a:pt x="141" y="52"/>
                </a:cubicBezTo>
                <a:cubicBezTo>
                  <a:pt x="143" y="52"/>
                  <a:pt x="145" y="52"/>
                  <a:pt x="147" y="53"/>
                </a:cubicBezTo>
                <a:cubicBezTo>
                  <a:pt x="148" y="53"/>
                  <a:pt x="148" y="56"/>
                  <a:pt x="150" y="56"/>
                </a:cubicBezTo>
                <a:cubicBezTo>
                  <a:pt x="152" y="57"/>
                  <a:pt x="152" y="56"/>
                  <a:pt x="154" y="57"/>
                </a:cubicBezTo>
                <a:cubicBezTo>
                  <a:pt x="155" y="58"/>
                  <a:pt x="159" y="62"/>
                  <a:pt x="160" y="63"/>
                </a:cubicBezTo>
                <a:cubicBezTo>
                  <a:pt x="162" y="63"/>
                  <a:pt x="163" y="62"/>
                  <a:pt x="164" y="63"/>
                </a:cubicBezTo>
                <a:cubicBezTo>
                  <a:pt x="164" y="63"/>
                  <a:pt x="166" y="65"/>
                  <a:pt x="164" y="64"/>
                </a:cubicBezTo>
                <a:cubicBezTo>
                  <a:pt x="165" y="65"/>
                  <a:pt x="165" y="69"/>
                  <a:pt x="165" y="69"/>
                </a:cubicBezTo>
                <a:cubicBezTo>
                  <a:pt x="167" y="69"/>
                  <a:pt x="168" y="70"/>
                  <a:pt x="170" y="70"/>
                </a:cubicBezTo>
                <a:cubicBezTo>
                  <a:pt x="170" y="68"/>
                  <a:pt x="170" y="68"/>
                  <a:pt x="170" y="68"/>
                </a:cubicBezTo>
                <a:cubicBezTo>
                  <a:pt x="171" y="68"/>
                  <a:pt x="173" y="67"/>
                  <a:pt x="174" y="67"/>
                </a:cubicBezTo>
                <a:cubicBezTo>
                  <a:pt x="174" y="68"/>
                  <a:pt x="174" y="68"/>
                  <a:pt x="174" y="68"/>
                </a:cubicBezTo>
                <a:cubicBezTo>
                  <a:pt x="175" y="68"/>
                  <a:pt x="175" y="69"/>
                  <a:pt x="176" y="70"/>
                </a:cubicBezTo>
                <a:cubicBezTo>
                  <a:pt x="178" y="70"/>
                  <a:pt x="181" y="69"/>
                  <a:pt x="182" y="68"/>
                </a:cubicBezTo>
                <a:cubicBezTo>
                  <a:pt x="182" y="68"/>
                  <a:pt x="183" y="72"/>
                  <a:pt x="182" y="71"/>
                </a:cubicBezTo>
                <a:cubicBezTo>
                  <a:pt x="181" y="71"/>
                  <a:pt x="181" y="72"/>
                  <a:pt x="180" y="72"/>
                </a:cubicBezTo>
                <a:cubicBezTo>
                  <a:pt x="180" y="74"/>
                  <a:pt x="180" y="74"/>
                  <a:pt x="180" y="74"/>
                </a:cubicBezTo>
                <a:cubicBezTo>
                  <a:pt x="182" y="75"/>
                  <a:pt x="182" y="74"/>
                  <a:pt x="183" y="74"/>
                </a:cubicBezTo>
                <a:cubicBezTo>
                  <a:pt x="184" y="75"/>
                  <a:pt x="184" y="75"/>
                  <a:pt x="184" y="75"/>
                </a:cubicBezTo>
                <a:cubicBezTo>
                  <a:pt x="186" y="76"/>
                  <a:pt x="189" y="75"/>
                  <a:pt x="192" y="75"/>
                </a:cubicBezTo>
                <a:cubicBezTo>
                  <a:pt x="192" y="75"/>
                  <a:pt x="191" y="78"/>
                  <a:pt x="192" y="78"/>
                </a:cubicBezTo>
                <a:cubicBezTo>
                  <a:pt x="189" y="78"/>
                  <a:pt x="175" y="78"/>
                  <a:pt x="182" y="81"/>
                </a:cubicBezTo>
                <a:cubicBezTo>
                  <a:pt x="182" y="81"/>
                  <a:pt x="183" y="80"/>
                  <a:pt x="184" y="80"/>
                </a:cubicBezTo>
                <a:cubicBezTo>
                  <a:pt x="187" y="81"/>
                  <a:pt x="185" y="82"/>
                  <a:pt x="186" y="85"/>
                </a:cubicBezTo>
                <a:cubicBezTo>
                  <a:pt x="182" y="84"/>
                  <a:pt x="182" y="83"/>
                  <a:pt x="180" y="87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76" y="85"/>
                  <a:pt x="171" y="86"/>
                  <a:pt x="166" y="85"/>
                </a:cubicBezTo>
                <a:cubicBezTo>
                  <a:pt x="166" y="85"/>
                  <a:pt x="166" y="83"/>
                  <a:pt x="165" y="83"/>
                </a:cubicBezTo>
                <a:cubicBezTo>
                  <a:pt x="164" y="82"/>
                  <a:pt x="163" y="83"/>
                  <a:pt x="162" y="83"/>
                </a:cubicBezTo>
                <a:cubicBezTo>
                  <a:pt x="162" y="81"/>
                  <a:pt x="162" y="82"/>
                  <a:pt x="164" y="81"/>
                </a:cubicBezTo>
                <a:cubicBezTo>
                  <a:pt x="163" y="79"/>
                  <a:pt x="164" y="77"/>
                  <a:pt x="163" y="75"/>
                </a:cubicBezTo>
                <a:cubicBezTo>
                  <a:pt x="163" y="75"/>
                  <a:pt x="162" y="74"/>
                  <a:pt x="162" y="74"/>
                </a:cubicBezTo>
                <a:cubicBezTo>
                  <a:pt x="161" y="74"/>
                  <a:pt x="159" y="73"/>
                  <a:pt x="158" y="74"/>
                </a:cubicBezTo>
                <a:cubicBezTo>
                  <a:pt x="157" y="74"/>
                  <a:pt x="157" y="75"/>
                  <a:pt x="156" y="75"/>
                </a:cubicBezTo>
                <a:cubicBezTo>
                  <a:pt x="154" y="77"/>
                  <a:pt x="149" y="78"/>
                  <a:pt x="147" y="79"/>
                </a:cubicBezTo>
                <a:cubicBezTo>
                  <a:pt x="147" y="80"/>
                  <a:pt x="147" y="83"/>
                  <a:pt x="147" y="83"/>
                </a:cubicBezTo>
                <a:cubicBezTo>
                  <a:pt x="146" y="84"/>
                  <a:pt x="146" y="83"/>
                  <a:pt x="145" y="84"/>
                </a:cubicBezTo>
                <a:cubicBezTo>
                  <a:pt x="141" y="83"/>
                  <a:pt x="138" y="83"/>
                  <a:pt x="134" y="85"/>
                </a:cubicBezTo>
                <a:cubicBezTo>
                  <a:pt x="133" y="86"/>
                  <a:pt x="131" y="88"/>
                  <a:pt x="130" y="89"/>
                </a:cubicBezTo>
                <a:cubicBezTo>
                  <a:pt x="130" y="91"/>
                  <a:pt x="130" y="91"/>
                  <a:pt x="130" y="91"/>
                </a:cubicBezTo>
                <a:cubicBezTo>
                  <a:pt x="135" y="91"/>
                  <a:pt x="135" y="92"/>
                  <a:pt x="139" y="93"/>
                </a:cubicBezTo>
                <a:cubicBezTo>
                  <a:pt x="140" y="93"/>
                  <a:pt x="142" y="93"/>
                  <a:pt x="143" y="93"/>
                </a:cubicBezTo>
                <a:cubicBezTo>
                  <a:pt x="143" y="95"/>
                  <a:pt x="143" y="95"/>
                  <a:pt x="143" y="95"/>
                </a:cubicBezTo>
                <a:cubicBezTo>
                  <a:pt x="140" y="95"/>
                  <a:pt x="139" y="95"/>
                  <a:pt x="137" y="96"/>
                </a:cubicBezTo>
                <a:cubicBezTo>
                  <a:pt x="137" y="96"/>
                  <a:pt x="137" y="98"/>
                  <a:pt x="138" y="97"/>
                </a:cubicBezTo>
                <a:cubicBezTo>
                  <a:pt x="139" y="98"/>
                  <a:pt x="141" y="99"/>
                  <a:pt x="141" y="100"/>
                </a:cubicBezTo>
                <a:cubicBezTo>
                  <a:pt x="142" y="101"/>
                  <a:pt x="142" y="103"/>
                  <a:pt x="143" y="104"/>
                </a:cubicBezTo>
                <a:cubicBezTo>
                  <a:pt x="152" y="107"/>
                  <a:pt x="152" y="107"/>
                  <a:pt x="152" y="107"/>
                </a:cubicBezTo>
                <a:cubicBezTo>
                  <a:pt x="154" y="107"/>
                  <a:pt x="154" y="105"/>
                  <a:pt x="155" y="105"/>
                </a:cubicBezTo>
                <a:cubicBezTo>
                  <a:pt x="159" y="104"/>
                  <a:pt x="165" y="104"/>
                  <a:pt x="168" y="104"/>
                </a:cubicBezTo>
                <a:cubicBezTo>
                  <a:pt x="169" y="103"/>
                  <a:pt x="168" y="103"/>
                  <a:pt x="169" y="102"/>
                </a:cubicBezTo>
                <a:cubicBezTo>
                  <a:pt x="170" y="103"/>
                  <a:pt x="172" y="105"/>
                  <a:pt x="172" y="105"/>
                </a:cubicBezTo>
                <a:cubicBezTo>
                  <a:pt x="173" y="106"/>
                  <a:pt x="172" y="107"/>
                  <a:pt x="172" y="107"/>
                </a:cubicBezTo>
                <a:cubicBezTo>
                  <a:pt x="173" y="108"/>
                  <a:pt x="174" y="108"/>
                  <a:pt x="174" y="108"/>
                </a:cubicBezTo>
                <a:cubicBezTo>
                  <a:pt x="175" y="108"/>
                  <a:pt x="177" y="104"/>
                  <a:pt x="178" y="104"/>
                </a:cubicBezTo>
                <a:cubicBezTo>
                  <a:pt x="182" y="103"/>
                  <a:pt x="188" y="103"/>
                  <a:pt x="191" y="103"/>
                </a:cubicBezTo>
                <a:cubicBezTo>
                  <a:pt x="191" y="104"/>
                  <a:pt x="191" y="105"/>
                  <a:pt x="191" y="106"/>
                </a:cubicBezTo>
                <a:cubicBezTo>
                  <a:pt x="191" y="107"/>
                  <a:pt x="189" y="107"/>
                  <a:pt x="188" y="108"/>
                </a:cubicBezTo>
                <a:cubicBezTo>
                  <a:pt x="188" y="110"/>
                  <a:pt x="190" y="113"/>
                  <a:pt x="190" y="115"/>
                </a:cubicBezTo>
                <a:cubicBezTo>
                  <a:pt x="191" y="117"/>
                  <a:pt x="190" y="119"/>
                  <a:pt x="190" y="121"/>
                </a:cubicBezTo>
                <a:cubicBezTo>
                  <a:pt x="188" y="121"/>
                  <a:pt x="185" y="123"/>
                  <a:pt x="183" y="123"/>
                </a:cubicBezTo>
                <a:cubicBezTo>
                  <a:pt x="181" y="123"/>
                  <a:pt x="181" y="122"/>
                  <a:pt x="179" y="123"/>
                </a:cubicBezTo>
                <a:cubicBezTo>
                  <a:pt x="179" y="123"/>
                  <a:pt x="179" y="124"/>
                  <a:pt x="178" y="125"/>
                </a:cubicBezTo>
                <a:cubicBezTo>
                  <a:pt x="177" y="126"/>
                  <a:pt x="172" y="129"/>
                  <a:pt x="168" y="128"/>
                </a:cubicBezTo>
                <a:cubicBezTo>
                  <a:pt x="166" y="127"/>
                  <a:pt x="166" y="124"/>
                  <a:pt x="162" y="124"/>
                </a:cubicBezTo>
                <a:cubicBezTo>
                  <a:pt x="161" y="124"/>
                  <a:pt x="159" y="126"/>
                  <a:pt x="158" y="127"/>
                </a:cubicBezTo>
                <a:cubicBezTo>
                  <a:pt x="158" y="127"/>
                  <a:pt x="158" y="129"/>
                  <a:pt x="158" y="128"/>
                </a:cubicBezTo>
                <a:cubicBezTo>
                  <a:pt x="159" y="128"/>
                  <a:pt x="158" y="129"/>
                  <a:pt x="159" y="129"/>
                </a:cubicBezTo>
                <a:cubicBezTo>
                  <a:pt x="160" y="131"/>
                  <a:pt x="161" y="132"/>
                  <a:pt x="161" y="136"/>
                </a:cubicBezTo>
                <a:cubicBezTo>
                  <a:pt x="160" y="135"/>
                  <a:pt x="161" y="135"/>
                  <a:pt x="160" y="134"/>
                </a:cubicBezTo>
                <a:cubicBezTo>
                  <a:pt x="159" y="134"/>
                  <a:pt x="158" y="134"/>
                  <a:pt x="157" y="133"/>
                </a:cubicBezTo>
                <a:cubicBezTo>
                  <a:pt x="156" y="138"/>
                  <a:pt x="156" y="138"/>
                  <a:pt x="156" y="138"/>
                </a:cubicBezTo>
                <a:cubicBezTo>
                  <a:pt x="156" y="138"/>
                  <a:pt x="154" y="138"/>
                  <a:pt x="154" y="138"/>
                </a:cubicBezTo>
                <a:cubicBezTo>
                  <a:pt x="153" y="138"/>
                  <a:pt x="149" y="141"/>
                  <a:pt x="149" y="142"/>
                </a:cubicBezTo>
                <a:cubicBezTo>
                  <a:pt x="149" y="143"/>
                  <a:pt x="150" y="145"/>
                  <a:pt x="149" y="146"/>
                </a:cubicBezTo>
                <a:cubicBezTo>
                  <a:pt x="149" y="146"/>
                  <a:pt x="146" y="147"/>
                  <a:pt x="146" y="147"/>
                </a:cubicBezTo>
                <a:cubicBezTo>
                  <a:pt x="146" y="147"/>
                  <a:pt x="145" y="150"/>
                  <a:pt x="145" y="150"/>
                </a:cubicBezTo>
                <a:cubicBezTo>
                  <a:pt x="146" y="150"/>
                  <a:pt x="147" y="150"/>
                  <a:pt x="148" y="150"/>
                </a:cubicBezTo>
                <a:cubicBezTo>
                  <a:pt x="148" y="150"/>
                  <a:pt x="147" y="152"/>
                  <a:pt x="147" y="153"/>
                </a:cubicBezTo>
                <a:cubicBezTo>
                  <a:pt x="149" y="153"/>
                  <a:pt x="150" y="152"/>
                  <a:pt x="151" y="153"/>
                </a:cubicBezTo>
                <a:cubicBezTo>
                  <a:pt x="152" y="153"/>
                  <a:pt x="152" y="154"/>
                  <a:pt x="152" y="155"/>
                </a:cubicBezTo>
                <a:cubicBezTo>
                  <a:pt x="153" y="155"/>
                  <a:pt x="152" y="155"/>
                  <a:pt x="153" y="156"/>
                </a:cubicBezTo>
                <a:cubicBezTo>
                  <a:pt x="157" y="156"/>
                  <a:pt x="159" y="156"/>
                  <a:pt x="162" y="157"/>
                </a:cubicBezTo>
                <a:cubicBezTo>
                  <a:pt x="162" y="157"/>
                  <a:pt x="162" y="156"/>
                  <a:pt x="162" y="156"/>
                </a:cubicBezTo>
                <a:cubicBezTo>
                  <a:pt x="163" y="156"/>
                  <a:pt x="164" y="156"/>
                  <a:pt x="165" y="156"/>
                </a:cubicBezTo>
                <a:cubicBezTo>
                  <a:pt x="165" y="157"/>
                  <a:pt x="165" y="157"/>
                  <a:pt x="165" y="157"/>
                </a:cubicBezTo>
                <a:cubicBezTo>
                  <a:pt x="166" y="156"/>
                  <a:pt x="164" y="159"/>
                  <a:pt x="164" y="159"/>
                </a:cubicBezTo>
                <a:cubicBezTo>
                  <a:pt x="163" y="160"/>
                  <a:pt x="163" y="161"/>
                  <a:pt x="162" y="162"/>
                </a:cubicBezTo>
                <a:cubicBezTo>
                  <a:pt x="162" y="162"/>
                  <a:pt x="160" y="163"/>
                  <a:pt x="160" y="163"/>
                </a:cubicBezTo>
                <a:cubicBezTo>
                  <a:pt x="161" y="164"/>
                  <a:pt x="161" y="164"/>
                  <a:pt x="160" y="165"/>
                </a:cubicBezTo>
                <a:cubicBezTo>
                  <a:pt x="160" y="166"/>
                  <a:pt x="160" y="167"/>
                  <a:pt x="160" y="167"/>
                </a:cubicBezTo>
                <a:cubicBezTo>
                  <a:pt x="161" y="168"/>
                  <a:pt x="160" y="168"/>
                  <a:pt x="161" y="169"/>
                </a:cubicBezTo>
                <a:cubicBezTo>
                  <a:pt x="161" y="169"/>
                  <a:pt x="163" y="169"/>
                  <a:pt x="163" y="169"/>
                </a:cubicBezTo>
                <a:cubicBezTo>
                  <a:pt x="164" y="170"/>
                  <a:pt x="163" y="171"/>
                  <a:pt x="163" y="172"/>
                </a:cubicBezTo>
                <a:cubicBezTo>
                  <a:pt x="163" y="172"/>
                  <a:pt x="165" y="173"/>
                  <a:pt x="165" y="174"/>
                </a:cubicBezTo>
                <a:cubicBezTo>
                  <a:pt x="170" y="173"/>
                  <a:pt x="174" y="173"/>
                  <a:pt x="175" y="170"/>
                </a:cubicBezTo>
                <a:cubicBezTo>
                  <a:pt x="176" y="168"/>
                  <a:pt x="175" y="166"/>
                  <a:pt x="175" y="166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8" y="164"/>
                  <a:pt x="178" y="164"/>
                  <a:pt x="178" y="164"/>
                </a:cubicBezTo>
                <a:cubicBezTo>
                  <a:pt x="178" y="164"/>
                  <a:pt x="180" y="169"/>
                  <a:pt x="177" y="168"/>
                </a:cubicBezTo>
                <a:cubicBezTo>
                  <a:pt x="178" y="169"/>
                  <a:pt x="177" y="170"/>
                  <a:pt x="177" y="171"/>
                </a:cubicBezTo>
                <a:cubicBezTo>
                  <a:pt x="177" y="172"/>
                  <a:pt x="179" y="172"/>
                  <a:pt x="180" y="173"/>
                </a:cubicBezTo>
                <a:cubicBezTo>
                  <a:pt x="181" y="175"/>
                  <a:pt x="181" y="177"/>
                  <a:pt x="182" y="180"/>
                </a:cubicBezTo>
                <a:cubicBezTo>
                  <a:pt x="180" y="181"/>
                  <a:pt x="181" y="182"/>
                  <a:pt x="180" y="184"/>
                </a:cubicBezTo>
                <a:cubicBezTo>
                  <a:pt x="182" y="184"/>
                  <a:pt x="182" y="183"/>
                  <a:pt x="184" y="183"/>
                </a:cubicBezTo>
                <a:cubicBezTo>
                  <a:pt x="184" y="183"/>
                  <a:pt x="183" y="185"/>
                  <a:pt x="183" y="185"/>
                </a:cubicBezTo>
                <a:cubicBezTo>
                  <a:pt x="182" y="185"/>
                  <a:pt x="181" y="188"/>
                  <a:pt x="183" y="187"/>
                </a:cubicBezTo>
                <a:cubicBezTo>
                  <a:pt x="183" y="187"/>
                  <a:pt x="183" y="189"/>
                  <a:pt x="182" y="189"/>
                </a:cubicBezTo>
                <a:cubicBezTo>
                  <a:pt x="182" y="189"/>
                  <a:pt x="182" y="190"/>
                  <a:pt x="182" y="191"/>
                </a:cubicBezTo>
                <a:cubicBezTo>
                  <a:pt x="186" y="191"/>
                  <a:pt x="187" y="187"/>
                  <a:pt x="189" y="186"/>
                </a:cubicBezTo>
                <a:cubicBezTo>
                  <a:pt x="191" y="185"/>
                  <a:pt x="194" y="183"/>
                  <a:pt x="196" y="183"/>
                </a:cubicBezTo>
                <a:cubicBezTo>
                  <a:pt x="197" y="183"/>
                  <a:pt x="197" y="183"/>
                  <a:pt x="197" y="183"/>
                </a:cubicBezTo>
                <a:cubicBezTo>
                  <a:pt x="197" y="183"/>
                  <a:pt x="198" y="185"/>
                  <a:pt x="199" y="186"/>
                </a:cubicBezTo>
                <a:cubicBezTo>
                  <a:pt x="199" y="187"/>
                  <a:pt x="199" y="187"/>
                  <a:pt x="199" y="187"/>
                </a:cubicBezTo>
                <a:cubicBezTo>
                  <a:pt x="200" y="186"/>
                  <a:pt x="202" y="185"/>
                  <a:pt x="203" y="185"/>
                </a:cubicBezTo>
                <a:cubicBezTo>
                  <a:pt x="204" y="186"/>
                  <a:pt x="204" y="188"/>
                  <a:pt x="206" y="190"/>
                </a:cubicBezTo>
                <a:cubicBezTo>
                  <a:pt x="206" y="190"/>
                  <a:pt x="207" y="191"/>
                  <a:pt x="207" y="191"/>
                </a:cubicBezTo>
                <a:cubicBezTo>
                  <a:pt x="208" y="192"/>
                  <a:pt x="208" y="192"/>
                  <a:pt x="208" y="192"/>
                </a:cubicBezTo>
                <a:cubicBezTo>
                  <a:pt x="212" y="192"/>
                  <a:pt x="207" y="190"/>
                  <a:pt x="209" y="188"/>
                </a:cubicBezTo>
                <a:cubicBezTo>
                  <a:pt x="209" y="188"/>
                  <a:pt x="211" y="188"/>
                  <a:pt x="212" y="189"/>
                </a:cubicBezTo>
                <a:cubicBezTo>
                  <a:pt x="212" y="187"/>
                  <a:pt x="213" y="187"/>
                  <a:pt x="214" y="186"/>
                </a:cubicBezTo>
                <a:cubicBezTo>
                  <a:pt x="214" y="187"/>
                  <a:pt x="214" y="189"/>
                  <a:pt x="214" y="190"/>
                </a:cubicBezTo>
                <a:cubicBezTo>
                  <a:pt x="218" y="189"/>
                  <a:pt x="220" y="189"/>
                  <a:pt x="223" y="187"/>
                </a:cubicBezTo>
                <a:cubicBezTo>
                  <a:pt x="223" y="187"/>
                  <a:pt x="223" y="185"/>
                  <a:pt x="224" y="185"/>
                </a:cubicBezTo>
                <a:cubicBezTo>
                  <a:pt x="224" y="185"/>
                  <a:pt x="225" y="185"/>
                  <a:pt x="226" y="185"/>
                </a:cubicBezTo>
                <a:cubicBezTo>
                  <a:pt x="226" y="186"/>
                  <a:pt x="225" y="190"/>
                  <a:pt x="224" y="191"/>
                </a:cubicBezTo>
                <a:cubicBezTo>
                  <a:pt x="223" y="193"/>
                  <a:pt x="220" y="193"/>
                  <a:pt x="220" y="194"/>
                </a:cubicBezTo>
                <a:cubicBezTo>
                  <a:pt x="219" y="195"/>
                  <a:pt x="220" y="197"/>
                  <a:pt x="220" y="198"/>
                </a:cubicBezTo>
                <a:cubicBezTo>
                  <a:pt x="218" y="199"/>
                  <a:pt x="218" y="199"/>
                  <a:pt x="218" y="199"/>
                </a:cubicBezTo>
                <a:cubicBezTo>
                  <a:pt x="217" y="201"/>
                  <a:pt x="218" y="206"/>
                  <a:pt x="218" y="206"/>
                </a:cubicBezTo>
                <a:cubicBezTo>
                  <a:pt x="217" y="207"/>
                  <a:pt x="216" y="207"/>
                  <a:pt x="216" y="207"/>
                </a:cubicBezTo>
                <a:cubicBezTo>
                  <a:pt x="215" y="208"/>
                  <a:pt x="216" y="209"/>
                  <a:pt x="215" y="210"/>
                </a:cubicBezTo>
                <a:cubicBezTo>
                  <a:pt x="215" y="211"/>
                  <a:pt x="212" y="212"/>
                  <a:pt x="212" y="213"/>
                </a:cubicBezTo>
                <a:cubicBezTo>
                  <a:pt x="211" y="214"/>
                  <a:pt x="211" y="214"/>
                  <a:pt x="211" y="214"/>
                </a:cubicBezTo>
                <a:cubicBezTo>
                  <a:pt x="211" y="214"/>
                  <a:pt x="211" y="216"/>
                  <a:pt x="211" y="216"/>
                </a:cubicBezTo>
                <a:cubicBezTo>
                  <a:pt x="211" y="217"/>
                  <a:pt x="209" y="216"/>
                  <a:pt x="208" y="216"/>
                </a:cubicBezTo>
                <a:cubicBezTo>
                  <a:pt x="207" y="217"/>
                  <a:pt x="206" y="220"/>
                  <a:pt x="205" y="220"/>
                </a:cubicBezTo>
                <a:cubicBezTo>
                  <a:pt x="204" y="221"/>
                  <a:pt x="204" y="220"/>
                  <a:pt x="203" y="220"/>
                </a:cubicBezTo>
                <a:cubicBezTo>
                  <a:pt x="197" y="222"/>
                  <a:pt x="196" y="224"/>
                  <a:pt x="195" y="230"/>
                </a:cubicBezTo>
                <a:cubicBezTo>
                  <a:pt x="193" y="231"/>
                  <a:pt x="191" y="231"/>
                  <a:pt x="190" y="231"/>
                </a:cubicBezTo>
                <a:cubicBezTo>
                  <a:pt x="190" y="231"/>
                  <a:pt x="191" y="230"/>
                  <a:pt x="191" y="229"/>
                </a:cubicBezTo>
                <a:cubicBezTo>
                  <a:pt x="188" y="230"/>
                  <a:pt x="183" y="230"/>
                  <a:pt x="180" y="231"/>
                </a:cubicBezTo>
                <a:cubicBezTo>
                  <a:pt x="180" y="232"/>
                  <a:pt x="180" y="234"/>
                  <a:pt x="180" y="234"/>
                </a:cubicBezTo>
                <a:cubicBezTo>
                  <a:pt x="179" y="235"/>
                  <a:pt x="178" y="235"/>
                  <a:pt x="177" y="236"/>
                </a:cubicBezTo>
                <a:cubicBezTo>
                  <a:pt x="176" y="237"/>
                  <a:pt x="177" y="238"/>
                  <a:pt x="176" y="239"/>
                </a:cubicBezTo>
                <a:cubicBezTo>
                  <a:pt x="176" y="240"/>
                  <a:pt x="172" y="242"/>
                  <a:pt x="170" y="242"/>
                </a:cubicBezTo>
                <a:cubicBezTo>
                  <a:pt x="170" y="243"/>
                  <a:pt x="171" y="244"/>
                  <a:pt x="170" y="244"/>
                </a:cubicBezTo>
                <a:cubicBezTo>
                  <a:pt x="171" y="244"/>
                  <a:pt x="172" y="243"/>
                  <a:pt x="172" y="243"/>
                </a:cubicBezTo>
                <a:cubicBezTo>
                  <a:pt x="172" y="243"/>
                  <a:pt x="173" y="244"/>
                  <a:pt x="174" y="244"/>
                </a:cubicBezTo>
                <a:cubicBezTo>
                  <a:pt x="175" y="242"/>
                  <a:pt x="175" y="242"/>
                  <a:pt x="175" y="242"/>
                </a:cubicBezTo>
                <a:cubicBezTo>
                  <a:pt x="176" y="242"/>
                  <a:pt x="176" y="242"/>
                  <a:pt x="176" y="242"/>
                </a:cubicBezTo>
                <a:cubicBezTo>
                  <a:pt x="177" y="242"/>
                  <a:pt x="176" y="243"/>
                  <a:pt x="178" y="244"/>
                </a:cubicBezTo>
                <a:cubicBezTo>
                  <a:pt x="180" y="240"/>
                  <a:pt x="182" y="237"/>
                  <a:pt x="184" y="233"/>
                </a:cubicBezTo>
                <a:cubicBezTo>
                  <a:pt x="185" y="233"/>
                  <a:pt x="186" y="233"/>
                  <a:pt x="187" y="233"/>
                </a:cubicBezTo>
                <a:cubicBezTo>
                  <a:pt x="187" y="234"/>
                  <a:pt x="188" y="235"/>
                  <a:pt x="186" y="234"/>
                </a:cubicBezTo>
                <a:cubicBezTo>
                  <a:pt x="186" y="236"/>
                  <a:pt x="186" y="236"/>
                  <a:pt x="186" y="236"/>
                </a:cubicBezTo>
                <a:cubicBezTo>
                  <a:pt x="187" y="236"/>
                  <a:pt x="189" y="237"/>
                  <a:pt x="190" y="236"/>
                </a:cubicBezTo>
                <a:cubicBezTo>
                  <a:pt x="190" y="234"/>
                  <a:pt x="190" y="234"/>
                  <a:pt x="190" y="234"/>
                </a:cubicBezTo>
                <a:cubicBezTo>
                  <a:pt x="196" y="234"/>
                  <a:pt x="194" y="235"/>
                  <a:pt x="198" y="231"/>
                </a:cubicBezTo>
                <a:cubicBezTo>
                  <a:pt x="199" y="231"/>
                  <a:pt x="200" y="231"/>
                  <a:pt x="200" y="231"/>
                </a:cubicBezTo>
                <a:cubicBezTo>
                  <a:pt x="200" y="231"/>
                  <a:pt x="200" y="233"/>
                  <a:pt x="200" y="233"/>
                </a:cubicBezTo>
                <a:cubicBezTo>
                  <a:pt x="202" y="232"/>
                  <a:pt x="201" y="232"/>
                  <a:pt x="202" y="230"/>
                </a:cubicBezTo>
                <a:cubicBezTo>
                  <a:pt x="202" y="231"/>
                  <a:pt x="204" y="232"/>
                  <a:pt x="205" y="231"/>
                </a:cubicBezTo>
                <a:cubicBezTo>
                  <a:pt x="206" y="230"/>
                  <a:pt x="206" y="228"/>
                  <a:pt x="206" y="226"/>
                </a:cubicBezTo>
                <a:cubicBezTo>
                  <a:pt x="210" y="228"/>
                  <a:pt x="209" y="230"/>
                  <a:pt x="210" y="224"/>
                </a:cubicBezTo>
                <a:cubicBezTo>
                  <a:pt x="209" y="224"/>
                  <a:pt x="209" y="225"/>
                  <a:pt x="208" y="224"/>
                </a:cubicBezTo>
                <a:cubicBezTo>
                  <a:pt x="208" y="224"/>
                  <a:pt x="210" y="224"/>
                  <a:pt x="209" y="223"/>
                </a:cubicBezTo>
                <a:cubicBezTo>
                  <a:pt x="211" y="223"/>
                  <a:pt x="213" y="221"/>
                  <a:pt x="214" y="221"/>
                </a:cubicBezTo>
                <a:cubicBezTo>
                  <a:pt x="214" y="221"/>
                  <a:pt x="213" y="220"/>
                  <a:pt x="214" y="220"/>
                </a:cubicBezTo>
                <a:cubicBezTo>
                  <a:pt x="215" y="219"/>
                  <a:pt x="217" y="220"/>
                  <a:pt x="218" y="219"/>
                </a:cubicBezTo>
                <a:cubicBezTo>
                  <a:pt x="218" y="219"/>
                  <a:pt x="218" y="216"/>
                  <a:pt x="218" y="216"/>
                </a:cubicBezTo>
                <a:cubicBezTo>
                  <a:pt x="219" y="216"/>
                  <a:pt x="220" y="217"/>
                  <a:pt x="221" y="216"/>
                </a:cubicBezTo>
                <a:cubicBezTo>
                  <a:pt x="222" y="216"/>
                  <a:pt x="225" y="214"/>
                  <a:pt x="226" y="213"/>
                </a:cubicBezTo>
                <a:cubicBezTo>
                  <a:pt x="225" y="212"/>
                  <a:pt x="225" y="209"/>
                  <a:pt x="225" y="209"/>
                </a:cubicBezTo>
                <a:cubicBezTo>
                  <a:pt x="226" y="208"/>
                  <a:pt x="227" y="208"/>
                  <a:pt x="229" y="208"/>
                </a:cubicBezTo>
                <a:cubicBezTo>
                  <a:pt x="229" y="206"/>
                  <a:pt x="229" y="206"/>
                  <a:pt x="229" y="206"/>
                </a:cubicBezTo>
                <a:cubicBezTo>
                  <a:pt x="229" y="206"/>
                  <a:pt x="231" y="207"/>
                  <a:pt x="231" y="206"/>
                </a:cubicBezTo>
                <a:cubicBezTo>
                  <a:pt x="233" y="205"/>
                  <a:pt x="233" y="202"/>
                  <a:pt x="235" y="201"/>
                </a:cubicBezTo>
                <a:cubicBezTo>
                  <a:pt x="236" y="201"/>
                  <a:pt x="237" y="201"/>
                  <a:pt x="238" y="200"/>
                </a:cubicBezTo>
                <a:cubicBezTo>
                  <a:pt x="238" y="200"/>
                  <a:pt x="237" y="199"/>
                  <a:pt x="238" y="198"/>
                </a:cubicBezTo>
                <a:cubicBezTo>
                  <a:pt x="240" y="196"/>
                  <a:pt x="240" y="196"/>
                  <a:pt x="240" y="196"/>
                </a:cubicBezTo>
                <a:cubicBezTo>
                  <a:pt x="242" y="196"/>
                  <a:pt x="245" y="196"/>
                  <a:pt x="246" y="195"/>
                </a:cubicBezTo>
                <a:cubicBezTo>
                  <a:pt x="246" y="194"/>
                  <a:pt x="247" y="194"/>
                  <a:pt x="248" y="193"/>
                </a:cubicBezTo>
                <a:cubicBezTo>
                  <a:pt x="248" y="192"/>
                  <a:pt x="247" y="191"/>
                  <a:pt x="247" y="191"/>
                </a:cubicBezTo>
                <a:cubicBezTo>
                  <a:pt x="247" y="189"/>
                  <a:pt x="250" y="189"/>
                  <a:pt x="250" y="189"/>
                </a:cubicBezTo>
                <a:cubicBezTo>
                  <a:pt x="250" y="187"/>
                  <a:pt x="250" y="187"/>
                  <a:pt x="250" y="187"/>
                </a:cubicBezTo>
                <a:cubicBezTo>
                  <a:pt x="251" y="186"/>
                  <a:pt x="252" y="187"/>
                  <a:pt x="253" y="187"/>
                </a:cubicBezTo>
                <a:cubicBezTo>
                  <a:pt x="253" y="186"/>
                  <a:pt x="253" y="184"/>
                  <a:pt x="253" y="184"/>
                </a:cubicBezTo>
                <a:cubicBezTo>
                  <a:pt x="251" y="184"/>
                  <a:pt x="249" y="184"/>
                  <a:pt x="248" y="184"/>
                </a:cubicBezTo>
                <a:cubicBezTo>
                  <a:pt x="248" y="182"/>
                  <a:pt x="247" y="180"/>
                  <a:pt x="248" y="178"/>
                </a:cubicBezTo>
                <a:cubicBezTo>
                  <a:pt x="248" y="177"/>
                  <a:pt x="249" y="176"/>
                  <a:pt x="250" y="176"/>
                </a:cubicBezTo>
                <a:cubicBezTo>
                  <a:pt x="250" y="175"/>
                  <a:pt x="249" y="174"/>
                  <a:pt x="250" y="173"/>
                </a:cubicBezTo>
                <a:cubicBezTo>
                  <a:pt x="252" y="173"/>
                  <a:pt x="253" y="173"/>
                  <a:pt x="255" y="173"/>
                </a:cubicBezTo>
                <a:cubicBezTo>
                  <a:pt x="255" y="172"/>
                  <a:pt x="255" y="171"/>
                  <a:pt x="256" y="171"/>
                </a:cubicBezTo>
                <a:cubicBezTo>
                  <a:pt x="256" y="170"/>
                  <a:pt x="258" y="170"/>
                  <a:pt x="258" y="169"/>
                </a:cubicBezTo>
                <a:cubicBezTo>
                  <a:pt x="258" y="168"/>
                  <a:pt x="257" y="167"/>
                  <a:pt x="258" y="166"/>
                </a:cubicBezTo>
                <a:cubicBezTo>
                  <a:pt x="258" y="166"/>
                  <a:pt x="260" y="167"/>
                  <a:pt x="260" y="167"/>
                </a:cubicBezTo>
                <a:cubicBezTo>
                  <a:pt x="261" y="167"/>
                  <a:pt x="261" y="166"/>
                  <a:pt x="262" y="167"/>
                </a:cubicBezTo>
                <a:cubicBezTo>
                  <a:pt x="263" y="163"/>
                  <a:pt x="263" y="161"/>
                  <a:pt x="266" y="159"/>
                </a:cubicBezTo>
                <a:cubicBezTo>
                  <a:pt x="268" y="159"/>
                  <a:pt x="268" y="159"/>
                  <a:pt x="269" y="159"/>
                </a:cubicBezTo>
                <a:cubicBezTo>
                  <a:pt x="270" y="158"/>
                  <a:pt x="270" y="156"/>
                  <a:pt x="270" y="155"/>
                </a:cubicBezTo>
                <a:cubicBezTo>
                  <a:pt x="271" y="154"/>
                  <a:pt x="273" y="154"/>
                  <a:pt x="274" y="153"/>
                </a:cubicBezTo>
                <a:cubicBezTo>
                  <a:pt x="276" y="152"/>
                  <a:pt x="277" y="149"/>
                  <a:pt x="279" y="148"/>
                </a:cubicBezTo>
                <a:cubicBezTo>
                  <a:pt x="279" y="148"/>
                  <a:pt x="280" y="150"/>
                  <a:pt x="280" y="151"/>
                </a:cubicBezTo>
                <a:cubicBezTo>
                  <a:pt x="282" y="150"/>
                  <a:pt x="283" y="151"/>
                  <a:pt x="285" y="150"/>
                </a:cubicBezTo>
                <a:cubicBezTo>
                  <a:pt x="286" y="150"/>
                  <a:pt x="286" y="148"/>
                  <a:pt x="287" y="148"/>
                </a:cubicBezTo>
                <a:cubicBezTo>
                  <a:pt x="288" y="148"/>
                  <a:pt x="288" y="148"/>
                  <a:pt x="289" y="148"/>
                </a:cubicBezTo>
                <a:cubicBezTo>
                  <a:pt x="287" y="151"/>
                  <a:pt x="287" y="151"/>
                  <a:pt x="287" y="151"/>
                </a:cubicBezTo>
                <a:cubicBezTo>
                  <a:pt x="286" y="150"/>
                  <a:pt x="286" y="154"/>
                  <a:pt x="286" y="153"/>
                </a:cubicBezTo>
                <a:cubicBezTo>
                  <a:pt x="287" y="154"/>
                  <a:pt x="288" y="154"/>
                  <a:pt x="288" y="155"/>
                </a:cubicBezTo>
                <a:cubicBezTo>
                  <a:pt x="290" y="158"/>
                  <a:pt x="282" y="154"/>
                  <a:pt x="279" y="155"/>
                </a:cubicBezTo>
                <a:cubicBezTo>
                  <a:pt x="279" y="155"/>
                  <a:pt x="278" y="156"/>
                  <a:pt x="278" y="157"/>
                </a:cubicBezTo>
                <a:cubicBezTo>
                  <a:pt x="276" y="158"/>
                  <a:pt x="274" y="158"/>
                  <a:pt x="272" y="159"/>
                </a:cubicBezTo>
                <a:cubicBezTo>
                  <a:pt x="272" y="162"/>
                  <a:pt x="273" y="167"/>
                  <a:pt x="273" y="169"/>
                </a:cubicBezTo>
                <a:cubicBezTo>
                  <a:pt x="273" y="169"/>
                  <a:pt x="270" y="171"/>
                  <a:pt x="269" y="172"/>
                </a:cubicBezTo>
                <a:cubicBezTo>
                  <a:pt x="270" y="173"/>
                  <a:pt x="270" y="174"/>
                  <a:pt x="271" y="175"/>
                </a:cubicBezTo>
                <a:cubicBezTo>
                  <a:pt x="271" y="175"/>
                  <a:pt x="274" y="176"/>
                  <a:pt x="273" y="175"/>
                </a:cubicBezTo>
                <a:cubicBezTo>
                  <a:pt x="274" y="174"/>
                  <a:pt x="274" y="177"/>
                  <a:pt x="273" y="178"/>
                </a:cubicBezTo>
                <a:cubicBezTo>
                  <a:pt x="272" y="178"/>
                  <a:pt x="269" y="179"/>
                  <a:pt x="269" y="179"/>
                </a:cubicBezTo>
                <a:cubicBezTo>
                  <a:pt x="268" y="179"/>
                  <a:pt x="269" y="181"/>
                  <a:pt x="268" y="182"/>
                </a:cubicBezTo>
                <a:cubicBezTo>
                  <a:pt x="270" y="182"/>
                  <a:pt x="271" y="183"/>
                  <a:pt x="273" y="183"/>
                </a:cubicBezTo>
                <a:cubicBezTo>
                  <a:pt x="273" y="182"/>
                  <a:pt x="275" y="181"/>
                  <a:pt x="275" y="181"/>
                </a:cubicBezTo>
                <a:cubicBezTo>
                  <a:pt x="276" y="180"/>
                  <a:pt x="276" y="182"/>
                  <a:pt x="278" y="181"/>
                </a:cubicBezTo>
                <a:cubicBezTo>
                  <a:pt x="278" y="180"/>
                  <a:pt x="278" y="180"/>
                  <a:pt x="278" y="180"/>
                </a:cubicBezTo>
                <a:cubicBezTo>
                  <a:pt x="278" y="179"/>
                  <a:pt x="281" y="179"/>
                  <a:pt x="281" y="178"/>
                </a:cubicBezTo>
                <a:cubicBezTo>
                  <a:pt x="282" y="177"/>
                  <a:pt x="281" y="176"/>
                  <a:pt x="281" y="176"/>
                </a:cubicBezTo>
                <a:cubicBezTo>
                  <a:pt x="283" y="175"/>
                  <a:pt x="285" y="175"/>
                  <a:pt x="287" y="175"/>
                </a:cubicBezTo>
                <a:cubicBezTo>
                  <a:pt x="287" y="173"/>
                  <a:pt x="286" y="172"/>
                  <a:pt x="287" y="171"/>
                </a:cubicBezTo>
                <a:cubicBezTo>
                  <a:pt x="287" y="171"/>
                  <a:pt x="289" y="172"/>
                  <a:pt x="289" y="173"/>
                </a:cubicBezTo>
                <a:cubicBezTo>
                  <a:pt x="289" y="172"/>
                  <a:pt x="289" y="170"/>
                  <a:pt x="289" y="170"/>
                </a:cubicBezTo>
                <a:cubicBezTo>
                  <a:pt x="290" y="169"/>
                  <a:pt x="291" y="169"/>
                  <a:pt x="291" y="168"/>
                </a:cubicBezTo>
                <a:cubicBezTo>
                  <a:pt x="293" y="168"/>
                  <a:pt x="292" y="169"/>
                  <a:pt x="292" y="170"/>
                </a:cubicBezTo>
                <a:cubicBezTo>
                  <a:pt x="293" y="170"/>
                  <a:pt x="294" y="169"/>
                  <a:pt x="294" y="169"/>
                </a:cubicBezTo>
                <a:cubicBezTo>
                  <a:pt x="295" y="168"/>
                  <a:pt x="299" y="170"/>
                  <a:pt x="301" y="170"/>
                </a:cubicBezTo>
                <a:cubicBezTo>
                  <a:pt x="301" y="169"/>
                  <a:pt x="301" y="167"/>
                  <a:pt x="301" y="167"/>
                </a:cubicBezTo>
                <a:cubicBezTo>
                  <a:pt x="302" y="166"/>
                  <a:pt x="303" y="167"/>
                  <a:pt x="304" y="167"/>
                </a:cubicBezTo>
                <a:cubicBezTo>
                  <a:pt x="303" y="163"/>
                  <a:pt x="303" y="164"/>
                  <a:pt x="304" y="161"/>
                </a:cubicBezTo>
                <a:cubicBezTo>
                  <a:pt x="303" y="160"/>
                  <a:pt x="303" y="162"/>
                  <a:pt x="301" y="161"/>
                </a:cubicBezTo>
                <a:cubicBezTo>
                  <a:pt x="301" y="160"/>
                  <a:pt x="301" y="160"/>
                  <a:pt x="301" y="160"/>
                </a:cubicBezTo>
                <a:cubicBezTo>
                  <a:pt x="301" y="160"/>
                  <a:pt x="300" y="160"/>
                  <a:pt x="299" y="160"/>
                </a:cubicBezTo>
                <a:cubicBezTo>
                  <a:pt x="299" y="159"/>
                  <a:pt x="299" y="156"/>
                  <a:pt x="299" y="154"/>
                </a:cubicBezTo>
                <a:cubicBezTo>
                  <a:pt x="303" y="155"/>
                  <a:pt x="304" y="154"/>
                  <a:pt x="308" y="156"/>
                </a:cubicBezTo>
                <a:cubicBezTo>
                  <a:pt x="308" y="156"/>
                  <a:pt x="308" y="154"/>
                  <a:pt x="308" y="154"/>
                </a:cubicBezTo>
                <a:cubicBezTo>
                  <a:pt x="309" y="154"/>
                  <a:pt x="309" y="155"/>
                  <a:pt x="309" y="155"/>
                </a:cubicBezTo>
                <a:cubicBezTo>
                  <a:pt x="311" y="155"/>
                  <a:pt x="312" y="155"/>
                  <a:pt x="313" y="155"/>
                </a:cubicBezTo>
                <a:cubicBezTo>
                  <a:pt x="313" y="154"/>
                  <a:pt x="313" y="153"/>
                  <a:pt x="314" y="153"/>
                </a:cubicBezTo>
                <a:cubicBezTo>
                  <a:pt x="314" y="153"/>
                  <a:pt x="315" y="155"/>
                  <a:pt x="315" y="155"/>
                </a:cubicBezTo>
                <a:cubicBezTo>
                  <a:pt x="314" y="154"/>
                  <a:pt x="314" y="156"/>
                  <a:pt x="314" y="156"/>
                </a:cubicBezTo>
                <a:cubicBezTo>
                  <a:pt x="315" y="156"/>
                  <a:pt x="316" y="157"/>
                  <a:pt x="317" y="157"/>
                </a:cubicBezTo>
                <a:cubicBezTo>
                  <a:pt x="316" y="158"/>
                  <a:pt x="315" y="158"/>
                  <a:pt x="314" y="159"/>
                </a:cubicBezTo>
                <a:cubicBezTo>
                  <a:pt x="315" y="159"/>
                  <a:pt x="317" y="158"/>
                  <a:pt x="319" y="159"/>
                </a:cubicBezTo>
                <a:cubicBezTo>
                  <a:pt x="319" y="160"/>
                  <a:pt x="319" y="160"/>
                  <a:pt x="319" y="160"/>
                </a:cubicBezTo>
                <a:cubicBezTo>
                  <a:pt x="320" y="160"/>
                  <a:pt x="320" y="160"/>
                  <a:pt x="321" y="161"/>
                </a:cubicBezTo>
                <a:cubicBezTo>
                  <a:pt x="321" y="161"/>
                  <a:pt x="321" y="163"/>
                  <a:pt x="321" y="163"/>
                </a:cubicBezTo>
                <a:cubicBezTo>
                  <a:pt x="320" y="163"/>
                  <a:pt x="320" y="163"/>
                  <a:pt x="320" y="163"/>
                </a:cubicBezTo>
                <a:cubicBezTo>
                  <a:pt x="320" y="164"/>
                  <a:pt x="321" y="165"/>
                  <a:pt x="321" y="165"/>
                </a:cubicBezTo>
                <a:cubicBezTo>
                  <a:pt x="323" y="165"/>
                  <a:pt x="324" y="165"/>
                  <a:pt x="325" y="164"/>
                </a:cubicBezTo>
                <a:cubicBezTo>
                  <a:pt x="325" y="164"/>
                  <a:pt x="326" y="164"/>
                  <a:pt x="327" y="163"/>
                </a:cubicBezTo>
                <a:cubicBezTo>
                  <a:pt x="328" y="164"/>
                  <a:pt x="327" y="165"/>
                  <a:pt x="327" y="166"/>
                </a:cubicBezTo>
                <a:cubicBezTo>
                  <a:pt x="328" y="166"/>
                  <a:pt x="329" y="168"/>
                  <a:pt x="329" y="168"/>
                </a:cubicBezTo>
                <a:cubicBezTo>
                  <a:pt x="330" y="168"/>
                  <a:pt x="332" y="168"/>
                  <a:pt x="333" y="168"/>
                </a:cubicBezTo>
                <a:cubicBezTo>
                  <a:pt x="334" y="168"/>
                  <a:pt x="335" y="170"/>
                  <a:pt x="335" y="171"/>
                </a:cubicBezTo>
                <a:cubicBezTo>
                  <a:pt x="336" y="171"/>
                  <a:pt x="343" y="173"/>
                  <a:pt x="343" y="173"/>
                </a:cubicBezTo>
                <a:cubicBezTo>
                  <a:pt x="345" y="172"/>
                  <a:pt x="348" y="170"/>
                  <a:pt x="351" y="170"/>
                </a:cubicBezTo>
                <a:cubicBezTo>
                  <a:pt x="352" y="170"/>
                  <a:pt x="354" y="172"/>
                  <a:pt x="355" y="173"/>
                </a:cubicBezTo>
                <a:cubicBezTo>
                  <a:pt x="357" y="173"/>
                  <a:pt x="357" y="171"/>
                  <a:pt x="359" y="172"/>
                </a:cubicBezTo>
                <a:cubicBezTo>
                  <a:pt x="359" y="172"/>
                  <a:pt x="360" y="174"/>
                  <a:pt x="360" y="174"/>
                </a:cubicBezTo>
                <a:cubicBezTo>
                  <a:pt x="362" y="175"/>
                  <a:pt x="370" y="177"/>
                  <a:pt x="373" y="176"/>
                </a:cubicBezTo>
                <a:cubicBezTo>
                  <a:pt x="374" y="176"/>
                  <a:pt x="375" y="174"/>
                  <a:pt x="376" y="173"/>
                </a:cubicBezTo>
                <a:cubicBezTo>
                  <a:pt x="376" y="175"/>
                  <a:pt x="376" y="177"/>
                  <a:pt x="376" y="178"/>
                </a:cubicBezTo>
                <a:cubicBezTo>
                  <a:pt x="376" y="178"/>
                  <a:pt x="374" y="179"/>
                  <a:pt x="374" y="180"/>
                </a:cubicBezTo>
                <a:cubicBezTo>
                  <a:pt x="374" y="180"/>
                  <a:pt x="376" y="181"/>
                  <a:pt x="376" y="181"/>
                </a:cubicBezTo>
                <a:cubicBezTo>
                  <a:pt x="377" y="181"/>
                  <a:pt x="379" y="180"/>
                  <a:pt x="379" y="181"/>
                </a:cubicBezTo>
                <a:cubicBezTo>
                  <a:pt x="380" y="181"/>
                  <a:pt x="380" y="183"/>
                  <a:pt x="380" y="183"/>
                </a:cubicBezTo>
                <a:cubicBezTo>
                  <a:pt x="381" y="184"/>
                  <a:pt x="383" y="183"/>
                  <a:pt x="383" y="184"/>
                </a:cubicBezTo>
                <a:cubicBezTo>
                  <a:pt x="384" y="182"/>
                  <a:pt x="383" y="184"/>
                  <a:pt x="384" y="183"/>
                </a:cubicBezTo>
                <a:cubicBezTo>
                  <a:pt x="385" y="183"/>
                  <a:pt x="384" y="182"/>
                  <a:pt x="384" y="182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85" y="181"/>
                  <a:pt x="387" y="181"/>
                  <a:pt x="388" y="181"/>
                </a:cubicBezTo>
                <a:cubicBezTo>
                  <a:pt x="387" y="183"/>
                  <a:pt x="387" y="185"/>
                  <a:pt x="386" y="187"/>
                </a:cubicBezTo>
                <a:cubicBezTo>
                  <a:pt x="387" y="187"/>
                  <a:pt x="393" y="195"/>
                  <a:pt x="393" y="195"/>
                </a:cubicBezTo>
                <a:cubicBezTo>
                  <a:pt x="396" y="196"/>
                  <a:pt x="397" y="194"/>
                  <a:pt x="398" y="195"/>
                </a:cubicBezTo>
                <a:cubicBezTo>
                  <a:pt x="399" y="195"/>
                  <a:pt x="398" y="198"/>
                  <a:pt x="398" y="198"/>
                </a:cubicBezTo>
                <a:cubicBezTo>
                  <a:pt x="399" y="198"/>
                  <a:pt x="400" y="198"/>
                  <a:pt x="400" y="198"/>
                </a:cubicBezTo>
                <a:cubicBezTo>
                  <a:pt x="404" y="202"/>
                  <a:pt x="404" y="202"/>
                  <a:pt x="404" y="202"/>
                </a:cubicBezTo>
                <a:cubicBezTo>
                  <a:pt x="404" y="204"/>
                  <a:pt x="402" y="204"/>
                  <a:pt x="403" y="205"/>
                </a:cubicBezTo>
                <a:cubicBezTo>
                  <a:pt x="404" y="207"/>
                  <a:pt x="406" y="206"/>
                  <a:pt x="408" y="207"/>
                </a:cubicBezTo>
                <a:cubicBezTo>
                  <a:pt x="408" y="208"/>
                  <a:pt x="409" y="210"/>
                  <a:pt x="409" y="210"/>
                </a:cubicBezTo>
                <a:cubicBezTo>
                  <a:pt x="409" y="210"/>
                  <a:pt x="411" y="210"/>
                  <a:pt x="411" y="210"/>
                </a:cubicBezTo>
                <a:cubicBezTo>
                  <a:pt x="411" y="209"/>
                  <a:pt x="411" y="208"/>
                  <a:pt x="411" y="207"/>
                </a:cubicBezTo>
                <a:cubicBezTo>
                  <a:pt x="412" y="208"/>
                  <a:pt x="414" y="210"/>
                  <a:pt x="415" y="210"/>
                </a:cubicBezTo>
                <a:cubicBezTo>
                  <a:pt x="416" y="211"/>
                  <a:pt x="417" y="210"/>
                  <a:pt x="418" y="210"/>
                </a:cubicBezTo>
                <a:cubicBezTo>
                  <a:pt x="418" y="209"/>
                  <a:pt x="417" y="207"/>
                  <a:pt x="417" y="205"/>
                </a:cubicBezTo>
                <a:cubicBezTo>
                  <a:pt x="417" y="205"/>
                  <a:pt x="415" y="205"/>
                  <a:pt x="414" y="205"/>
                </a:cubicBezTo>
                <a:cubicBezTo>
                  <a:pt x="420" y="202"/>
                  <a:pt x="408" y="200"/>
                  <a:pt x="404" y="200"/>
                </a:cubicBezTo>
                <a:cubicBezTo>
                  <a:pt x="404" y="199"/>
                  <a:pt x="403" y="197"/>
                  <a:pt x="403" y="197"/>
                </a:cubicBezTo>
                <a:cubicBezTo>
                  <a:pt x="404" y="197"/>
                  <a:pt x="405" y="198"/>
                  <a:pt x="405" y="198"/>
                </a:cubicBezTo>
                <a:cubicBezTo>
                  <a:pt x="406" y="199"/>
                  <a:pt x="411" y="196"/>
                  <a:pt x="412" y="195"/>
                </a:cubicBezTo>
                <a:cubicBezTo>
                  <a:pt x="413" y="196"/>
                  <a:pt x="413" y="197"/>
                  <a:pt x="413" y="198"/>
                </a:cubicBezTo>
                <a:cubicBezTo>
                  <a:pt x="414" y="198"/>
                  <a:pt x="414" y="198"/>
                  <a:pt x="414" y="198"/>
                </a:cubicBezTo>
                <a:cubicBezTo>
                  <a:pt x="414" y="194"/>
                  <a:pt x="414" y="192"/>
                  <a:pt x="414" y="189"/>
                </a:cubicBezTo>
                <a:cubicBezTo>
                  <a:pt x="414" y="189"/>
                  <a:pt x="416" y="189"/>
                  <a:pt x="416" y="189"/>
                </a:cubicBezTo>
                <a:cubicBezTo>
                  <a:pt x="417" y="193"/>
                  <a:pt x="416" y="196"/>
                  <a:pt x="420" y="197"/>
                </a:cubicBezTo>
                <a:cubicBezTo>
                  <a:pt x="421" y="197"/>
                  <a:pt x="423" y="196"/>
                  <a:pt x="423" y="196"/>
                </a:cubicBezTo>
                <a:cubicBezTo>
                  <a:pt x="424" y="197"/>
                  <a:pt x="424" y="200"/>
                  <a:pt x="424" y="200"/>
                </a:cubicBezTo>
                <a:cubicBezTo>
                  <a:pt x="425" y="200"/>
                  <a:pt x="426" y="199"/>
                  <a:pt x="427" y="200"/>
                </a:cubicBezTo>
                <a:cubicBezTo>
                  <a:pt x="427" y="201"/>
                  <a:pt x="426" y="203"/>
                  <a:pt x="426" y="204"/>
                </a:cubicBezTo>
                <a:cubicBezTo>
                  <a:pt x="430" y="206"/>
                  <a:pt x="430" y="206"/>
                  <a:pt x="430" y="206"/>
                </a:cubicBezTo>
                <a:cubicBezTo>
                  <a:pt x="430" y="207"/>
                  <a:pt x="429" y="212"/>
                  <a:pt x="430" y="214"/>
                </a:cubicBezTo>
                <a:cubicBezTo>
                  <a:pt x="430" y="214"/>
                  <a:pt x="434" y="215"/>
                  <a:pt x="434" y="215"/>
                </a:cubicBezTo>
                <a:cubicBezTo>
                  <a:pt x="435" y="216"/>
                  <a:pt x="434" y="218"/>
                  <a:pt x="434" y="219"/>
                </a:cubicBezTo>
                <a:cubicBezTo>
                  <a:pt x="434" y="219"/>
                  <a:pt x="435" y="220"/>
                  <a:pt x="435" y="220"/>
                </a:cubicBezTo>
                <a:cubicBezTo>
                  <a:pt x="433" y="221"/>
                  <a:pt x="433" y="221"/>
                  <a:pt x="433" y="221"/>
                </a:cubicBezTo>
                <a:cubicBezTo>
                  <a:pt x="433" y="221"/>
                  <a:pt x="433" y="223"/>
                  <a:pt x="433" y="223"/>
                </a:cubicBezTo>
                <a:cubicBezTo>
                  <a:pt x="434" y="223"/>
                  <a:pt x="434" y="223"/>
                  <a:pt x="434" y="223"/>
                </a:cubicBezTo>
                <a:cubicBezTo>
                  <a:pt x="434" y="224"/>
                  <a:pt x="434" y="224"/>
                  <a:pt x="434" y="224"/>
                </a:cubicBezTo>
                <a:cubicBezTo>
                  <a:pt x="434" y="224"/>
                  <a:pt x="435" y="224"/>
                  <a:pt x="436" y="224"/>
                </a:cubicBezTo>
                <a:cubicBezTo>
                  <a:pt x="436" y="223"/>
                  <a:pt x="436" y="221"/>
                  <a:pt x="435" y="222"/>
                </a:cubicBezTo>
                <a:cubicBezTo>
                  <a:pt x="435" y="220"/>
                  <a:pt x="435" y="220"/>
                  <a:pt x="435" y="220"/>
                </a:cubicBezTo>
                <a:cubicBezTo>
                  <a:pt x="435" y="221"/>
                  <a:pt x="436" y="220"/>
                  <a:pt x="437" y="220"/>
                </a:cubicBezTo>
                <a:cubicBezTo>
                  <a:pt x="437" y="220"/>
                  <a:pt x="441" y="225"/>
                  <a:pt x="441" y="225"/>
                </a:cubicBezTo>
                <a:cubicBezTo>
                  <a:pt x="440" y="225"/>
                  <a:pt x="439" y="225"/>
                  <a:pt x="439" y="225"/>
                </a:cubicBezTo>
                <a:cubicBezTo>
                  <a:pt x="439" y="226"/>
                  <a:pt x="439" y="226"/>
                  <a:pt x="439" y="226"/>
                </a:cubicBezTo>
                <a:cubicBezTo>
                  <a:pt x="439" y="226"/>
                  <a:pt x="440" y="227"/>
                  <a:pt x="441" y="227"/>
                </a:cubicBezTo>
                <a:cubicBezTo>
                  <a:pt x="440" y="227"/>
                  <a:pt x="442" y="225"/>
                  <a:pt x="442" y="225"/>
                </a:cubicBezTo>
                <a:cubicBezTo>
                  <a:pt x="442" y="226"/>
                  <a:pt x="442" y="226"/>
                  <a:pt x="443" y="226"/>
                </a:cubicBezTo>
                <a:cubicBezTo>
                  <a:pt x="442" y="230"/>
                  <a:pt x="443" y="232"/>
                  <a:pt x="442" y="235"/>
                </a:cubicBezTo>
                <a:cubicBezTo>
                  <a:pt x="443" y="234"/>
                  <a:pt x="444" y="235"/>
                  <a:pt x="445" y="234"/>
                </a:cubicBezTo>
                <a:cubicBezTo>
                  <a:pt x="445" y="234"/>
                  <a:pt x="445" y="231"/>
                  <a:pt x="445" y="231"/>
                </a:cubicBezTo>
                <a:cubicBezTo>
                  <a:pt x="446" y="231"/>
                  <a:pt x="447" y="231"/>
                  <a:pt x="448" y="230"/>
                </a:cubicBezTo>
                <a:cubicBezTo>
                  <a:pt x="448" y="231"/>
                  <a:pt x="449" y="231"/>
                  <a:pt x="449" y="232"/>
                </a:cubicBezTo>
                <a:cubicBezTo>
                  <a:pt x="449" y="232"/>
                  <a:pt x="447" y="232"/>
                  <a:pt x="447" y="232"/>
                </a:cubicBezTo>
                <a:cubicBezTo>
                  <a:pt x="447" y="233"/>
                  <a:pt x="446" y="237"/>
                  <a:pt x="446" y="236"/>
                </a:cubicBezTo>
                <a:cubicBezTo>
                  <a:pt x="447" y="238"/>
                  <a:pt x="447" y="238"/>
                  <a:pt x="448" y="240"/>
                </a:cubicBezTo>
                <a:cubicBezTo>
                  <a:pt x="453" y="239"/>
                  <a:pt x="451" y="241"/>
                  <a:pt x="451" y="235"/>
                </a:cubicBezTo>
                <a:cubicBezTo>
                  <a:pt x="451" y="235"/>
                  <a:pt x="452" y="235"/>
                  <a:pt x="452" y="236"/>
                </a:cubicBezTo>
                <a:cubicBezTo>
                  <a:pt x="453" y="238"/>
                  <a:pt x="453" y="239"/>
                  <a:pt x="454" y="240"/>
                </a:cubicBezTo>
                <a:cubicBezTo>
                  <a:pt x="453" y="241"/>
                  <a:pt x="453" y="241"/>
                  <a:pt x="453" y="242"/>
                </a:cubicBezTo>
                <a:cubicBezTo>
                  <a:pt x="452" y="242"/>
                  <a:pt x="448" y="242"/>
                  <a:pt x="450" y="243"/>
                </a:cubicBezTo>
                <a:cubicBezTo>
                  <a:pt x="451" y="244"/>
                  <a:pt x="450" y="244"/>
                  <a:pt x="452" y="244"/>
                </a:cubicBezTo>
                <a:cubicBezTo>
                  <a:pt x="450" y="245"/>
                  <a:pt x="453" y="245"/>
                  <a:pt x="453" y="245"/>
                </a:cubicBezTo>
                <a:cubicBezTo>
                  <a:pt x="453" y="246"/>
                  <a:pt x="452" y="246"/>
                  <a:pt x="452" y="246"/>
                </a:cubicBezTo>
                <a:cubicBezTo>
                  <a:pt x="452" y="248"/>
                  <a:pt x="452" y="248"/>
                  <a:pt x="452" y="248"/>
                </a:cubicBezTo>
                <a:cubicBezTo>
                  <a:pt x="454" y="248"/>
                  <a:pt x="454" y="249"/>
                  <a:pt x="456" y="249"/>
                </a:cubicBezTo>
                <a:cubicBezTo>
                  <a:pt x="457" y="247"/>
                  <a:pt x="457" y="245"/>
                  <a:pt x="459" y="244"/>
                </a:cubicBezTo>
                <a:cubicBezTo>
                  <a:pt x="459" y="244"/>
                  <a:pt x="459" y="244"/>
                  <a:pt x="460" y="243"/>
                </a:cubicBezTo>
                <a:cubicBezTo>
                  <a:pt x="460" y="243"/>
                  <a:pt x="460" y="243"/>
                  <a:pt x="459" y="243"/>
                </a:cubicBezTo>
                <a:cubicBezTo>
                  <a:pt x="460" y="242"/>
                  <a:pt x="461" y="241"/>
                  <a:pt x="462" y="240"/>
                </a:cubicBezTo>
                <a:cubicBezTo>
                  <a:pt x="462" y="239"/>
                  <a:pt x="462" y="238"/>
                  <a:pt x="462" y="236"/>
                </a:cubicBezTo>
                <a:cubicBezTo>
                  <a:pt x="461" y="234"/>
                  <a:pt x="465" y="232"/>
                  <a:pt x="463" y="232"/>
                </a:cubicBezTo>
                <a:cubicBezTo>
                  <a:pt x="461" y="232"/>
                  <a:pt x="462" y="228"/>
                  <a:pt x="460" y="226"/>
                </a:cubicBezTo>
                <a:cubicBezTo>
                  <a:pt x="458" y="225"/>
                  <a:pt x="458" y="227"/>
                  <a:pt x="457" y="224"/>
                </a:cubicBezTo>
                <a:cubicBezTo>
                  <a:pt x="456" y="221"/>
                  <a:pt x="455" y="219"/>
                  <a:pt x="455" y="216"/>
                </a:cubicBezTo>
                <a:cubicBezTo>
                  <a:pt x="455" y="213"/>
                  <a:pt x="452" y="218"/>
                  <a:pt x="449" y="216"/>
                </a:cubicBezTo>
                <a:cubicBezTo>
                  <a:pt x="445" y="214"/>
                  <a:pt x="446" y="211"/>
                  <a:pt x="443" y="209"/>
                </a:cubicBezTo>
                <a:cubicBezTo>
                  <a:pt x="439" y="207"/>
                  <a:pt x="439" y="203"/>
                  <a:pt x="437" y="200"/>
                </a:cubicBezTo>
                <a:cubicBezTo>
                  <a:pt x="435" y="197"/>
                  <a:pt x="428" y="191"/>
                  <a:pt x="427" y="188"/>
                </a:cubicBezTo>
                <a:cubicBezTo>
                  <a:pt x="425" y="186"/>
                  <a:pt x="423" y="182"/>
                  <a:pt x="419" y="181"/>
                </a:cubicBezTo>
                <a:cubicBezTo>
                  <a:pt x="416" y="181"/>
                  <a:pt x="416" y="179"/>
                  <a:pt x="416" y="177"/>
                </a:cubicBezTo>
                <a:cubicBezTo>
                  <a:pt x="416" y="174"/>
                  <a:pt x="411" y="175"/>
                  <a:pt x="410" y="172"/>
                </a:cubicBezTo>
                <a:cubicBezTo>
                  <a:pt x="408" y="169"/>
                  <a:pt x="405" y="172"/>
                  <a:pt x="402" y="172"/>
                </a:cubicBezTo>
                <a:cubicBezTo>
                  <a:pt x="400" y="172"/>
                  <a:pt x="403" y="174"/>
                  <a:pt x="402" y="177"/>
                </a:cubicBezTo>
                <a:cubicBezTo>
                  <a:pt x="401" y="180"/>
                  <a:pt x="398" y="179"/>
                  <a:pt x="395" y="181"/>
                </a:cubicBezTo>
                <a:cubicBezTo>
                  <a:pt x="390" y="186"/>
                  <a:pt x="393" y="182"/>
                  <a:pt x="391" y="179"/>
                </a:cubicBezTo>
                <a:cubicBezTo>
                  <a:pt x="389" y="176"/>
                  <a:pt x="383" y="173"/>
                  <a:pt x="381" y="170"/>
                </a:cubicBezTo>
                <a:cubicBezTo>
                  <a:pt x="379" y="167"/>
                  <a:pt x="379" y="167"/>
                  <a:pt x="378" y="164"/>
                </a:cubicBezTo>
                <a:cubicBezTo>
                  <a:pt x="377" y="161"/>
                  <a:pt x="380" y="155"/>
                  <a:pt x="374" y="161"/>
                </a:cubicBezTo>
                <a:cubicBezTo>
                  <a:pt x="373" y="162"/>
                  <a:pt x="370" y="160"/>
                  <a:pt x="369" y="159"/>
                </a:cubicBezTo>
                <a:cubicBezTo>
                  <a:pt x="367" y="158"/>
                  <a:pt x="361" y="161"/>
                  <a:pt x="361" y="161"/>
                </a:cubicBezTo>
                <a:cubicBezTo>
                  <a:pt x="358" y="22"/>
                  <a:pt x="358" y="22"/>
                  <a:pt x="358" y="22"/>
                </a:cubicBezTo>
                <a:close/>
              </a:path>
            </a:pathLst>
          </a:custGeom>
          <a:solidFill>
            <a:srgbClr val="CCEDEB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3" name="Google Shape;613;p102"/>
          <p:cNvSpPr/>
          <p:nvPr/>
        </p:nvSpPr>
        <p:spPr>
          <a:xfrm>
            <a:off x="7752320" y="3557418"/>
            <a:ext cx="329893" cy="254771"/>
          </a:xfrm>
          <a:custGeom>
            <a:avLst/>
            <a:gdLst/>
            <a:ahLst/>
            <a:cxnLst/>
            <a:rect l="l" t="t" r="r" b="b"/>
            <a:pathLst>
              <a:path w="225" h="181" extrusionOk="0">
                <a:moveTo>
                  <a:pt x="225" y="16"/>
                </a:moveTo>
                <a:lnTo>
                  <a:pt x="225" y="24"/>
                </a:lnTo>
                <a:lnTo>
                  <a:pt x="222" y="28"/>
                </a:lnTo>
                <a:lnTo>
                  <a:pt x="216" y="28"/>
                </a:lnTo>
                <a:lnTo>
                  <a:pt x="206" y="28"/>
                </a:lnTo>
                <a:lnTo>
                  <a:pt x="194" y="32"/>
                </a:lnTo>
                <a:lnTo>
                  <a:pt x="184" y="34"/>
                </a:lnTo>
                <a:lnTo>
                  <a:pt x="165" y="45"/>
                </a:lnTo>
                <a:lnTo>
                  <a:pt x="165" y="55"/>
                </a:lnTo>
                <a:lnTo>
                  <a:pt x="159" y="59"/>
                </a:lnTo>
                <a:lnTo>
                  <a:pt x="163" y="65"/>
                </a:lnTo>
                <a:lnTo>
                  <a:pt x="161" y="77"/>
                </a:lnTo>
                <a:lnTo>
                  <a:pt x="151" y="79"/>
                </a:lnTo>
                <a:lnTo>
                  <a:pt x="145" y="77"/>
                </a:lnTo>
                <a:lnTo>
                  <a:pt x="141" y="83"/>
                </a:lnTo>
                <a:lnTo>
                  <a:pt x="147" y="90"/>
                </a:lnTo>
                <a:lnTo>
                  <a:pt x="147" y="98"/>
                </a:lnTo>
                <a:lnTo>
                  <a:pt x="139" y="106"/>
                </a:lnTo>
                <a:lnTo>
                  <a:pt x="139" y="112"/>
                </a:lnTo>
                <a:lnTo>
                  <a:pt x="137" y="120"/>
                </a:lnTo>
                <a:lnTo>
                  <a:pt x="131" y="120"/>
                </a:lnTo>
                <a:lnTo>
                  <a:pt x="123" y="118"/>
                </a:lnTo>
                <a:lnTo>
                  <a:pt x="121" y="114"/>
                </a:lnTo>
                <a:lnTo>
                  <a:pt x="116" y="120"/>
                </a:lnTo>
                <a:lnTo>
                  <a:pt x="108" y="126"/>
                </a:lnTo>
                <a:lnTo>
                  <a:pt x="114" y="132"/>
                </a:lnTo>
                <a:lnTo>
                  <a:pt x="112" y="138"/>
                </a:lnTo>
                <a:lnTo>
                  <a:pt x="106" y="139"/>
                </a:lnTo>
                <a:lnTo>
                  <a:pt x="102" y="138"/>
                </a:lnTo>
                <a:lnTo>
                  <a:pt x="90" y="151"/>
                </a:lnTo>
                <a:lnTo>
                  <a:pt x="82" y="157"/>
                </a:lnTo>
                <a:lnTo>
                  <a:pt x="80" y="165"/>
                </a:lnTo>
                <a:lnTo>
                  <a:pt x="78" y="171"/>
                </a:lnTo>
                <a:lnTo>
                  <a:pt x="69" y="173"/>
                </a:lnTo>
                <a:lnTo>
                  <a:pt x="67" y="181"/>
                </a:lnTo>
                <a:lnTo>
                  <a:pt x="59" y="179"/>
                </a:lnTo>
                <a:lnTo>
                  <a:pt x="43" y="179"/>
                </a:lnTo>
                <a:lnTo>
                  <a:pt x="37" y="179"/>
                </a:lnTo>
                <a:lnTo>
                  <a:pt x="29" y="181"/>
                </a:lnTo>
                <a:lnTo>
                  <a:pt x="12" y="171"/>
                </a:lnTo>
                <a:lnTo>
                  <a:pt x="31" y="149"/>
                </a:lnTo>
                <a:lnTo>
                  <a:pt x="31" y="143"/>
                </a:lnTo>
                <a:lnTo>
                  <a:pt x="27" y="139"/>
                </a:lnTo>
                <a:lnTo>
                  <a:pt x="12" y="138"/>
                </a:lnTo>
                <a:lnTo>
                  <a:pt x="12" y="134"/>
                </a:lnTo>
                <a:lnTo>
                  <a:pt x="10" y="124"/>
                </a:lnTo>
                <a:lnTo>
                  <a:pt x="8" y="114"/>
                </a:lnTo>
                <a:lnTo>
                  <a:pt x="0" y="106"/>
                </a:lnTo>
                <a:lnTo>
                  <a:pt x="0" y="98"/>
                </a:lnTo>
                <a:lnTo>
                  <a:pt x="6" y="94"/>
                </a:lnTo>
                <a:lnTo>
                  <a:pt x="0" y="90"/>
                </a:lnTo>
                <a:lnTo>
                  <a:pt x="0" y="87"/>
                </a:lnTo>
                <a:lnTo>
                  <a:pt x="2" y="73"/>
                </a:lnTo>
                <a:lnTo>
                  <a:pt x="4" y="65"/>
                </a:lnTo>
                <a:lnTo>
                  <a:pt x="8" y="63"/>
                </a:lnTo>
                <a:lnTo>
                  <a:pt x="16" y="63"/>
                </a:lnTo>
                <a:lnTo>
                  <a:pt x="18" y="57"/>
                </a:lnTo>
                <a:lnTo>
                  <a:pt x="21" y="49"/>
                </a:lnTo>
                <a:lnTo>
                  <a:pt x="27" y="51"/>
                </a:lnTo>
                <a:lnTo>
                  <a:pt x="33" y="49"/>
                </a:lnTo>
                <a:lnTo>
                  <a:pt x="39" y="51"/>
                </a:lnTo>
                <a:lnTo>
                  <a:pt x="53" y="43"/>
                </a:lnTo>
                <a:lnTo>
                  <a:pt x="51" y="35"/>
                </a:lnTo>
                <a:lnTo>
                  <a:pt x="61" y="26"/>
                </a:lnTo>
                <a:lnTo>
                  <a:pt x="63" y="20"/>
                </a:lnTo>
                <a:lnTo>
                  <a:pt x="63" y="10"/>
                </a:lnTo>
                <a:lnTo>
                  <a:pt x="67" y="6"/>
                </a:lnTo>
                <a:lnTo>
                  <a:pt x="69" y="0"/>
                </a:lnTo>
                <a:lnTo>
                  <a:pt x="74" y="2"/>
                </a:lnTo>
                <a:lnTo>
                  <a:pt x="80" y="6"/>
                </a:lnTo>
                <a:lnTo>
                  <a:pt x="88" y="6"/>
                </a:lnTo>
                <a:lnTo>
                  <a:pt x="96" y="8"/>
                </a:lnTo>
                <a:lnTo>
                  <a:pt x="102" y="14"/>
                </a:lnTo>
                <a:lnTo>
                  <a:pt x="110" y="14"/>
                </a:lnTo>
                <a:lnTo>
                  <a:pt x="121" y="12"/>
                </a:lnTo>
                <a:lnTo>
                  <a:pt x="127" y="12"/>
                </a:lnTo>
                <a:lnTo>
                  <a:pt x="133" y="8"/>
                </a:lnTo>
                <a:lnTo>
                  <a:pt x="137" y="4"/>
                </a:lnTo>
                <a:lnTo>
                  <a:pt x="141" y="0"/>
                </a:lnTo>
                <a:lnTo>
                  <a:pt x="147" y="2"/>
                </a:lnTo>
                <a:lnTo>
                  <a:pt x="151" y="8"/>
                </a:lnTo>
                <a:lnTo>
                  <a:pt x="155" y="14"/>
                </a:lnTo>
                <a:lnTo>
                  <a:pt x="151" y="22"/>
                </a:lnTo>
                <a:lnTo>
                  <a:pt x="149" y="32"/>
                </a:lnTo>
                <a:lnTo>
                  <a:pt x="157" y="39"/>
                </a:lnTo>
                <a:lnTo>
                  <a:pt x="165" y="37"/>
                </a:lnTo>
                <a:lnTo>
                  <a:pt x="172" y="32"/>
                </a:lnTo>
                <a:lnTo>
                  <a:pt x="176" y="24"/>
                </a:lnTo>
                <a:lnTo>
                  <a:pt x="182" y="24"/>
                </a:lnTo>
                <a:lnTo>
                  <a:pt x="194" y="16"/>
                </a:lnTo>
                <a:lnTo>
                  <a:pt x="200" y="16"/>
                </a:lnTo>
                <a:lnTo>
                  <a:pt x="214" y="20"/>
                </a:lnTo>
                <a:lnTo>
                  <a:pt x="225" y="16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4" name="Google Shape;614;p102"/>
          <p:cNvSpPr/>
          <p:nvPr/>
        </p:nvSpPr>
        <p:spPr>
          <a:xfrm>
            <a:off x="4707678" y="4222939"/>
            <a:ext cx="20618" cy="8666"/>
          </a:xfrm>
          <a:custGeom>
            <a:avLst/>
            <a:gdLst/>
            <a:ahLst/>
            <a:cxnLst/>
            <a:rect l="l" t="t" r="r" b="b"/>
            <a:pathLst>
              <a:path w="7" h="3" extrusionOk="0">
                <a:moveTo>
                  <a:pt x="1" y="0"/>
                </a:moveTo>
                <a:cubicBezTo>
                  <a:pt x="1" y="0"/>
                  <a:pt x="0" y="2"/>
                  <a:pt x="1" y="3"/>
                </a:cubicBezTo>
                <a:cubicBezTo>
                  <a:pt x="3" y="1"/>
                  <a:pt x="7" y="1"/>
                  <a:pt x="1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5" name="Google Shape;615;p102"/>
          <p:cNvSpPr/>
          <p:nvPr/>
        </p:nvSpPr>
        <p:spPr>
          <a:xfrm>
            <a:off x="4707678" y="4222939"/>
            <a:ext cx="20618" cy="8666"/>
          </a:xfrm>
          <a:custGeom>
            <a:avLst/>
            <a:gdLst/>
            <a:ahLst/>
            <a:cxnLst/>
            <a:rect l="l" t="t" r="r" b="b"/>
            <a:pathLst>
              <a:path w="7" h="3" extrusionOk="0">
                <a:moveTo>
                  <a:pt x="1" y="0"/>
                </a:moveTo>
                <a:cubicBezTo>
                  <a:pt x="1" y="0"/>
                  <a:pt x="0" y="2"/>
                  <a:pt x="1" y="3"/>
                </a:cubicBezTo>
                <a:cubicBezTo>
                  <a:pt x="3" y="1"/>
                  <a:pt x="7" y="1"/>
                  <a:pt x="1" y="0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6" name="Google Shape;616;p102"/>
          <p:cNvSpPr/>
          <p:nvPr/>
        </p:nvSpPr>
        <p:spPr>
          <a:xfrm>
            <a:off x="4712832" y="4248938"/>
            <a:ext cx="6872" cy="6932"/>
          </a:xfrm>
          <a:custGeom>
            <a:avLst/>
            <a:gdLst/>
            <a:ahLst/>
            <a:cxnLst/>
            <a:rect l="l" t="t" r="r" b="b"/>
            <a:pathLst>
              <a:path w="4" h="6" extrusionOk="0">
                <a:moveTo>
                  <a:pt x="0" y="0"/>
                </a:moveTo>
                <a:lnTo>
                  <a:pt x="2" y="4"/>
                </a:lnTo>
                <a:lnTo>
                  <a:pt x="2" y="6"/>
                </a:lnTo>
                <a:lnTo>
                  <a:pt x="4" y="6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7" name="Google Shape;617;p102"/>
          <p:cNvSpPr/>
          <p:nvPr/>
        </p:nvSpPr>
        <p:spPr>
          <a:xfrm>
            <a:off x="4712832" y="4248938"/>
            <a:ext cx="6872" cy="6932"/>
          </a:xfrm>
          <a:custGeom>
            <a:avLst/>
            <a:gdLst/>
            <a:ahLst/>
            <a:cxnLst/>
            <a:rect l="l" t="t" r="r" b="b"/>
            <a:pathLst>
              <a:path w="4" h="6" extrusionOk="0">
                <a:moveTo>
                  <a:pt x="0" y="0"/>
                </a:moveTo>
                <a:lnTo>
                  <a:pt x="2" y="4"/>
                </a:lnTo>
                <a:lnTo>
                  <a:pt x="2" y="6"/>
                </a:lnTo>
                <a:lnTo>
                  <a:pt x="4" y="6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8" name="Google Shape;618;p102"/>
          <p:cNvSpPr/>
          <p:nvPr/>
        </p:nvSpPr>
        <p:spPr>
          <a:xfrm>
            <a:off x="4724860" y="4271467"/>
            <a:ext cx="12027" cy="12133"/>
          </a:xfrm>
          <a:custGeom>
            <a:avLst/>
            <a:gdLst/>
            <a:ahLst/>
            <a:cxnLst/>
            <a:rect l="l" t="t" r="r" b="b"/>
            <a:pathLst>
              <a:path w="4" h="4" extrusionOk="0">
                <a:moveTo>
                  <a:pt x="0" y="0"/>
                </a:moveTo>
                <a:cubicBezTo>
                  <a:pt x="1" y="1"/>
                  <a:pt x="1" y="2"/>
                  <a:pt x="1" y="3"/>
                </a:cubicBezTo>
                <a:cubicBezTo>
                  <a:pt x="1" y="3"/>
                  <a:pt x="3" y="4"/>
                  <a:pt x="3" y="4"/>
                </a:cubicBezTo>
                <a:cubicBezTo>
                  <a:pt x="3" y="2"/>
                  <a:pt x="4" y="1"/>
                  <a:pt x="2" y="1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1" y="0"/>
                  <a:pt x="0" y="0"/>
                </a:cubicBez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9" name="Google Shape;619;p102"/>
          <p:cNvSpPr/>
          <p:nvPr/>
        </p:nvSpPr>
        <p:spPr>
          <a:xfrm>
            <a:off x="4724860" y="4271467"/>
            <a:ext cx="12027" cy="12133"/>
          </a:xfrm>
          <a:custGeom>
            <a:avLst/>
            <a:gdLst/>
            <a:ahLst/>
            <a:cxnLst/>
            <a:rect l="l" t="t" r="r" b="b"/>
            <a:pathLst>
              <a:path w="4" h="4" extrusionOk="0">
                <a:moveTo>
                  <a:pt x="0" y="0"/>
                </a:moveTo>
                <a:cubicBezTo>
                  <a:pt x="1" y="1"/>
                  <a:pt x="1" y="2"/>
                  <a:pt x="1" y="3"/>
                </a:cubicBezTo>
                <a:cubicBezTo>
                  <a:pt x="1" y="3"/>
                  <a:pt x="3" y="4"/>
                  <a:pt x="3" y="4"/>
                </a:cubicBezTo>
                <a:cubicBezTo>
                  <a:pt x="3" y="2"/>
                  <a:pt x="4" y="1"/>
                  <a:pt x="2" y="1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1" y="0"/>
                  <a:pt x="0" y="0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0" name="Google Shape;620;p102"/>
          <p:cNvSpPr/>
          <p:nvPr/>
        </p:nvSpPr>
        <p:spPr>
          <a:xfrm>
            <a:off x="4755788" y="4316528"/>
            <a:ext cx="8590" cy="8666"/>
          </a:xfrm>
          <a:custGeom>
            <a:avLst/>
            <a:gdLst/>
            <a:ahLst/>
            <a:cxnLst/>
            <a:rect l="l" t="t" r="r" b="b"/>
            <a:pathLst>
              <a:path w="3" h="3" extrusionOk="0">
                <a:moveTo>
                  <a:pt x="0" y="0"/>
                </a:moveTo>
                <a:cubicBezTo>
                  <a:pt x="1" y="3"/>
                  <a:pt x="1" y="3"/>
                  <a:pt x="1" y="3"/>
                </a:cubicBezTo>
                <a:cubicBezTo>
                  <a:pt x="1" y="3"/>
                  <a:pt x="3" y="0"/>
                  <a:pt x="0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1" name="Google Shape;621;p102"/>
          <p:cNvSpPr/>
          <p:nvPr/>
        </p:nvSpPr>
        <p:spPr>
          <a:xfrm>
            <a:off x="4755788" y="4316528"/>
            <a:ext cx="8590" cy="8666"/>
          </a:xfrm>
          <a:custGeom>
            <a:avLst/>
            <a:gdLst/>
            <a:ahLst/>
            <a:cxnLst/>
            <a:rect l="l" t="t" r="r" b="b"/>
            <a:pathLst>
              <a:path w="3" h="3" extrusionOk="0">
                <a:moveTo>
                  <a:pt x="0" y="0"/>
                </a:moveTo>
                <a:cubicBezTo>
                  <a:pt x="1" y="3"/>
                  <a:pt x="1" y="3"/>
                  <a:pt x="1" y="3"/>
                </a:cubicBezTo>
                <a:cubicBezTo>
                  <a:pt x="1" y="3"/>
                  <a:pt x="3" y="0"/>
                  <a:pt x="0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2" name="Google Shape;622;p102"/>
          <p:cNvSpPr/>
          <p:nvPr/>
        </p:nvSpPr>
        <p:spPr>
          <a:xfrm>
            <a:off x="7535778" y="3929927"/>
            <a:ext cx="195371" cy="281847"/>
          </a:xfrm>
          <a:custGeom>
            <a:avLst/>
            <a:gdLst/>
            <a:ahLst/>
            <a:cxnLst/>
            <a:rect l="l" t="t" r="r" b="b"/>
            <a:pathLst>
              <a:path w="69" h="104" extrusionOk="0">
                <a:moveTo>
                  <a:pt x="34" y="5"/>
                </a:moveTo>
                <a:cubicBezTo>
                  <a:pt x="35" y="5"/>
                  <a:pt x="35" y="5"/>
                  <a:pt x="35" y="5"/>
                </a:cubicBezTo>
                <a:cubicBezTo>
                  <a:pt x="35" y="8"/>
                  <a:pt x="35" y="8"/>
                  <a:pt x="35" y="8"/>
                </a:cubicBezTo>
                <a:cubicBezTo>
                  <a:pt x="37" y="8"/>
                  <a:pt x="37" y="8"/>
                  <a:pt x="37" y="8"/>
                </a:cubicBezTo>
                <a:cubicBezTo>
                  <a:pt x="37" y="6"/>
                  <a:pt x="37" y="3"/>
                  <a:pt x="37" y="0"/>
                </a:cubicBezTo>
                <a:cubicBezTo>
                  <a:pt x="37" y="1"/>
                  <a:pt x="35" y="1"/>
                  <a:pt x="35" y="2"/>
                </a:cubicBezTo>
                <a:cubicBezTo>
                  <a:pt x="34" y="3"/>
                  <a:pt x="35" y="4"/>
                  <a:pt x="34" y="5"/>
                </a:cubicBezTo>
                <a:close/>
                <a:moveTo>
                  <a:pt x="38" y="13"/>
                </a:moveTo>
                <a:cubicBezTo>
                  <a:pt x="38" y="14"/>
                  <a:pt x="39" y="16"/>
                  <a:pt x="40" y="17"/>
                </a:cubicBezTo>
                <a:cubicBezTo>
                  <a:pt x="41" y="18"/>
                  <a:pt x="43" y="19"/>
                  <a:pt x="44" y="20"/>
                </a:cubicBezTo>
                <a:cubicBezTo>
                  <a:pt x="45" y="21"/>
                  <a:pt x="46" y="24"/>
                  <a:pt x="48" y="25"/>
                </a:cubicBezTo>
                <a:cubicBezTo>
                  <a:pt x="49" y="25"/>
                  <a:pt x="50" y="25"/>
                  <a:pt x="51" y="25"/>
                </a:cubicBezTo>
                <a:cubicBezTo>
                  <a:pt x="57" y="28"/>
                  <a:pt x="57" y="28"/>
                  <a:pt x="57" y="28"/>
                </a:cubicBezTo>
                <a:cubicBezTo>
                  <a:pt x="58" y="28"/>
                  <a:pt x="59" y="31"/>
                  <a:pt x="60" y="32"/>
                </a:cubicBezTo>
                <a:cubicBezTo>
                  <a:pt x="61" y="32"/>
                  <a:pt x="62" y="31"/>
                  <a:pt x="62" y="32"/>
                </a:cubicBezTo>
                <a:cubicBezTo>
                  <a:pt x="62" y="32"/>
                  <a:pt x="62" y="32"/>
                  <a:pt x="62" y="32"/>
                </a:cubicBezTo>
                <a:cubicBezTo>
                  <a:pt x="65" y="36"/>
                  <a:pt x="65" y="36"/>
                  <a:pt x="65" y="36"/>
                </a:cubicBezTo>
                <a:cubicBezTo>
                  <a:pt x="65" y="37"/>
                  <a:pt x="64" y="38"/>
                  <a:pt x="65" y="39"/>
                </a:cubicBezTo>
                <a:cubicBezTo>
                  <a:pt x="65" y="40"/>
                  <a:pt x="68" y="40"/>
                  <a:pt x="69" y="41"/>
                </a:cubicBezTo>
                <a:cubicBezTo>
                  <a:pt x="68" y="42"/>
                  <a:pt x="69" y="43"/>
                  <a:pt x="69" y="44"/>
                </a:cubicBezTo>
                <a:cubicBezTo>
                  <a:pt x="68" y="45"/>
                  <a:pt x="66" y="46"/>
                  <a:pt x="66" y="48"/>
                </a:cubicBezTo>
                <a:cubicBezTo>
                  <a:pt x="66" y="48"/>
                  <a:pt x="66" y="49"/>
                  <a:pt x="66" y="50"/>
                </a:cubicBezTo>
                <a:cubicBezTo>
                  <a:pt x="66" y="50"/>
                  <a:pt x="64" y="52"/>
                  <a:pt x="64" y="52"/>
                </a:cubicBezTo>
                <a:cubicBezTo>
                  <a:pt x="64" y="53"/>
                  <a:pt x="64" y="54"/>
                  <a:pt x="64" y="54"/>
                </a:cubicBezTo>
                <a:cubicBezTo>
                  <a:pt x="64" y="55"/>
                  <a:pt x="62" y="55"/>
                  <a:pt x="61" y="56"/>
                </a:cubicBezTo>
                <a:cubicBezTo>
                  <a:pt x="60" y="58"/>
                  <a:pt x="61" y="60"/>
                  <a:pt x="60" y="61"/>
                </a:cubicBezTo>
                <a:cubicBezTo>
                  <a:pt x="60" y="62"/>
                  <a:pt x="58" y="63"/>
                  <a:pt x="57" y="63"/>
                </a:cubicBezTo>
                <a:cubicBezTo>
                  <a:pt x="57" y="64"/>
                  <a:pt x="58" y="67"/>
                  <a:pt x="57" y="67"/>
                </a:cubicBezTo>
                <a:cubicBezTo>
                  <a:pt x="57" y="68"/>
                  <a:pt x="55" y="67"/>
                  <a:pt x="55" y="67"/>
                </a:cubicBezTo>
                <a:cubicBezTo>
                  <a:pt x="53" y="72"/>
                  <a:pt x="52" y="74"/>
                  <a:pt x="53" y="81"/>
                </a:cubicBezTo>
                <a:cubicBezTo>
                  <a:pt x="51" y="82"/>
                  <a:pt x="46" y="82"/>
                  <a:pt x="44" y="83"/>
                </a:cubicBezTo>
                <a:cubicBezTo>
                  <a:pt x="43" y="84"/>
                  <a:pt x="44" y="85"/>
                  <a:pt x="43" y="85"/>
                </a:cubicBezTo>
                <a:cubicBezTo>
                  <a:pt x="43" y="86"/>
                  <a:pt x="41" y="87"/>
                  <a:pt x="41" y="88"/>
                </a:cubicBezTo>
                <a:cubicBezTo>
                  <a:pt x="40" y="89"/>
                  <a:pt x="41" y="90"/>
                  <a:pt x="41" y="91"/>
                </a:cubicBezTo>
                <a:cubicBezTo>
                  <a:pt x="38" y="92"/>
                  <a:pt x="36" y="93"/>
                  <a:pt x="31" y="93"/>
                </a:cubicBezTo>
                <a:cubicBezTo>
                  <a:pt x="30" y="95"/>
                  <a:pt x="29" y="99"/>
                  <a:pt x="27" y="100"/>
                </a:cubicBezTo>
                <a:cubicBezTo>
                  <a:pt x="25" y="102"/>
                  <a:pt x="24" y="100"/>
                  <a:pt x="21" y="101"/>
                </a:cubicBezTo>
                <a:cubicBezTo>
                  <a:pt x="21" y="102"/>
                  <a:pt x="19" y="102"/>
                  <a:pt x="18" y="103"/>
                </a:cubicBezTo>
                <a:cubicBezTo>
                  <a:pt x="18" y="104"/>
                  <a:pt x="18" y="104"/>
                  <a:pt x="18" y="104"/>
                </a:cubicBezTo>
                <a:cubicBezTo>
                  <a:pt x="17" y="104"/>
                  <a:pt x="16" y="104"/>
                  <a:pt x="15" y="104"/>
                </a:cubicBezTo>
                <a:cubicBezTo>
                  <a:pt x="11" y="101"/>
                  <a:pt x="11" y="101"/>
                  <a:pt x="11" y="101"/>
                </a:cubicBezTo>
                <a:cubicBezTo>
                  <a:pt x="0" y="83"/>
                  <a:pt x="0" y="83"/>
                  <a:pt x="0" y="83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80"/>
                  <a:pt x="23" y="71"/>
                  <a:pt x="28" y="68"/>
                </a:cubicBezTo>
                <a:cubicBezTo>
                  <a:pt x="30" y="67"/>
                  <a:pt x="34" y="44"/>
                  <a:pt x="34" y="43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6"/>
                  <a:pt x="28" y="32"/>
                  <a:pt x="31" y="29"/>
                </a:cubicBezTo>
                <a:cubicBezTo>
                  <a:pt x="33" y="26"/>
                  <a:pt x="32" y="22"/>
                  <a:pt x="32" y="22"/>
                </a:cubicBezTo>
                <a:cubicBezTo>
                  <a:pt x="30" y="23"/>
                  <a:pt x="30" y="21"/>
                  <a:pt x="31" y="19"/>
                </a:cubicBezTo>
                <a:cubicBezTo>
                  <a:pt x="33" y="18"/>
                  <a:pt x="34" y="17"/>
                  <a:pt x="34" y="17"/>
                </a:cubicBezTo>
                <a:cubicBezTo>
                  <a:pt x="34" y="17"/>
                  <a:pt x="32" y="16"/>
                  <a:pt x="32" y="15"/>
                </a:cubicBezTo>
                <a:cubicBezTo>
                  <a:pt x="32" y="13"/>
                  <a:pt x="33" y="12"/>
                  <a:pt x="34" y="13"/>
                </a:cubicBezTo>
                <a:cubicBezTo>
                  <a:pt x="35" y="14"/>
                  <a:pt x="35" y="16"/>
                  <a:pt x="36" y="15"/>
                </a:cubicBezTo>
                <a:cubicBezTo>
                  <a:pt x="36" y="13"/>
                  <a:pt x="38" y="13"/>
                  <a:pt x="38" y="13"/>
                </a:cubicBezTo>
                <a:close/>
              </a:path>
            </a:pathLst>
          </a:custGeom>
          <a:solidFill>
            <a:schemeClr val="lt1"/>
          </a:solidFill>
          <a:ln w="9525" cap="rnd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3" name="Google Shape;623;p102"/>
          <p:cNvSpPr/>
          <p:nvPr/>
        </p:nvSpPr>
        <p:spPr>
          <a:xfrm>
            <a:off x="3363775" y="5367923"/>
            <a:ext cx="119090" cy="97399"/>
          </a:xfrm>
          <a:custGeom>
            <a:avLst/>
            <a:gdLst/>
            <a:ahLst/>
            <a:cxnLst/>
            <a:rect l="l" t="t" r="r" b="b"/>
            <a:pathLst>
              <a:path w="44" h="38" extrusionOk="0">
                <a:moveTo>
                  <a:pt x="38" y="25"/>
                </a:moveTo>
                <a:cubicBezTo>
                  <a:pt x="38" y="25"/>
                  <a:pt x="38" y="27"/>
                  <a:pt x="38" y="27"/>
                </a:cubicBezTo>
                <a:cubicBezTo>
                  <a:pt x="38" y="27"/>
                  <a:pt x="35" y="28"/>
                  <a:pt x="35" y="28"/>
                </a:cubicBezTo>
                <a:cubicBezTo>
                  <a:pt x="37" y="38"/>
                  <a:pt x="38" y="36"/>
                  <a:pt x="44" y="32"/>
                </a:cubicBezTo>
                <a:cubicBezTo>
                  <a:pt x="43" y="30"/>
                  <a:pt x="43" y="30"/>
                  <a:pt x="43" y="28"/>
                </a:cubicBezTo>
                <a:cubicBezTo>
                  <a:pt x="41" y="25"/>
                  <a:pt x="41" y="27"/>
                  <a:pt x="38" y="25"/>
                </a:cubicBezTo>
                <a:close/>
                <a:moveTo>
                  <a:pt x="31" y="14"/>
                </a:moveTo>
                <a:cubicBezTo>
                  <a:pt x="31" y="15"/>
                  <a:pt x="32" y="17"/>
                  <a:pt x="33" y="18"/>
                </a:cubicBezTo>
                <a:cubicBezTo>
                  <a:pt x="33" y="18"/>
                  <a:pt x="34" y="18"/>
                  <a:pt x="33" y="17"/>
                </a:cubicBezTo>
                <a:cubicBezTo>
                  <a:pt x="35" y="18"/>
                  <a:pt x="34" y="14"/>
                  <a:pt x="33" y="14"/>
                </a:cubicBezTo>
                <a:cubicBezTo>
                  <a:pt x="33" y="14"/>
                  <a:pt x="31" y="14"/>
                  <a:pt x="31" y="14"/>
                </a:cubicBezTo>
                <a:close/>
                <a:moveTo>
                  <a:pt x="17" y="5"/>
                </a:moveTo>
                <a:cubicBezTo>
                  <a:pt x="19" y="5"/>
                  <a:pt x="16" y="5"/>
                  <a:pt x="16" y="5"/>
                </a:cubicBezTo>
                <a:cubicBezTo>
                  <a:pt x="16" y="6"/>
                  <a:pt x="16" y="7"/>
                  <a:pt x="16" y="7"/>
                </a:cubicBezTo>
                <a:cubicBezTo>
                  <a:pt x="17" y="8"/>
                  <a:pt x="18" y="8"/>
                  <a:pt x="19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8"/>
                  <a:pt x="19" y="7"/>
                  <a:pt x="19" y="7"/>
                </a:cubicBezTo>
                <a:cubicBezTo>
                  <a:pt x="19" y="7"/>
                  <a:pt x="20" y="6"/>
                  <a:pt x="19" y="5"/>
                </a:cubicBezTo>
                <a:cubicBezTo>
                  <a:pt x="19" y="5"/>
                  <a:pt x="17" y="5"/>
                  <a:pt x="17" y="5"/>
                </a:cubicBezTo>
                <a:close/>
                <a:moveTo>
                  <a:pt x="2" y="0"/>
                </a:moveTo>
                <a:cubicBezTo>
                  <a:pt x="0" y="0"/>
                  <a:pt x="1" y="5"/>
                  <a:pt x="4" y="5"/>
                </a:cubicBezTo>
                <a:cubicBezTo>
                  <a:pt x="6" y="4"/>
                  <a:pt x="6" y="0"/>
                  <a:pt x="2" y="0"/>
                </a:cubicBezTo>
                <a:close/>
              </a:path>
            </a:pathLst>
          </a:custGeom>
          <a:solidFill>
            <a:srgbClr val="D8D8D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4" name="Google Shape;624;p102"/>
          <p:cNvSpPr/>
          <p:nvPr/>
        </p:nvSpPr>
        <p:spPr>
          <a:xfrm>
            <a:off x="3363775" y="5367923"/>
            <a:ext cx="119090" cy="97399"/>
          </a:xfrm>
          <a:custGeom>
            <a:avLst/>
            <a:gdLst/>
            <a:ahLst/>
            <a:cxnLst/>
            <a:rect l="l" t="t" r="r" b="b"/>
            <a:pathLst>
              <a:path w="44" h="38" extrusionOk="0">
                <a:moveTo>
                  <a:pt x="38" y="25"/>
                </a:moveTo>
                <a:cubicBezTo>
                  <a:pt x="38" y="25"/>
                  <a:pt x="38" y="27"/>
                  <a:pt x="38" y="27"/>
                </a:cubicBezTo>
                <a:cubicBezTo>
                  <a:pt x="38" y="27"/>
                  <a:pt x="35" y="28"/>
                  <a:pt x="35" y="28"/>
                </a:cubicBezTo>
                <a:cubicBezTo>
                  <a:pt x="37" y="38"/>
                  <a:pt x="38" y="36"/>
                  <a:pt x="44" y="32"/>
                </a:cubicBezTo>
                <a:cubicBezTo>
                  <a:pt x="43" y="30"/>
                  <a:pt x="43" y="30"/>
                  <a:pt x="43" y="28"/>
                </a:cubicBezTo>
                <a:cubicBezTo>
                  <a:pt x="41" y="25"/>
                  <a:pt x="41" y="27"/>
                  <a:pt x="38" y="25"/>
                </a:cubicBezTo>
                <a:close/>
                <a:moveTo>
                  <a:pt x="31" y="14"/>
                </a:moveTo>
                <a:cubicBezTo>
                  <a:pt x="31" y="15"/>
                  <a:pt x="32" y="17"/>
                  <a:pt x="33" y="18"/>
                </a:cubicBezTo>
                <a:cubicBezTo>
                  <a:pt x="33" y="18"/>
                  <a:pt x="34" y="18"/>
                  <a:pt x="33" y="17"/>
                </a:cubicBezTo>
                <a:cubicBezTo>
                  <a:pt x="35" y="18"/>
                  <a:pt x="34" y="14"/>
                  <a:pt x="33" y="14"/>
                </a:cubicBezTo>
                <a:cubicBezTo>
                  <a:pt x="33" y="14"/>
                  <a:pt x="31" y="14"/>
                  <a:pt x="31" y="14"/>
                </a:cubicBezTo>
                <a:close/>
                <a:moveTo>
                  <a:pt x="17" y="5"/>
                </a:moveTo>
                <a:cubicBezTo>
                  <a:pt x="19" y="5"/>
                  <a:pt x="16" y="5"/>
                  <a:pt x="16" y="5"/>
                </a:cubicBezTo>
                <a:cubicBezTo>
                  <a:pt x="16" y="6"/>
                  <a:pt x="16" y="7"/>
                  <a:pt x="16" y="7"/>
                </a:cubicBezTo>
                <a:cubicBezTo>
                  <a:pt x="17" y="8"/>
                  <a:pt x="18" y="8"/>
                  <a:pt x="19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8"/>
                  <a:pt x="19" y="7"/>
                  <a:pt x="19" y="7"/>
                </a:cubicBezTo>
                <a:cubicBezTo>
                  <a:pt x="19" y="7"/>
                  <a:pt x="20" y="6"/>
                  <a:pt x="19" y="5"/>
                </a:cubicBezTo>
                <a:cubicBezTo>
                  <a:pt x="19" y="5"/>
                  <a:pt x="17" y="5"/>
                  <a:pt x="17" y="5"/>
                </a:cubicBezTo>
                <a:close/>
                <a:moveTo>
                  <a:pt x="2" y="0"/>
                </a:moveTo>
                <a:cubicBezTo>
                  <a:pt x="0" y="0"/>
                  <a:pt x="1" y="5"/>
                  <a:pt x="4" y="5"/>
                </a:cubicBezTo>
                <a:cubicBezTo>
                  <a:pt x="6" y="4"/>
                  <a:pt x="6" y="0"/>
                  <a:pt x="2" y="0"/>
                </a:cubicBezTo>
                <a:close/>
              </a:path>
            </a:pathLst>
          </a:custGeom>
          <a:solidFill>
            <a:srgbClr val="D8D8D8"/>
          </a:solidFill>
          <a:ln w="9525" cap="rnd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25" name="Google Shape;625;p102"/>
          <p:cNvPicPr preferRelativeResize="0"/>
          <p:nvPr/>
        </p:nvPicPr>
        <p:blipFill rotWithShape="1">
          <a:blip r:embed="rId6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1165" y="542831"/>
            <a:ext cx="3391669" cy="3391669"/>
          </a:xfrm>
          <a:prstGeom prst="ellipse">
            <a:avLst/>
          </a:prstGeom>
          <a:noFill/>
          <a:ln w="63500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26" name="Google Shape;626;p102"/>
          <p:cNvSpPr/>
          <p:nvPr/>
        </p:nvSpPr>
        <p:spPr>
          <a:xfrm>
            <a:off x="406602" y="3693768"/>
            <a:ext cx="144000" cy="144000"/>
          </a:xfrm>
          <a:prstGeom prst="ellipse">
            <a:avLst/>
          </a:prstGeom>
          <a:solidFill>
            <a:srgbClr val="00645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627" name="Google Shape;627;p102"/>
          <p:cNvGrpSpPr/>
          <p:nvPr/>
        </p:nvGrpSpPr>
        <p:grpSpPr>
          <a:xfrm>
            <a:off x="4315381" y="4459993"/>
            <a:ext cx="227924" cy="229914"/>
            <a:chOff x="3415744" y="5441021"/>
            <a:chExt cx="645451" cy="651085"/>
          </a:xfrm>
        </p:grpSpPr>
        <p:grpSp>
          <p:nvGrpSpPr>
            <p:cNvPr id="628" name="Google Shape;628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29" name="Google Shape;629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30" name="Google Shape;630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31" name="Google Shape;631;p102"/>
            <p:cNvPicPr preferRelativeResize="0"/>
            <p:nvPr/>
          </p:nvPicPr>
          <p:blipFill rotWithShape="1">
            <a:blip r:embed="rId7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32" name="Google Shape;632;p102"/>
          <p:cNvGrpSpPr/>
          <p:nvPr/>
        </p:nvGrpSpPr>
        <p:grpSpPr>
          <a:xfrm>
            <a:off x="5012985" y="5166926"/>
            <a:ext cx="227924" cy="229914"/>
            <a:chOff x="3415744" y="5441021"/>
            <a:chExt cx="645451" cy="651085"/>
          </a:xfrm>
        </p:grpSpPr>
        <p:grpSp>
          <p:nvGrpSpPr>
            <p:cNvPr id="633" name="Google Shape;633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34" name="Google Shape;634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35" name="Google Shape;635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36" name="Google Shape;636;p102"/>
            <p:cNvPicPr preferRelativeResize="0"/>
            <p:nvPr/>
          </p:nvPicPr>
          <p:blipFill rotWithShape="1">
            <a:blip r:embed="rId7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37" name="Google Shape;637;p102"/>
          <p:cNvGrpSpPr/>
          <p:nvPr/>
        </p:nvGrpSpPr>
        <p:grpSpPr>
          <a:xfrm>
            <a:off x="4685430" y="5610433"/>
            <a:ext cx="227924" cy="229914"/>
            <a:chOff x="3415744" y="5441021"/>
            <a:chExt cx="645451" cy="651085"/>
          </a:xfrm>
        </p:grpSpPr>
        <p:grpSp>
          <p:nvGrpSpPr>
            <p:cNvPr id="638" name="Google Shape;638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39" name="Google Shape;639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40" name="Google Shape;640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41" name="Google Shape;641;p102"/>
            <p:cNvPicPr preferRelativeResize="0"/>
            <p:nvPr/>
          </p:nvPicPr>
          <p:blipFill rotWithShape="1">
            <a:blip r:embed="rId7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42" name="Google Shape;642;p102"/>
          <p:cNvGrpSpPr/>
          <p:nvPr/>
        </p:nvGrpSpPr>
        <p:grpSpPr>
          <a:xfrm>
            <a:off x="6383294" y="3014637"/>
            <a:ext cx="186092" cy="187717"/>
            <a:chOff x="3415744" y="5441021"/>
            <a:chExt cx="645451" cy="651085"/>
          </a:xfrm>
        </p:grpSpPr>
        <p:grpSp>
          <p:nvGrpSpPr>
            <p:cNvPr id="643" name="Google Shape;643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44" name="Google Shape;644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45" name="Google Shape;645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46" name="Google Shape;646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47" name="Google Shape;647;p102"/>
          <p:cNvGrpSpPr/>
          <p:nvPr/>
        </p:nvGrpSpPr>
        <p:grpSpPr>
          <a:xfrm>
            <a:off x="6378753" y="3150461"/>
            <a:ext cx="186092" cy="187717"/>
            <a:chOff x="3415744" y="5441021"/>
            <a:chExt cx="645451" cy="651085"/>
          </a:xfrm>
        </p:grpSpPr>
        <p:grpSp>
          <p:nvGrpSpPr>
            <p:cNvPr id="648" name="Google Shape;648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49" name="Google Shape;649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50" name="Google Shape;650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51" name="Google Shape;651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52" name="Google Shape;652;p102"/>
          <p:cNvGrpSpPr/>
          <p:nvPr/>
        </p:nvGrpSpPr>
        <p:grpSpPr>
          <a:xfrm>
            <a:off x="6487708" y="3049145"/>
            <a:ext cx="186092" cy="187717"/>
            <a:chOff x="3415744" y="5441021"/>
            <a:chExt cx="645451" cy="651085"/>
          </a:xfrm>
        </p:grpSpPr>
        <p:grpSp>
          <p:nvGrpSpPr>
            <p:cNvPr id="653" name="Google Shape;653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54" name="Google Shape;654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55" name="Google Shape;655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56" name="Google Shape;656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57" name="Google Shape;657;p102"/>
          <p:cNvGrpSpPr/>
          <p:nvPr/>
        </p:nvGrpSpPr>
        <p:grpSpPr>
          <a:xfrm>
            <a:off x="6446379" y="3181389"/>
            <a:ext cx="186092" cy="187717"/>
            <a:chOff x="3415744" y="5441021"/>
            <a:chExt cx="645451" cy="651085"/>
          </a:xfrm>
        </p:grpSpPr>
        <p:grpSp>
          <p:nvGrpSpPr>
            <p:cNvPr id="658" name="Google Shape;658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59" name="Google Shape;659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60" name="Google Shape;660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61" name="Google Shape;661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62" name="Google Shape;662;p102"/>
          <p:cNvGrpSpPr/>
          <p:nvPr/>
        </p:nvGrpSpPr>
        <p:grpSpPr>
          <a:xfrm>
            <a:off x="6735005" y="3373978"/>
            <a:ext cx="186092" cy="187717"/>
            <a:chOff x="3415744" y="5441021"/>
            <a:chExt cx="645451" cy="651085"/>
          </a:xfrm>
        </p:grpSpPr>
        <p:grpSp>
          <p:nvGrpSpPr>
            <p:cNvPr id="663" name="Google Shape;663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64" name="Google Shape;664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65" name="Google Shape;665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66" name="Google Shape;666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67" name="Google Shape;667;p102"/>
          <p:cNvGrpSpPr/>
          <p:nvPr/>
        </p:nvGrpSpPr>
        <p:grpSpPr>
          <a:xfrm>
            <a:off x="6809612" y="3121313"/>
            <a:ext cx="186092" cy="187717"/>
            <a:chOff x="3415744" y="5441021"/>
            <a:chExt cx="645451" cy="651085"/>
          </a:xfrm>
        </p:grpSpPr>
        <p:grpSp>
          <p:nvGrpSpPr>
            <p:cNvPr id="668" name="Google Shape;668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69" name="Google Shape;669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70" name="Google Shape;670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71" name="Google Shape;671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72" name="Google Shape;672;p102"/>
          <p:cNvGrpSpPr/>
          <p:nvPr/>
        </p:nvGrpSpPr>
        <p:grpSpPr>
          <a:xfrm>
            <a:off x="7001559" y="3364670"/>
            <a:ext cx="186092" cy="187717"/>
            <a:chOff x="3415744" y="5441021"/>
            <a:chExt cx="645451" cy="651085"/>
          </a:xfrm>
        </p:grpSpPr>
        <p:grpSp>
          <p:nvGrpSpPr>
            <p:cNvPr id="673" name="Google Shape;673;p102"/>
            <p:cNvGrpSpPr/>
            <p:nvPr/>
          </p:nvGrpSpPr>
          <p:grpSpPr>
            <a:xfrm>
              <a:off x="3521811" y="5456430"/>
              <a:ext cx="433691" cy="635676"/>
              <a:chOff x="2960325" y="5480120"/>
              <a:chExt cx="433691" cy="635676"/>
            </a:xfrm>
          </p:grpSpPr>
          <p:sp>
            <p:nvSpPr>
              <p:cNvPr id="674" name="Google Shape;674;p102"/>
              <p:cNvSpPr/>
              <p:nvPr/>
            </p:nvSpPr>
            <p:spPr>
              <a:xfrm>
                <a:off x="2960325" y="5480120"/>
                <a:ext cx="433691" cy="433691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75" name="Google Shape;675;p102"/>
              <p:cNvSpPr/>
              <p:nvPr/>
            </p:nvSpPr>
            <p:spPr>
              <a:xfrm>
                <a:off x="2973373" y="5741723"/>
                <a:ext cx="393256" cy="374073"/>
              </a:xfrm>
              <a:custGeom>
                <a:avLst/>
                <a:gdLst/>
                <a:ahLst/>
                <a:cxnLst/>
                <a:rect l="l" t="t" r="r" b="b"/>
                <a:pathLst>
                  <a:path w="393256" h="374073" extrusionOk="0">
                    <a:moveTo>
                      <a:pt x="393256" y="51156"/>
                    </a:moveTo>
                    <a:lnTo>
                      <a:pt x="201424" y="374073"/>
                    </a:lnTo>
                    <a:lnTo>
                      <a:pt x="0" y="35170"/>
                    </a:lnTo>
                    <a:lnTo>
                      <a:pt x="195030" y="0"/>
                    </a:lnTo>
                    <a:lnTo>
                      <a:pt x="393256" y="5115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676" name="Google Shape;676;p102"/>
            <p:cNvPicPr preferRelativeResize="0"/>
            <p:nvPr/>
          </p:nvPicPr>
          <p:blipFill rotWithShape="1">
            <a:blip r:embed="rId8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744" y="5441021"/>
              <a:ext cx="645451" cy="64545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77" name="Google Shape;677;p102"/>
          <p:cNvGrpSpPr/>
          <p:nvPr/>
        </p:nvGrpSpPr>
        <p:grpSpPr>
          <a:xfrm>
            <a:off x="4241344" y="4819976"/>
            <a:ext cx="203019" cy="203019"/>
            <a:chOff x="3860300" y="1135190"/>
            <a:chExt cx="731891" cy="731891"/>
          </a:xfrm>
        </p:grpSpPr>
        <p:sp>
          <p:nvSpPr>
            <p:cNvPr id="678" name="Google Shape;678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79" name="Google Shape;679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680" name="Google Shape;680;p102"/>
          <p:cNvPicPr preferRelativeResize="0"/>
          <p:nvPr/>
        </p:nvPicPr>
        <p:blipFill rotWithShape="1">
          <a:blip r:embed="rId9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9260" y="4847666"/>
            <a:ext cx="143556" cy="1435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81" name="Google Shape;681;p102"/>
          <p:cNvGrpSpPr/>
          <p:nvPr/>
        </p:nvGrpSpPr>
        <p:grpSpPr>
          <a:xfrm>
            <a:off x="4050287" y="4238110"/>
            <a:ext cx="168245" cy="168245"/>
            <a:chOff x="3860300" y="1135190"/>
            <a:chExt cx="731891" cy="731891"/>
          </a:xfrm>
        </p:grpSpPr>
        <p:sp>
          <p:nvSpPr>
            <p:cNvPr id="682" name="Google Shape;682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83" name="Google Shape;683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684" name="Google Shape;684;p102"/>
          <p:cNvPicPr preferRelativeResize="0"/>
          <p:nvPr/>
        </p:nvPicPr>
        <p:blipFill rotWithShape="1">
          <a:blip r:embed="rId10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111" y="4260708"/>
            <a:ext cx="118967" cy="11896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85" name="Google Shape;685;p102"/>
          <p:cNvGrpSpPr/>
          <p:nvPr/>
        </p:nvGrpSpPr>
        <p:grpSpPr>
          <a:xfrm>
            <a:off x="5952454" y="3326837"/>
            <a:ext cx="171461" cy="171461"/>
            <a:chOff x="3860300" y="1135190"/>
            <a:chExt cx="731891" cy="731891"/>
          </a:xfrm>
        </p:grpSpPr>
        <p:sp>
          <p:nvSpPr>
            <p:cNvPr id="686" name="Google Shape;686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87" name="Google Shape;687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688" name="Google Shape;688;p102"/>
          <p:cNvPicPr preferRelativeResize="0"/>
          <p:nvPr/>
        </p:nvPicPr>
        <p:blipFill rotWithShape="1">
          <a:blip r:embed="rId11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5749" y="3349906"/>
            <a:ext cx="121241" cy="12124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89" name="Google Shape;689;p102"/>
          <p:cNvGrpSpPr/>
          <p:nvPr/>
        </p:nvGrpSpPr>
        <p:grpSpPr>
          <a:xfrm>
            <a:off x="6162063" y="3305146"/>
            <a:ext cx="171461" cy="171461"/>
            <a:chOff x="3860300" y="1135190"/>
            <a:chExt cx="731891" cy="731891"/>
          </a:xfrm>
        </p:grpSpPr>
        <p:sp>
          <p:nvSpPr>
            <p:cNvPr id="690" name="Google Shape;690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91" name="Google Shape;691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692" name="Google Shape;692;p102"/>
          <p:cNvPicPr preferRelativeResize="0"/>
          <p:nvPr/>
        </p:nvPicPr>
        <p:blipFill rotWithShape="1">
          <a:blip r:embed="rId11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5358" y="3328215"/>
            <a:ext cx="121241" cy="12124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93" name="Google Shape;693;p102"/>
          <p:cNvGrpSpPr/>
          <p:nvPr/>
        </p:nvGrpSpPr>
        <p:grpSpPr>
          <a:xfrm>
            <a:off x="6493174" y="3251846"/>
            <a:ext cx="203019" cy="203019"/>
            <a:chOff x="3860300" y="1135190"/>
            <a:chExt cx="731891" cy="731891"/>
          </a:xfrm>
        </p:grpSpPr>
        <p:sp>
          <p:nvSpPr>
            <p:cNvPr id="694" name="Google Shape;694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95" name="Google Shape;695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696" name="Google Shape;696;p102"/>
          <p:cNvPicPr preferRelativeResize="0"/>
          <p:nvPr/>
        </p:nvPicPr>
        <p:blipFill rotWithShape="1">
          <a:blip r:embed="rId9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1090" y="3279536"/>
            <a:ext cx="143556" cy="1435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97" name="Google Shape;697;p102"/>
          <p:cNvGrpSpPr/>
          <p:nvPr/>
        </p:nvGrpSpPr>
        <p:grpSpPr>
          <a:xfrm>
            <a:off x="8082316" y="3850246"/>
            <a:ext cx="203019" cy="203019"/>
            <a:chOff x="3860300" y="1135190"/>
            <a:chExt cx="731891" cy="731891"/>
          </a:xfrm>
        </p:grpSpPr>
        <p:sp>
          <p:nvSpPr>
            <p:cNvPr id="698" name="Google Shape;698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99" name="Google Shape;699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00" name="Google Shape;700;p102"/>
          <p:cNvPicPr preferRelativeResize="0"/>
          <p:nvPr/>
        </p:nvPicPr>
        <p:blipFill rotWithShape="1">
          <a:blip r:embed="rId9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232" y="3877936"/>
            <a:ext cx="143556" cy="1435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01" name="Google Shape;701;p102"/>
          <p:cNvGrpSpPr/>
          <p:nvPr/>
        </p:nvGrpSpPr>
        <p:grpSpPr>
          <a:xfrm>
            <a:off x="6134161" y="2874915"/>
            <a:ext cx="203019" cy="203019"/>
            <a:chOff x="3860300" y="1135190"/>
            <a:chExt cx="731891" cy="731891"/>
          </a:xfrm>
        </p:grpSpPr>
        <p:sp>
          <p:nvSpPr>
            <p:cNvPr id="702" name="Google Shape;702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03" name="Google Shape;703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04" name="Google Shape;704;p102"/>
          <p:cNvPicPr preferRelativeResize="0"/>
          <p:nvPr/>
        </p:nvPicPr>
        <p:blipFill rotWithShape="1">
          <a:blip r:embed="rId9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2077" y="2902605"/>
            <a:ext cx="143556" cy="1435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05" name="Google Shape;705;p102"/>
          <p:cNvGrpSpPr/>
          <p:nvPr/>
        </p:nvGrpSpPr>
        <p:grpSpPr>
          <a:xfrm>
            <a:off x="8908722" y="3850602"/>
            <a:ext cx="203019" cy="203019"/>
            <a:chOff x="3860300" y="1135190"/>
            <a:chExt cx="731891" cy="731891"/>
          </a:xfrm>
        </p:grpSpPr>
        <p:sp>
          <p:nvSpPr>
            <p:cNvPr id="706" name="Google Shape;706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07" name="Google Shape;707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08" name="Google Shape;708;p102"/>
          <p:cNvPicPr preferRelativeResize="0"/>
          <p:nvPr/>
        </p:nvPicPr>
        <p:blipFill rotWithShape="1">
          <a:blip r:embed="rId9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6638" y="3878292"/>
            <a:ext cx="143556" cy="1435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09" name="Google Shape;709;p102"/>
          <p:cNvGrpSpPr/>
          <p:nvPr/>
        </p:nvGrpSpPr>
        <p:grpSpPr>
          <a:xfrm>
            <a:off x="4256926" y="4893745"/>
            <a:ext cx="203019" cy="203019"/>
            <a:chOff x="3860300" y="1135190"/>
            <a:chExt cx="731891" cy="731891"/>
          </a:xfrm>
        </p:grpSpPr>
        <p:sp>
          <p:nvSpPr>
            <p:cNvPr id="710" name="Google Shape;710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F28B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11" name="Google Shape;711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12" name="Google Shape;712;p102"/>
          <p:cNvPicPr preferRelativeResize="0"/>
          <p:nvPr/>
        </p:nvPicPr>
        <p:blipFill rotWithShape="1">
          <a:blip r:embed="rId1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04754" y="4942340"/>
            <a:ext cx="114226" cy="11422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13" name="Google Shape;713;p102"/>
          <p:cNvGrpSpPr/>
          <p:nvPr/>
        </p:nvGrpSpPr>
        <p:grpSpPr>
          <a:xfrm>
            <a:off x="4173969" y="4548009"/>
            <a:ext cx="203019" cy="203019"/>
            <a:chOff x="3860300" y="1135190"/>
            <a:chExt cx="731891" cy="731891"/>
          </a:xfrm>
        </p:grpSpPr>
        <p:sp>
          <p:nvSpPr>
            <p:cNvPr id="714" name="Google Shape;714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F28B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15" name="Google Shape;715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16" name="Google Shape;716;p102"/>
          <p:cNvPicPr preferRelativeResize="0"/>
          <p:nvPr/>
        </p:nvPicPr>
        <p:blipFill rotWithShape="1">
          <a:blip r:embed="rId1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1797" y="4596604"/>
            <a:ext cx="114226" cy="11422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17" name="Google Shape;717;p102"/>
          <p:cNvGrpSpPr/>
          <p:nvPr/>
        </p:nvGrpSpPr>
        <p:grpSpPr>
          <a:xfrm>
            <a:off x="6121626" y="3381633"/>
            <a:ext cx="171461" cy="171461"/>
            <a:chOff x="3860300" y="1135190"/>
            <a:chExt cx="731891" cy="731891"/>
          </a:xfrm>
        </p:grpSpPr>
        <p:sp>
          <p:nvSpPr>
            <p:cNvPr id="718" name="Google Shape;718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F28B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19" name="Google Shape;719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20" name="Google Shape;720;p102"/>
          <p:cNvPicPr preferRelativeResize="0"/>
          <p:nvPr/>
        </p:nvPicPr>
        <p:blipFill rotWithShape="1">
          <a:blip r:embed="rId13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4833" y="3425607"/>
            <a:ext cx="96470" cy="964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21" name="Google Shape;721;p102"/>
          <p:cNvGrpSpPr/>
          <p:nvPr/>
        </p:nvGrpSpPr>
        <p:grpSpPr>
          <a:xfrm>
            <a:off x="6057815" y="3338045"/>
            <a:ext cx="171461" cy="171461"/>
            <a:chOff x="3860300" y="1135190"/>
            <a:chExt cx="731891" cy="731891"/>
          </a:xfrm>
        </p:grpSpPr>
        <p:sp>
          <p:nvSpPr>
            <p:cNvPr id="722" name="Google Shape;722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F28B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23" name="Google Shape;723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24" name="Google Shape;724;p102"/>
          <p:cNvPicPr preferRelativeResize="0"/>
          <p:nvPr/>
        </p:nvPicPr>
        <p:blipFill rotWithShape="1">
          <a:blip r:embed="rId13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1022" y="3382019"/>
            <a:ext cx="96470" cy="964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25" name="Google Shape;725;p102"/>
          <p:cNvGrpSpPr/>
          <p:nvPr/>
        </p:nvGrpSpPr>
        <p:grpSpPr>
          <a:xfrm>
            <a:off x="4128728" y="4262075"/>
            <a:ext cx="168245" cy="168245"/>
            <a:chOff x="3860300" y="1135190"/>
            <a:chExt cx="731891" cy="731891"/>
          </a:xfrm>
        </p:grpSpPr>
        <p:sp>
          <p:nvSpPr>
            <p:cNvPr id="726" name="Google Shape;726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27" name="Google Shape;727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28" name="Google Shape;728;p102"/>
          <p:cNvPicPr preferRelativeResize="0"/>
          <p:nvPr/>
        </p:nvPicPr>
        <p:blipFill rotWithShape="1">
          <a:blip r:embed="rId10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1552" y="4284673"/>
            <a:ext cx="118967" cy="11896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29" name="Google Shape;729;p102"/>
          <p:cNvGrpSpPr/>
          <p:nvPr/>
        </p:nvGrpSpPr>
        <p:grpSpPr>
          <a:xfrm>
            <a:off x="4121250" y="4303555"/>
            <a:ext cx="155310" cy="155310"/>
            <a:chOff x="3860300" y="1135190"/>
            <a:chExt cx="731891" cy="731891"/>
          </a:xfrm>
        </p:grpSpPr>
        <p:sp>
          <p:nvSpPr>
            <p:cNvPr id="730" name="Google Shape;730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F28B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31" name="Google Shape;731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32" name="Google Shape;732;p102"/>
          <p:cNvPicPr preferRelativeResize="0"/>
          <p:nvPr/>
        </p:nvPicPr>
        <p:blipFill rotWithShape="1">
          <a:blip r:embed="rId14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2092" y="4338272"/>
            <a:ext cx="87383" cy="873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33" name="Google Shape;733;p102"/>
          <p:cNvGrpSpPr/>
          <p:nvPr/>
        </p:nvGrpSpPr>
        <p:grpSpPr>
          <a:xfrm>
            <a:off x="4152908" y="4630740"/>
            <a:ext cx="203019" cy="203019"/>
            <a:chOff x="3860300" y="1135190"/>
            <a:chExt cx="731891" cy="731891"/>
          </a:xfrm>
        </p:grpSpPr>
        <p:sp>
          <p:nvSpPr>
            <p:cNvPr id="734" name="Google Shape;734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35" name="Google Shape;735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36" name="Google Shape;736;p102"/>
          <p:cNvPicPr preferRelativeResize="0"/>
          <p:nvPr/>
        </p:nvPicPr>
        <p:blipFill rotWithShape="1">
          <a:blip r:embed="rId9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0824" y="4658430"/>
            <a:ext cx="143556" cy="1435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37" name="Google Shape;737;p102"/>
          <p:cNvGrpSpPr/>
          <p:nvPr/>
        </p:nvGrpSpPr>
        <p:grpSpPr>
          <a:xfrm>
            <a:off x="3605850" y="3840402"/>
            <a:ext cx="203019" cy="203019"/>
            <a:chOff x="3860300" y="1135190"/>
            <a:chExt cx="731891" cy="731891"/>
          </a:xfrm>
        </p:grpSpPr>
        <p:sp>
          <p:nvSpPr>
            <p:cNvPr id="738" name="Google Shape;738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F28B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39" name="Google Shape;739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40" name="Google Shape;740;p102"/>
          <p:cNvPicPr preferRelativeResize="0"/>
          <p:nvPr/>
        </p:nvPicPr>
        <p:blipFill rotWithShape="1">
          <a:blip r:embed="rId1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3678" y="3888997"/>
            <a:ext cx="114226" cy="11422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41" name="Google Shape;741;p102"/>
          <p:cNvGrpSpPr/>
          <p:nvPr/>
        </p:nvGrpSpPr>
        <p:grpSpPr>
          <a:xfrm>
            <a:off x="6217446" y="3174184"/>
            <a:ext cx="203019" cy="203019"/>
            <a:chOff x="3860300" y="1135190"/>
            <a:chExt cx="731891" cy="731891"/>
          </a:xfrm>
        </p:grpSpPr>
        <p:sp>
          <p:nvSpPr>
            <p:cNvPr id="742" name="Google Shape;742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00AEEA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43" name="Google Shape;743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44" name="Google Shape;744;p102"/>
          <p:cNvPicPr preferRelativeResize="0"/>
          <p:nvPr/>
        </p:nvPicPr>
        <p:blipFill rotWithShape="1">
          <a:blip r:embed="rId1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7342" y="3217586"/>
            <a:ext cx="120605" cy="12060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45" name="Google Shape;745;p102"/>
          <p:cNvGrpSpPr/>
          <p:nvPr/>
        </p:nvGrpSpPr>
        <p:grpSpPr>
          <a:xfrm>
            <a:off x="387776" y="2238666"/>
            <a:ext cx="1322801" cy="338554"/>
            <a:chOff x="387776" y="2173744"/>
            <a:chExt cx="1322801" cy="338554"/>
          </a:xfrm>
        </p:grpSpPr>
        <p:grpSp>
          <p:nvGrpSpPr>
            <p:cNvPr id="746" name="Google Shape;746;p102"/>
            <p:cNvGrpSpPr/>
            <p:nvPr/>
          </p:nvGrpSpPr>
          <p:grpSpPr>
            <a:xfrm>
              <a:off x="387776" y="2253888"/>
              <a:ext cx="203020" cy="204792"/>
              <a:chOff x="3415744" y="5441021"/>
              <a:chExt cx="645451" cy="651085"/>
            </a:xfrm>
          </p:grpSpPr>
          <p:grpSp>
            <p:nvGrpSpPr>
              <p:cNvPr id="747" name="Google Shape;747;p102"/>
              <p:cNvGrpSpPr/>
              <p:nvPr/>
            </p:nvGrpSpPr>
            <p:grpSpPr>
              <a:xfrm>
                <a:off x="3521811" y="5456430"/>
                <a:ext cx="433691" cy="635676"/>
                <a:chOff x="2960325" y="5480120"/>
                <a:chExt cx="433691" cy="635676"/>
              </a:xfrm>
            </p:grpSpPr>
            <p:sp>
              <p:nvSpPr>
                <p:cNvPr id="748" name="Google Shape;748;p102"/>
                <p:cNvSpPr/>
                <p:nvPr/>
              </p:nvSpPr>
              <p:spPr>
                <a:xfrm>
                  <a:off x="2960325" y="5480120"/>
                  <a:ext cx="433691" cy="433691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600"/>
                    <a:buFont typeface="Open Sans"/>
                    <a:buNone/>
                  </a:pPr>
                  <a:endParaRPr sz="1600" b="0" i="0" u="none" strike="noStrike" cap="none">
                    <a:solidFill>
                      <a:schemeClr val="dk1"/>
                    </a:solidFill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  <p:sp>
              <p:nvSpPr>
                <p:cNvPr id="749" name="Google Shape;749;p102"/>
                <p:cNvSpPr/>
                <p:nvPr/>
              </p:nvSpPr>
              <p:spPr>
                <a:xfrm>
                  <a:off x="2973373" y="5741723"/>
                  <a:ext cx="393256" cy="3740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256" h="374073" extrusionOk="0">
                      <a:moveTo>
                        <a:pt x="393256" y="51156"/>
                      </a:moveTo>
                      <a:lnTo>
                        <a:pt x="201424" y="374073"/>
                      </a:lnTo>
                      <a:lnTo>
                        <a:pt x="0" y="35170"/>
                      </a:lnTo>
                      <a:lnTo>
                        <a:pt x="195030" y="0"/>
                      </a:lnTo>
                      <a:lnTo>
                        <a:pt x="393256" y="51156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dk1"/>
                    </a:buClr>
                    <a:buSzPts val="1600"/>
                    <a:buFont typeface="Open Sans"/>
                    <a:buNone/>
                  </a:pPr>
                  <a:endParaRPr sz="1600" b="0" i="0" u="none" strike="noStrike" cap="none">
                    <a:solidFill>
                      <a:schemeClr val="dk1"/>
                    </a:solidFill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p:grpSp>
          <p:pic>
            <p:nvPicPr>
              <p:cNvPr id="750" name="Google Shape;750;p102"/>
              <p:cNvPicPr preferRelativeResize="0"/>
              <p:nvPr/>
            </p:nvPicPr>
            <p:blipFill rotWithShape="1">
              <a:blip r:embed="rId16" cstate="hqprint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15744" y="5441021"/>
                <a:ext cx="645451" cy="64545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751" name="Google Shape;751;p102"/>
            <p:cNvSpPr txBox="1"/>
            <p:nvPr/>
          </p:nvSpPr>
          <p:spPr>
            <a:xfrm>
              <a:off x="585671" y="2173744"/>
              <a:ext cx="1124906" cy="3385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" sz="800" b="0" i="0" u="none" strike="noStrike" cap="none">
                  <a:solidFill>
                    <a:srgbClr val="7F7F7F"/>
                  </a:solidFill>
                  <a:latin typeface="Open Sans"/>
                  <a:ea typeface="Open Sans"/>
                  <a:cs typeface="Open Sans"/>
                  <a:sym typeface="Open Sans"/>
                </a:rPr>
                <a:t>Local presences of Namirial Group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52" name="Google Shape;752;p102"/>
          <p:cNvGrpSpPr/>
          <p:nvPr/>
        </p:nvGrpSpPr>
        <p:grpSpPr>
          <a:xfrm>
            <a:off x="387777" y="2590078"/>
            <a:ext cx="1322800" cy="226323"/>
            <a:chOff x="387777" y="2550042"/>
            <a:chExt cx="1322800" cy="226323"/>
          </a:xfrm>
        </p:grpSpPr>
        <p:grpSp>
          <p:nvGrpSpPr>
            <p:cNvPr id="753" name="Google Shape;753;p102"/>
            <p:cNvGrpSpPr/>
            <p:nvPr/>
          </p:nvGrpSpPr>
          <p:grpSpPr>
            <a:xfrm>
              <a:off x="387777" y="2550042"/>
              <a:ext cx="203019" cy="203019"/>
              <a:chOff x="3860300" y="1135190"/>
              <a:chExt cx="731891" cy="731891"/>
            </a:xfrm>
          </p:grpSpPr>
          <p:sp>
            <p:nvSpPr>
              <p:cNvPr id="754" name="Google Shape;754;p102"/>
              <p:cNvSpPr/>
              <p:nvPr/>
            </p:nvSpPr>
            <p:spPr>
              <a:xfrm rot="8100000">
                <a:off x="3967483" y="1242373"/>
                <a:ext cx="517525" cy="517525"/>
              </a:xfrm>
              <a:prstGeom prst="teardrop">
                <a:avLst>
                  <a:gd name="adj" fmla="val 100000"/>
                </a:avLst>
              </a:prstGeom>
              <a:solidFill>
                <a:srgbClr val="C00000"/>
              </a:solidFill>
              <a:ln w="9525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rgbClr val="C00000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55" name="Google Shape;755;p102"/>
              <p:cNvSpPr/>
              <p:nvPr/>
            </p:nvSpPr>
            <p:spPr>
              <a:xfrm>
                <a:off x="4018537" y="1293201"/>
                <a:ext cx="411788" cy="411788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756" name="Google Shape;756;p102"/>
            <p:cNvPicPr preferRelativeResize="0"/>
            <p:nvPr/>
          </p:nvPicPr>
          <p:blipFill rotWithShape="1">
            <a:blip r:embed="rId9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7508" y="2577732"/>
              <a:ext cx="143556" cy="14355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57" name="Google Shape;757;p102"/>
            <p:cNvSpPr txBox="1"/>
            <p:nvPr/>
          </p:nvSpPr>
          <p:spPr>
            <a:xfrm>
              <a:off x="585671" y="2560921"/>
              <a:ext cx="1124906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" sz="800" b="0" i="0" u="none" strike="noStrike" cap="none">
                  <a:solidFill>
                    <a:srgbClr val="7F7F7F"/>
                  </a:solidFill>
                  <a:latin typeface="Open Sans"/>
                  <a:ea typeface="Open Sans"/>
                  <a:cs typeface="Open Sans"/>
                  <a:sym typeface="Open Sans"/>
                </a:rPr>
                <a:t>bit4Id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58" name="Google Shape;758;p102"/>
          <p:cNvGrpSpPr/>
          <p:nvPr/>
        </p:nvGrpSpPr>
        <p:grpSpPr>
          <a:xfrm>
            <a:off x="387777" y="2849361"/>
            <a:ext cx="1322800" cy="219652"/>
            <a:chOff x="387777" y="2820780"/>
            <a:chExt cx="1322800" cy="219652"/>
          </a:xfrm>
        </p:grpSpPr>
        <p:grpSp>
          <p:nvGrpSpPr>
            <p:cNvPr id="759" name="Google Shape;759;p102"/>
            <p:cNvGrpSpPr/>
            <p:nvPr/>
          </p:nvGrpSpPr>
          <p:grpSpPr>
            <a:xfrm>
              <a:off x="387777" y="2820780"/>
              <a:ext cx="203019" cy="203019"/>
              <a:chOff x="3860300" y="1135190"/>
              <a:chExt cx="731891" cy="731891"/>
            </a:xfrm>
          </p:grpSpPr>
          <p:sp>
            <p:nvSpPr>
              <p:cNvPr id="760" name="Google Shape;760;p102"/>
              <p:cNvSpPr/>
              <p:nvPr/>
            </p:nvSpPr>
            <p:spPr>
              <a:xfrm rot="8100000">
                <a:off x="3967483" y="1242373"/>
                <a:ext cx="517525" cy="517525"/>
              </a:xfrm>
              <a:prstGeom prst="teardrop">
                <a:avLst>
                  <a:gd name="adj" fmla="val 100000"/>
                </a:avLst>
              </a:prstGeom>
              <a:solidFill>
                <a:srgbClr val="F28B00"/>
              </a:solidFill>
              <a:ln w="9525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rgbClr val="C00000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61" name="Google Shape;761;p102"/>
              <p:cNvSpPr/>
              <p:nvPr/>
            </p:nvSpPr>
            <p:spPr>
              <a:xfrm>
                <a:off x="4018537" y="1293201"/>
                <a:ext cx="411788" cy="411788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762" name="Google Shape;762;p102"/>
            <p:cNvPicPr preferRelativeResize="0"/>
            <p:nvPr/>
          </p:nvPicPr>
          <p:blipFill rotWithShape="1">
            <a:blip r:embed="rId12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2173" y="2869375"/>
              <a:ext cx="114226" cy="1142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63" name="Google Shape;763;p102"/>
            <p:cNvSpPr txBox="1"/>
            <p:nvPr/>
          </p:nvSpPr>
          <p:spPr>
            <a:xfrm>
              <a:off x="585671" y="2824988"/>
              <a:ext cx="1124906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" sz="800" b="0" i="0" u="none" strike="noStrike" cap="none">
                  <a:solidFill>
                    <a:srgbClr val="7F7F7F"/>
                  </a:solidFill>
                  <a:latin typeface="Open Sans"/>
                  <a:ea typeface="Open Sans"/>
                  <a:cs typeface="Open Sans"/>
                  <a:sym typeface="Open Sans"/>
                </a:rPr>
                <a:t>Evicertia</a:t>
              </a:r>
              <a:endParaRPr sz="800" b="0" i="0" u="none" strike="noStrike" cap="none">
                <a:solidFill>
                  <a:srgbClr val="7F7F7F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764" name="Google Shape;764;p102"/>
          <p:cNvGrpSpPr/>
          <p:nvPr/>
        </p:nvGrpSpPr>
        <p:grpSpPr>
          <a:xfrm>
            <a:off x="387777" y="3089055"/>
            <a:ext cx="1322800" cy="215444"/>
            <a:chOff x="387777" y="3089055"/>
            <a:chExt cx="1322800" cy="215444"/>
          </a:xfrm>
        </p:grpSpPr>
        <p:grpSp>
          <p:nvGrpSpPr>
            <p:cNvPr id="765" name="Google Shape;765;p102"/>
            <p:cNvGrpSpPr/>
            <p:nvPr/>
          </p:nvGrpSpPr>
          <p:grpSpPr>
            <a:xfrm>
              <a:off x="387777" y="3097491"/>
              <a:ext cx="203019" cy="203019"/>
              <a:chOff x="3860300" y="1135190"/>
              <a:chExt cx="731891" cy="731891"/>
            </a:xfrm>
          </p:grpSpPr>
          <p:sp>
            <p:nvSpPr>
              <p:cNvPr id="766" name="Google Shape;766;p102"/>
              <p:cNvSpPr/>
              <p:nvPr/>
            </p:nvSpPr>
            <p:spPr>
              <a:xfrm rot="8100000">
                <a:off x="3967483" y="1242373"/>
                <a:ext cx="517525" cy="517525"/>
              </a:xfrm>
              <a:prstGeom prst="teardrop">
                <a:avLst>
                  <a:gd name="adj" fmla="val 100000"/>
                </a:avLst>
              </a:prstGeom>
              <a:solidFill>
                <a:srgbClr val="00AEEA"/>
              </a:solidFill>
              <a:ln w="9525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rgbClr val="C00000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67" name="Google Shape;767;p102"/>
              <p:cNvSpPr/>
              <p:nvPr/>
            </p:nvSpPr>
            <p:spPr>
              <a:xfrm>
                <a:off x="4018537" y="1293201"/>
                <a:ext cx="411788" cy="411788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Font typeface="Open Sans"/>
                  <a:buNone/>
                </a:pPr>
                <a:endParaRPr sz="16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p:grpSp>
        <p:pic>
          <p:nvPicPr>
            <p:cNvPr id="768" name="Google Shape;768;p102"/>
            <p:cNvPicPr preferRelativeResize="0"/>
            <p:nvPr/>
          </p:nvPicPr>
          <p:blipFill rotWithShape="1">
            <a:blip r:embed="rId15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8984" y="3140893"/>
              <a:ext cx="120605" cy="12060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69" name="Google Shape;769;p102"/>
            <p:cNvSpPr txBox="1"/>
            <p:nvPr/>
          </p:nvSpPr>
          <p:spPr>
            <a:xfrm>
              <a:off x="585671" y="3089055"/>
              <a:ext cx="1124906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" sz="800" b="0" i="0" u="none" strike="noStrike" cap="none">
                  <a:solidFill>
                    <a:srgbClr val="7F7F7F"/>
                  </a:solidFill>
                  <a:latin typeface="Open Sans"/>
                  <a:ea typeface="Open Sans"/>
                  <a:cs typeface="Open Sans"/>
                  <a:sym typeface="Open Sans"/>
                </a:rPr>
                <a:t>Netheos</a:t>
              </a:r>
              <a:endParaRPr sz="800" b="0" i="0" u="none" strike="noStrike" cap="none">
                <a:solidFill>
                  <a:srgbClr val="7F7F7F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770" name="Google Shape;770;p102"/>
          <p:cNvGrpSpPr/>
          <p:nvPr/>
        </p:nvGrpSpPr>
        <p:grpSpPr>
          <a:xfrm>
            <a:off x="10343522" y="2231851"/>
            <a:ext cx="404636" cy="404636"/>
            <a:chOff x="3860300" y="1135190"/>
            <a:chExt cx="731891" cy="731891"/>
          </a:xfrm>
        </p:grpSpPr>
        <p:sp>
          <p:nvSpPr>
            <p:cNvPr id="771" name="Google Shape;771;p102"/>
            <p:cNvSpPr/>
            <p:nvPr/>
          </p:nvSpPr>
          <p:spPr>
            <a:xfrm rot="8100000">
              <a:off x="3967483" y="1242373"/>
              <a:ext cx="517525" cy="517525"/>
            </a:xfrm>
            <a:prstGeom prst="teardrop">
              <a:avLst>
                <a:gd name="adj" fmla="val 100000"/>
              </a:avLst>
            </a:prstGeom>
            <a:solidFill>
              <a:srgbClr val="C00000"/>
            </a:solidFill>
            <a:ln w="9525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rgbClr val="C00000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772" name="Google Shape;772;p102"/>
            <p:cNvSpPr/>
            <p:nvPr/>
          </p:nvSpPr>
          <p:spPr>
            <a:xfrm>
              <a:off x="4018537" y="1293201"/>
              <a:ext cx="411788" cy="4117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Open Sans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773" name="Google Shape;773;p102"/>
          <p:cNvPicPr preferRelativeResize="0"/>
          <p:nvPr/>
        </p:nvPicPr>
        <p:blipFill rotWithShape="1">
          <a:blip r:embed="rId17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00965" y="2289068"/>
            <a:ext cx="286121" cy="2861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79452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act">
  <p:cSld name="V2 Contact"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" name="Google Shape;775;p103"/>
          <p:cNvSpPr/>
          <p:nvPr/>
        </p:nvSpPr>
        <p:spPr>
          <a:xfrm>
            <a:off x="0" y="0"/>
            <a:ext cx="12192000" cy="63849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76" name="Google Shape;776;p103"/>
          <p:cNvSpPr/>
          <p:nvPr/>
        </p:nvSpPr>
        <p:spPr>
          <a:xfrm flipH="1">
            <a:off x="4842883" y="473063"/>
            <a:ext cx="7394622" cy="6025616"/>
          </a:xfrm>
          <a:prstGeom prst="round1Rect">
            <a:avLst>
              <a:gd name="adj" fmla="val 16667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77" name="Google Shape;777;p103"/>
          <p:cNvSpPr txBox="1"/>
          <p:nvPr/>
        </p:nvSpPr>
        <p:spPr>
          <a:xfrm>
            <a:off x="7624387" y="1308938"/>
            <a:ext cx="4296298" cy="487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en" sz="4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et in contact!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103"/>
          <p:cNvSpPr txBox="1">
            <a:spLocks noGrp="1"/>
          </p:cNvSpPr>
          <p:nvPr>
            <p:ph type="body" idx="1"/>
          </p:nvPr>
        </p:nvSpPr>
        <p:spPr>
          <a:xfrm>
            <a:off x="7804262" y="4260029"/>
            <a:ext cx="3070654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24000" tIns="45700" rIns="72000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" name="Google Shape;779;p103"/>
          <p:cNvSpPr txBox="1">
            <a:spLocks noGrp="1"/>
          </p:cNvSpPr>
          <p:nvPr>
            <p:ph type="body" idx="2"/>
          </p:nvPr>
        </p:nvSpPr>
        <p:spPr>
          <a:xfrm>
            <a:off x="7804262" y="3954359"/>
            <a:ext cx="3070657" cy="289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/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0" name="Google Shape;780;p10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04262" y="4299641"/>
            <a:ext cx="222787" cy="22278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81" name="Google Shape;781;p103"/>
          <p:cNvCxnSpPr/>
          <p:nvPr/>
        </p:nvCxnSpPr>
        <p:spPr>
          <a:xfrm>
            <a:off x="7804262" y="3894570"/>
            <a:ext cx="605643" cy="0"/>
          </a:xfrm>
          <a:prstGeom prst="straightConnector1">
            <a:avLst/>
          </a:prstGeom>
          <a:noFill/>
          <a:ln w="28575" cap="flat" cmpd="sng">
            <a:solidFill>
              <a:srgbClr val="0F161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2" name="Google Shape;782;p103"/>
          <p:cNvSpPr txBox="1">
            <a:spLocks noGrp="1"/>
          </p:cNvSpPr>
          <p:nvPr>
            <p:ph type="body" idx="3"/>
          </p:nvPr>
        </p:nvSpPr>
        <p:spPr>
          <a:xfrm>
            <a:off x="7804262" y="2606680"/>
            <a:ext cx="3070656" cy="325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1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" name="Google Shape;783;p103"/>
          <p:cNvSpPr txBox="1">
            <a:spLocks noGrp="1"/>
          </p:cNvSpPr>
          <p:nvPr>
            <p:ph type="body" idx="4"/>
          </p:nvPr>
        </p:nvSpPr>
        <p:spPr>
          <a:xfrm>
            <a:off x="7804262" y="2955842"/>
            <a:ext cx="3070656" cy="236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" name="Google Shape;784;p103"/>
          <p:cNvSpPr txBox="1">
            <a:spLocks noGrp="1"/>
          </p:cNvSpPr>
          <p:nvPr>
            <p:ph type="body" idx="5"/>
          </p:nvPr>
        </p:nvSpPr>
        <p:spPr>
          <a:xfrm>
            <a:off x="7804261" y="3306032"/>
            <a:ext cx="3070655" cy="503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5" name="Google Shape;785;p103" descr="Unterhaltung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129" y="-293396"/>
            <a:ext cx="4530931" cy="4530931"/>
          </a:xfrm>
          <a:prstGeom prst="rect">
            <a:avLst/>
          </a:prstGeom>
          <a:noFill/>
          <a:ln>
            <a:noFill/>
          </a:ln>
        </p:spPr>
      </p:pic>
      <p:sp>
        <p:nvSpPr>
          <p:cNvPr id="786" name="Google Shape;786;p103"/>
          <p:cNvSpPr>
            <a:spLocks noGrp="1"/>
          </p:cNvSpPr>
          <p:nvPr>
            <p:ph type="pic" idx="6"/>
          </p:nvPr>
        </p:nvSpPr>
        <p:spPr>
          <a:xfrm>
            <a:off x="5648069" y="2198919"/>
            <a:ext cx="1725256" cy="1725256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2411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8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8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84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">
  <p:cSld name="V2 Conclusion">
    <p:spTree>
      <p:nvGrpSpPr>
        <p:cNvPr id="1" name="Shape 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" name="Google Shape;788;p104"/>
          <p:cNvSpPr/>
          <p:nvPr/>
        </p:nvSpPr>
        <p:spPr>
          <a:xfrm>
            <a:off x="0" y="0"/>
            <a:ext cx="12192000" cy="2178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89" name="Google Shape;789;p104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" name="Google Shape;790;p104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" sz="105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Namirial – All rights reserv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1" name="Google Shape;791;p104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792" name="Google Shape;792;p10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793" name="Google Shape;793;p104"/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46649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, and Content" type="txAndObj">
  <p:cSld name="Title, Text, and Content">
    <p:spTree>
      <p:nvGrpSpPr>
        <p:cNvPr id="1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g200db403cbb_0_4770"/>
          <p:cNvSpPr txBox="1">
            <a:spLocks noGrp="1"/>
          </p:cNvSpPr>
          <p:nvPr>
            <p:ph type="title"/>
          </p:nvPr>
        </p:nvSpPr>
        <p:spPr>
          <a:xfrm>
            <a:off x="468923" y="758827"/>
            <a:ext cx="11253900" cy="69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Quattrocento Sans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796" name="Google Shape;796;g200db403cbb_0_4770"/>
          <p:cNvSpPr txBox="1">
            <a:spLocks noGrp="1"/>
          </p:cNvSpPr>
          <p:nvPr>
            <p:ph type="body" idx="1"/>
          </p:nvPr>
        </p:nvSpPr>
        <p:spPr>
          <a:xfrm>
            <a:off x="468923" y="1628775"/>
            <a:ext cx="55332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normAutofit/>
          </a:bodyPr>
          <a:lstStyle>
            <a:lvl1pPr marL="457200" lvl="0" indent="-41275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2900"/>
              <a:buChar char="•"/>
              <a:defRPr/>
            </a:lvl1pPr>
            <a:lvl2pPr marL="914400" lvl="1" indent="-38100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2400"/>
              <a:buChar char="•"/>
              <a:defRPr/>
            </a:lvl2pPr>
            <a:lvl3pPr marL="1371600" lvl="2" indent="-38100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2400"/>
              <a:buChar char="o"/>
              <a:defRPr/>
            </a:lvl3pPr>
            <a:lvl4pPr marL="1828800" lvl="3" indent="-34925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1900"/>
              <a:buChar char="o"/>
              <a:defRPr/>
            </a:lvl4pPr>
            <a:lvl5pPr marL="2286000" lvl="4" indent="-31750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140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9pPr>
          </a:lstStyle>
          <a:p>
            <a:endParaRPr/>
          </a:p>
        </p:txBody>
      </p:sp>
      <p:sp>
        <p:nvSpPr>
          <p:cNvPr id="797" name="Google Shape;797;g200db403cbb_0_4770"/>
          <p:cNvSpPr txBox="1">
            <a:spLocks noGrp="1"/>
          </p:cNvSpPr>
          <p:nvPr>
            <p:ph type="body" idx="2"/>
          </p:nvPr>
        </p:nvSpPr>
        <p:spPr>
          <a:xfrm>
            <a:off x="6189785" y="1628775"/>
            <a:ext cx="55332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25" rIns="121900" bIns="60925" anchor="t" anchorCtr="0">
            <a:normAutofit/>
          </a:bodyPr>
          <a:lstStyle>
            <a:lvl1pPr marL="457200" lvl="0" indent="-41275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2900"/>
              <a:buChar char="•"/>
              <a:defRPr/>
            </a:lvl1pPr>
            <a:lvl2pPr marL="914400" lvl="1" indent="-38100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2400"/>
              <a:buChar char="•"/>
              <a:defRPr/>
            </a:lvl2pPr>
            <a:lvl3pPr marL="1371600" lvl="2" indent="-38100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2400"/>
              <a:buChar char="o"/>
              <a:defRPr/>
            </a:lvl3pPr>
            <a:lvl4pPr marL="1828800" lvl="3" indent="-34925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1900"/>
              <a:buChar char="o"/>
              <a:defRPr/>
            </a:lvl4pPr>
            <a:lvl5pPr marL="2286000" lvl="4" indent="-317500" algn="l">
              <a:lnSpc>
                <a:spcPct val="85000"/>
              </a:lnSpc>
              <a:spcBef>
                <a:spcPts val="1100"/>
              </a:spcBef>
              <a:spcAft>
                <a:spcPts val="0"/>
              </a:spcAft>
              <a:buSzPts val="140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56165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uto con didascalia" type="objTx">
  <p:cSld name="Contenuto con didascalia">
    <p:spTree>
      <p:nvGrpSpPr>
        <p:cNvPr id="1" name="Shape 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" name="Google Shape;799;g24bb22cb5cf_0_317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0" name="Google Shape;800;g24bb22cb5cf_0_3177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o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o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⬥"/>
              <a:defRPr sz="2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801" name="Google Shape;801;g24bb22cb5cf_0_3177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802" name="Google Shape;802;g24bb22cb5cf_0_317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3" name="Google Shape;803;g24bb22cb5cf_0_317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4" name="Google Shape;804;g24bb22cb5cf_0_317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4318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Top Management Team">
  <p:cSld name="V2 Namirial Top Management Team"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4" name="Google Shape;534;p2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17196" y="2876459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535" name="Google Shape;535;p2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789929" y="4774050"/>
            <a:ext cx="1031190" cy="1031190"/>
          </a:xfrm>
          <a:prstGeom prst="ellipse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36" name="Google Shape;536;p23"/>
          <p:cNvSpPr txBox="1"/>
          <p:nvPr/>
        </p:nvSpPr>
        <p:spPr>
          <a:xfrm>
            <a:off x="6689504" y="5845345"/>
            <a:ext cx="125934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örg Lenz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Marketing &amp; Communication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37" name="Google Shape;537;p2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17196" y="4726228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38" name="Google Shape;538;p23"/>
          <p:cNvSpPr txBox="1"/>
          <p:nvPr/>
        </p:nvSpPr>
        <p:spPr>
          <a:xfrm>
            <a:off x="347261" y="5855978"/>
            <a:ext cx="15596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rian Dinculescu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Namirial Romania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39" name="Google Shape;539;p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148416" y="4704389"/>
            <a:ext cx="1041637" cy="1041637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40" name="Google Shape;540;p23"/>
          <p:cNvSpPr txBox="1"/>
          <p:nvPr/>
        </p:nvSpPr>
        <p:spPr>
          <a:xfrm>
            <a:off x="1995575" y="5855978"/>
            <a:ext cx="134731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Klaus Fellner</a:t>
            </a:r>
            <a:endParaRPr sz="1000" b="1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irial Austria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41" name="Google Shape;541;p2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700004" y="2876459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42" name="Google Shape;542;p23"/>
          <p:cNvSpPr txBox="1"/>
          <p:nvPr/>
        </p:nvSpPr>
        <p:spPr>
          <a:xfrm>
            <a:off x="3373041" y="3975825"/>
            <a:ext cx="167372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uigi-Enrico Tomasini</a:t>
            </a:r>
            <a:endParaRPr sz="1000" b="1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irector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ustomer Success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43" name="Google Shape;543;p2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242652" y="2876459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44" name="Google Shape;544;p23"/>
          <p:cNvSpPr txBox="1"/>
          <p:nvPr/>
        </p:nvSpPr>
        <p:spPr>
          <a:xfrm>
            <a:off x="4992576" y="3975825"/>
            <a:ext cx="1519951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uca Romagnoli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ales Director Accounts &amp; Partners Italy  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45" name="Google Shape;545;p2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243072" y="4786282"/>
            <a:ext cx="1018958" cy="101895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46" name="Google Shape;546;p23"/>
          <p:cNvSpPr txBox="1"/>
          <p:nvPr/>
        </p:nvSpPr>
        <p:spPr>
          <a:xfrm>
            <a:off x="5000487" y="5870152"/>
            <a:ext cx="1504128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ristoph Bimminger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Product Management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7" name="Google Shape;547;p23"/>
          <p:cNvSpPr txBox="1"/>
          <p:nvPr/>
        </p:nvSpPr>
        <p:spPr>
          <a:xfrm>
            <a:off x="364239" y="3971204"/>
            <a:ext cx="152571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ntonio Taurisano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International Markets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48" name="Google Shape;548;p23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2140457" y="2852603"/>
            <a:ext cx="1057555" cy="1063121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49" name="Google Shape;549;p23"/>
          <p:cNvSpPr txBox="1"/>
          <p:nvPr/>
        </p:nvSpPr>
        <p:spPr>
          <a:xfrm>
            <a:off x="1903503" y="3975825"/>
            <a:ext cx="153146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Ruda </a:t>
            </a:r>
            <a:b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irector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-Commerce</a:t>
            </a: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50" name="Google Shape;550;p23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3700004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51" name="Google Shape;551;p23"/>
          <p:cNvSpPr txBox="1"/>
          <p:nvPr/>
        </p:nvSpPr>
        <p:spPr>
          <a:xfrm>
            <a:off x="3449119" y="2121436"/>
            <a:ext cx="15215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oldea Bora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Human Ressources Officer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52" name="Google Shape;552;p23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5242652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53" name="Google Shape;553;p23"/>
          <p:cNvSpPr txBox="1"/>
          <p:nvPr/>
        </p:nvSpPr>
        <p:spPr>
          <a:xfrm>
            <a:off x="4919267" y="2121436"/>
            <a:ext cx="16665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Coletto</a:t>
            </a:r>
            <a:endParaRPr sz="1000" b="1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Technology Officer</a:t>
            </a: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54" name="Google Shape;554;p23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617195" y="1001334"/>
            <a:ext cx="1019800" cy="1019800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55" name="Google Shape;555;p23"/>
          <p:cNvSpPr txBox="1"/>
          <p:nvPr/>
        </p:nvSpPr>
        <p:spPr>
          <a:xfrm>
            <a:off x="433589" y="2121436"/>
            <a:ext cx="13870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x Pellegrini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xecutive Officer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56" name="Google Shape;556;p23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159335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57" name="Google Shape;557;p23"/>
          <p:cNvSpPr txBox="1"/>
          <p:nvPr/>
        </p:nvSpPr>
        <p:spPr>
          <a:xfrm>
            <a:off x="1973115" y="2121436"/>
            <a:ext cx="13922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Roberto Negro </a:t>
            </a:r>
            <a:b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Financial Officer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58" name="Google Shape;558;p23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10770202" y="996570"/>
            <a:ext cx="1018367" cy="1018367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59" name="Google Shape;559;p23"/>
          <p:cNvSpPr txBox="1"/>
          <p:nvPr/>
        </p:nvSpPr>
        <p:spPr>
          <a:xfrm>
            <a:off x="10583267" y="2124585"/>
            <a:ext cx="13922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iancarlo Beraudo</a:t>
            </a:r>
            <a:b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artner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mbienta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60" name="Google Shape;560;p23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9376511" y="995138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61" name="Google Shape;561;p23"/>
          <p:cNvSpPr txBox="1"/>
          <p:nvPr/>
        </p:nvSpPr>
        <p:spPr>
          <a:xfrm>
            <a:off x="9205463" y="2088097"/>
            <a:ext cx="1381774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arlo Salizzoni</a:t>
            </a:r>
            <a:endParaRPr sz="1000" b="1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visor Strategy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+ M&amp;A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62" name="Google Shape;562;p23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6766479" y="1001333"/>
            <a:ext cx="1019799" cy="101979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63" name="Google Shape;563;p23"/>
          <p:cNvSpPr txBox="1"/>
          <p:nvPr/>
        </p:nvSpPr>
        <p:spPr>
          <a:xfrm>
            <a:off x="6443094" y="2121436"/>
            <a:ext cx="16665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nrico Giacomelli</a:t>
            </a:r>
            <a:endParaRPr sz="1000" b="1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ief Business Development Officer</a:t>
            </a: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64" name="Google Shape;564;p23"/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8185665" y="2876460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65" name="Google Shape;565;p23"/>
          <p:cNvSpPr txBox="1"/>
          <p:nvPr/>
        </p:nvSpPr>
        <p:spPr>
          <a:xfrm>
            <a:off x="7861468" y="3975825"/>
            <a:ext cx="167372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Cecucci</a:t>
            </a: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ministration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66" name="Google Shape;566;p23"/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6766479" y="2876459"/>
            <a:ext cx="1019798" cy="1019798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67" name="Google Shape;567;p23"/>
          <p:cNvSpPr txBox="1"/>
          <p:nvPr/>
        </p:nvSpPr>
        <p:spPr>
          <a:xfrm>
            <a:off x="6510647" y="3975825"/>
            <a:ext cx="1531463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Enrico Checchin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ales Director Product Partners Italy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68" name="Google Shape;568;p23"/>
          <p:cNvPicPr preferRelativeResize="0"/>
          <p:nvPr/>
        </p:nvPicPr>
        <p:blipFill>
          <a:blip r:embed="rId19">
            <a:alphaModFix/>
          </a:blip>
          <a:stretch>
            <a:fillRect/>
          </a:stretch>
        </p:blipFill>
        <p:spPr>
          <a:xfrm>
            <a:off x="3718696" y="4789599"/>
            <a:ext cx="982414" cy="996349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69" name="Google Shape;569;p23"/>
          <p:cNvSpPr txBox="1"/>
          <p:nvPr/>
        </p:nvSpPr>
        <p:spPr>
          <a:xfrm>
            <a:off x="3564521" y="5860894"/>
            <a:ext cx="129076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ianluca Donnini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naging Director Namirial Brazil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0" name="Google Shape;570;p23"/>
          <p:cNvSpPr/>
          <p:nvPr/>
        </p:nvSpPr>
        <p:spPr>
          <a:xfrm>
            <a:off x="9782894" y="5277868"/>
            <a:ext cx="360000" cy="360000"/>
          </a:xfrm>
          <a:prstGeom prst="ellipse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1" name="Google Shape;571;p23"/>
          <p:cNvSpPr txBox="1"/>
          <p:nvPr/>
        </p:nvSpPr>
        <p:spPr>
          <a:xfrm>
            <a:off x="10191647" y="5279058"/>
            <a:ext cx="16737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Joined in 2020/21 - post acquisition by Ambienta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2" name="Google Shape;572;p23"/>
          <p:cNvSpPr/>
          <p:nvPr/>
        </p:nvSpPr>
        <p:spPr>
          <a:xfrm>
            <a:off x="9794618" y="5793681"/>
            <a:ext cx="360000" cy="360000"/>
          </a:xfrm>
          <a:prstGeom prst="ellipse">
            <a:avLst/>
          </a:prstGeom>
          <a:noFill/>
          <a:ln w="50800" cap="flat" cmpd="sng">
            <a:solidFill>
              <a:schemeClr val="accen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73" name="Google Shape;573;p23"/>
          <p:cNvSpPr txBox="1"/>
          <p:nvPr/>
        </p:nvSpPr>
        <p:spPr>
          <a:xfrm>
            <a:off x="10224137" y="5850066"/>
            <a:ext cx="167372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In today’s call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74" name="Google Shape;574;p23" descr="Podcast mit einfarbiger Füllung"/>
          <p:cNvPicPr preferRelativeResize="0"/>
          <p:nvPr/>
        </p:nvPicPr>
        <p:blipFill>
          <a:blip r:embed="rId20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9788" y="5828856"/>
            <a:ext cx="293193" cy="293193"/>
          </a:xfrm>
          <a:prstGeom prst="rect">
            <a:avLst/>
          </a:prstGeom>
          <a:noFill/>
          <a:ln>
            <a:noFill/>
          </a:ln>
        </p:spPr>
      </p:pic>
      <p:sp>
        <p:nvSpPr>
          <p:cNvPr id="575" name="Google Shape;575;p23"/>
          <p:cNvSpPr txBox="1"/>
          <p:nvPr/>
        </p:nvSpPr>
        <p:spPr>
          <a:xfrm>
            <a:off x="9846901" y="517122"/>
            <a:ext cx="167372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#insieme </a:t>
            </a:r>
            <a:endParaRPr sz="2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76" name="Google Shape;576;p23" descr="Podcast mit einfarbiger Füllung"/>
          <p:cNvPicPr preferRelativeResize="0"/>
          <p:nvPr/>
        </p:nvPicPr>
        <p:blipFill>
          <a:blip r:embed="rId20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2546" y="5814523"/>
            <a:ext cx="339158" cy="339158"/>
          </a:xfrm>
          <a:prstGeom prst="rect">
            <a:avLst/>
          </a:prstGeom>
          <a:noFill/>
          <a:ln>
            <a:noFill/>
          </a:ln>
        </p:spPr>
      </p:pic>
      <p:sp>
        <p:nvSpPr>
          <p:cNvPr id="577" name="Google Shape;577;p23"/>
          <p:cNvSpPr txBox="1"/>
          <p:nvPr/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800" b="1" i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Namirial Top Management Team </a:t>
            </a:r>
            <a:endParaRPr sz="2800" b="1" i="0">
              <a:solidFill>
                <a:schemeClr val="dk1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78386973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e contenuti" type="twoObj">
  <p:cSld name="Due contenuti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g24bb22cb5cf_0_318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7" name="Google Shape;807;g24bb22cb5cf_0_318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⬥"/>
              <a:defRPr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808" name="Google Shape;808;g24bb22cb5cf_0_3184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⬥"/>
              <a:defRPr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809" name="Google Shape;809;g24bb22cb5cf_0_318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0" name="Google Shape;810;g24bb22cb5cf_0_318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1" name="Google Shape;811;g24bb22cb5cf_0_318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364547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boxes with icons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Segnaposto testo 2">
            <a:extLst>
              <a:ext uri="{FF2B5EF4-FFF2-40B4-BE49-F238E27FC236}">
                <a16:creationId xmlns:a16="http://schemas.microsoft.com/office/drawing/2014/main" id="{EF0927B0-1532-4B33-B611-485B9EAC10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055" y="3566478"/>
            <a:ext cx="4228494" cy="7481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None/>
              <a:defRPr lang="it-IT" sz="2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ts val="2500"/>
              </a:lnSpc>
            </a:pPr>
            <a:r>
              <a:rPr lang="it-IT" sz="2800" b="1"/>
              <a:t>Class </a:t>
            </a:r>
            <a:r>
              <a:rPr lang="it-IT" sz="2800" b="1" err="1"/>
              <a:t>aptent</a:t>
            </a:r>
            <a:r>
              <a:rPr lang="it-IT" sz="2800" b="1"/>
              <a:t> </a:t>
            </a:r>
            <a:r>
              <a:rPr lang="it-IT" sz="2800"/>
              <a:t>taciti </a:t>
            </a:r>
            <a:r>
              <a:rPr lang="it-IT" sz="2800" err="1"/>
              <a:t>sociosqu</a:t>
            </a:r>
            <a:r>
              <a:rPr lang="it-IT" sz="2800"/>
              <a:t> ad </a:t>
            </a:r>
            <a:r>
              <a:rPr lang="it-IT" sz="2800" err="1"/>
              <a:t>litora</a:t>
            </a:r>
            <a:r>
              <a:rPr lang="it-IT" sz="2800"/>
              <a:t> </a:t>
            </a:r>
            <a:r>
              <a:rPr lang="it-IT" sz="2800" b="1" err="1"/>
              <a:t>torquent</a:t>
            </a:r>
            <a:endParaRPr lang="en-US" sz="2800" b="1"/>
          </a:p>
        </p:txBody>
      </p:sp>
      <p:sp>
        <p:nvSpPr>
          <p:cNvPr id="103" name="Segnaposto testo 2">
            <a:extLst>
              <a:ext uri="{FF2B5EF4-FFF2-40B4-BE49-F238E27FC236}">
                <a16:creationId xmlns:a16="http://schemas.microsoft.com/office/drawing/2014/main" id="{222D61E2-9E76-4C3A-9B43-441139A9ED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238" y="4382223"/>
            <a:ext cx="4071884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it-IT" sz="1400" b="0" i="0" kern="1200" dirty="0" smtClean="0">
                <a:solidFill>
                  <a:srgbClr val="000000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semper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,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ut. In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 porta </a:t>
            </a:r>
            <a:r>
              <a:rPr lang="it-IT" err="1"/>
              <a:t>vehicula</a:t>
            </a:r>
            <a:r>
              <a:rPr lang="it-IT"/>
              <a:t>. Sed porta ante urna, ut </a:t>
            </a:r>
            <a:r>
              <a:rPr lang="it-IT" err="1"/>
              <a:t>aliquam</a:t>
            </a:r>
            <a:r>
              <a:rPr lang="it-IT"/>
              <a:t> urna </a:t>
            </a:r>
            <a:r>
              <a:rPr lang="it-IT" err="1"/>
              <a:t>varius</a:t>
            </a:r>
            <a:r>
              <a:rPr lang="it-IT"/>
              <a:t> et. </a:t>
            </a:r>
            <a:r>
              <a:rPr lang="it-IT" err="1"/>
              <a:t>Fusce</a:t>
            </a:r>
            <a:r>
              <a:rPr lang="it-IT"/>
              <a:t> </a:t>
            </a:r>
            <a:r>
              <a:rPr lang="it-IT" err="1"/>
              <a:t>bibendum</a:t>
            </a:r>
            <a:r>
              <a:rPr lang="it-IT"/>
              <a:t> </a:t>
            </a:r>
            <a:r>
              <a:rPr lang="it-IT" err="1"/>
              <a:t>scelerisque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, et </a:t>
            </a:r>
            <a:r>
              <a:rPr lang="it-IT" err="1"/>
              <a:t>sagittis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imperdiet</a:t>
            </a:r>
            <a:r>
              <a:rPr lang="it-IT"/>
              <a:t> a.</a:t>
            </a:r>
          </a:p>
        </p:txBody>
      </p:sp>
      <p:sp>
        <p:nvSpPr>
          <p:cNvPr id="32" name="Sottotitolo 2">
            <a:extLst>
              <a:ext uri="{FF2B5EF4-FFF2-40B4-BE49-F238E27FC236}">
                <a16:creationId xmlns:a16="http://schemas.microsoft.com/office/drawing/2014/main" id="{B8CE0DEB-BCDD-4685-9BF5-ED31932E96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767" y="566276"/>
            <a:ext cx="11563029" cy="381417"/>
          </a:xfrm>
          <a:prstGeom prst="rect">
            <a:avLst/>
          </a:prstGeom>
        </p:spPr>
        <p:txBody>
          <a:bodyPr anchor="ctr"/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it-IT" sz="18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defRPr>
            </a:lvl1pPr>
            <a:lvl2pPr marL="457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Pellentesque</a:t>
            </a:r>
            <a:r>
              <a:rPr lang="it-IT"/>
              <a:t> </a:t>
            </a:r>
            <a:r>
              <a:rPr lang="it-IT" err="1"/>
              <a:t>sodales</a:t>
            </a:r>
            <a:r>
              <a:rPr lang="it-IT"/>
              <a:t> urna </a:t>
            </a:r>
            <a:r>
              <a:rPr lang="it-IT" err="1"/>
              <a:t>efficitur</a:t>
            </a:r>
            <a:r>
              <a:rPr lang="it-IT"/>
              <a:t>, pulvinar </a:t>
            </a:r>
            <a:r>
              <a:rPr lang="it-IT" err="1"/>
              <a:t>erat</a:t>
            </a:r>
            <a:r>
              <a:rPr lang="it-IT"/>
              <a:t> a, </a:t>
            </a:r>
            <a:r>
              <a:rPr lang="it-IT" err="1"/>
              <a:t>accumsan</a:t>
            </a:r>
            <a:r>
              <a:rPr lang="it-IT"/>
              <a:t> </a:t>
            </a:r>
            <a:r>
              <a:rPr lang="it-IT" err="1"/>
              <a:t>lorem</a:t>
            </a:r>
            <a:endParaRPr lang="it-IT"/>
          </a:p>
        </p:txBody>
      </p:sp>
      <p:sp>
        <p:nvSpPr>
          <p:cNvPr id="33" name="Titolo 3">
            <a:extLst>
              <a:ext uri="{FF2B5EF4-FFF2-40B4-BE49-F238E27FC236}">
                <a16:creationId xmlns:a16="http://schemas.microsoft.com/office/drawing/2014/main" id="{00CA02BD-EBC3-4D07-A353-D5869C4A77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765" y="236861"/>
            <a:ext cx="11563029" cy="35799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/>
              <a:t>Title </a:t>
            </a:r>
            <a:r>
              <a:rPr lang="it-IT" err="1"/>
              <a:t>aptent</a:t>
            </a:r>
            <a:r>
              <a:rPr lang="it-IT"/>
              <a:t> taciti </a:t>
            </a:r>
            <a:r>
              <a:rPr lang="it-IT" err="1"/>
              <a:t>sociosqu</a:t>
            </a:r>
            <a:r>
              <a:rPr lang="it-IT"/>
              <a:t> ad </a:t>
            </a:r>
            <a:r>
              <a:rPr lang="it-IT" err="1"/>
              <a:t>litora</a:t>
            </a:r>
            <a:r>
              <a:rPr lang="it-IT"/>
              <a:t> </a:t>
            </a:r>
            <a:r>
              <a:rPr lang="it-IT" err="1"/>
              <a:t>torquent</a:t>
            </a:r>
            <a:r>
              <a:rPr lang="it-IT"/>
              <a:t> per </a:t>
            </a:r>
            <a:r>
              <a:rPr lang="it-IT" err="1"/>
              <a:t>conubia</a:t>
            </a:r>
            <a:r>
              <a:rPr lang="it-IT"/>
              <a:t> </a:t>
            </a:r>
          </a:p>
        </p:txBody>
      </p:sp>
      <p:sp>
        <p:nvSpPr>
          <p:cNvPr id="6" name="Rectangle 109">
            <a:extLst>
              <a:ext uri="{FF2B5EF4-FFF2-40B4-BE49-F238E27FC236}">
                <a16:creationId xmlns:a16="http://schemas.microsoft.com/office/drawing/2014/main" id="{C982B87F-DAC4-433A-A956-9FFDBE3115A9}"/>
              </a:ext>
            </a:extLst>
          </p:cNvPr>
          <p:cNvSpPr/>
          <p:nvPr userDrawn="1"/>
        </p:nvSpPr>
        <p:spPr>
          <a:xfrm rot="5400000" flipV="1">
            <a:off x="-54143" y="301858"/>
            <a:ext cx="295276" cy="18699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egnaposto numero diapositiva 6">
            <a:extLst>
              <a:ext uri="{FF2B5EF4-FFF2-40B4-BE49-F238E27FC236}">
                <a16:creationId xmlns:a16="http://schemas.microsoft.com/office/drawing/2014/main" id="{FF1D229C-649A-4307-B975-8A94EB5D9192}"/>
              </a:ext>
            </a:extLst>
          </p:cNvPr>
          <p:cNvSpPr txBox="1">
            <a:spLocks/>
          </p:cNvSpPr>
          <p:nvPr userDrawn="1"/>
        </p:nvSpPr>
        <p:spPr>
          <a:xfrm>
            <a:off x="11442700" y="6485095"/>
            <a:ext cx="546787" cy="226714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B162DD-4931-43D0-A7E2-3A4C27FE4117}" type="slidenum">
              <a:rPr kumimoji="0" lang="it-IT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Segnaposto testo 2">
            <a:extLst>
              <a:ext uri="{FF2B5EF4-FFF2-40B4-BE49-F238E27FC236}">
                <a16:creationId xmlns:a16="http://schemas.microsoft.com/office/drawing/2014/main" id="{C3D22A2B-D3AE-43F8-B550-4ED2FB60F6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56513" y="1224247"/>
            <a:ext cx="268683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it-IT" sz="1800" b="1" kern="1200" dirty="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Class </a:t>
            </a:r>
            <a:r>
              <a:rPr lang="it-IT" err="1"/>
              <a:t>aptent</a:t>
            </a:r>
            <a:r>
              <a:rPr lang="it-IT"/>
              <a:t> taciti</a:t>
            </a:r>
          </a:p>
        </p:txBody>
      </p:sp>
      <p:sp>
        <p:nvSpPr>
          <p:cNvPr id="95" name="Segnaposto testo 2">
            <a:extLst>
              <a:ext uri="{FF2B5EF4-FFF2-40B4-BE49-F238E27FC236}">
                <a16:creationId xmlns:a16="http://schemas.microsoft.com/office/drawing/2014/main" id="{6B878AE4-81F3-4B61-878F-E7FE9107D3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56513" y="1598342"/>
            <a:ext cx="2673166" cy="138499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it-IT" sz="1200" b="0" i="0" kern="1200" dirty="0" smtClean="0">
                <a:solidFill>
                  <a:srgbClr val="000000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semper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,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ut. In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 porta </a:t>
            </a:r>
            <a:r>
              <a:rPr lang="it-IT" err="1"/>
              <a:t>vehicula</a:t>
            </a:r>
            <a:r>
              <a:rPr lang="it-IT"/>
              <a:t>. Sed porta ante urna, ut </a:t>
            </a:r>
            <a:r>
              <a:rPr lang="it-IT" err="1"/>
              <a:t>aliquam</a:t>
            </a:r>
            <a:r>
              <a:rPr lang="it-IT"/>
              <a:t> urna </a:t>
            </a:r>
            <a:r>
              <a:rPr lang="it-IT" err="1"/>
              <a:t>varius</a:t>
            </a:r>
            <a:r>
              <a:rPr lang="it-IT"/>
              <a:t> et. </a:t>
            </a:r>
            <a:r>
              <a:rPr lang="it-IT" err="1"/>
              <a:t>Fusce</a:t>
            </a:r>
            <a:r>
              <a:rPr lang="it-IT"/>
              <a:t> </a:t>
            </a:r>
            <a:r>
              <a:rPr lang="it-IT" err="1"/>
              <a:t>bibendum</a:t>
            </a:r>
            <a:r>
              <a:rPr lang="it-IT"/>
              <a:t> </a:t>
            </a:r>
            <a:r>
              <a:rPr lang="it-IT" err="1"/>
              <a:t>scelerisque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, et </a:t>
            </a:r>
            <a:r>
              <a:rPr lang="it-IT" err="1"/>
              <a:t>sagittis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imperdiet</a:t>
            </a:r>
            <a:r>
              <a:rPr lang="it-IT"/>
              <a:t> a.</a:t>
            </a:r>
          </a:p>
        </p:txBody>
      </p:sp>
      <p:sp>
        <p:nvSpPr>
          <p:cNvPr id="96" name="Segnaposto testo 2">
            <a:extLst>
              <a:ext uri="{FF2B5EF4-FFF2-40B4-BE49-F238E27FC236}">
                <a16:creationId xmlns:a16="http://schemas.microsoft.com/office/drawing/2014/main" id="{73FF146E-E518-4047-B40D-3EFF1565C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76038" y="1224247"/>
            <a:ext cx="268683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it-IT" sz="1800" b="1" kern="1200" dirty="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Class </a:t>
            </a:r>
            <a:r>
              <a:rPr lang="it-IT" err="1"/>
              <a:t>aptent</a:t>
            </a:r>
            <a:r>
              <a:rPr lang="it-IT"/>
              <a:t> taciti</a:t>
            </a:r>
          </a:p>
        </p:txBody>
      </p:sp>
      <p:sp>
        <p:nvSpPr>
          <p:cNvPr id="97" name="Segnaposto testo 2">
            <a:extLst>
              <a:ext uri="{FF2B5EF4-FFF2-40B4-BE49-F238E27FC236}">
                <a16:creationId xmlns:a16="http://schemas.microsoft.com/office/drawing/2014/main" id="{094DDE61-7875-484A-8206-7CCF998E3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38" y="1598342"/>
            <a:ext cx="2673166" cy="138499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it-IT" sz="1200" b="0" i="0" kern="1200" dirty="0" smtClean="0">
                <a:solidFill>
                  <a:srgbClr val="000000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semper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,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ut. In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 porta </a:t>
            </a:r>
            <a:r>
              <a:rPr lang="it-IT" err="1"/>
              <a:t>vehicula</a:t>
            </a:r>
            <a:r>
              <a:rPr lang="it-IT"/>
              <a:t>. Sed porta ante urna, ut </a:t>
            </a:r>
            <a:r>
              <a:rPr lang="it-IT" err="1"/>
              <a:t>aliquam</a:t>
            </a:r>
            <a:r>
              <a:rPr lang="it-IT"/>
              <a:t> urna </a:t>
            </a:r>
            <a:r>
              <a:rPr lang="it-IT" err="1"/>
              <a:t>varius</a:t>
            </a:r>
            <a:r>
              <a:rPr lang="it-IT"/>
              <a:t> et. </a:t>
            </a:r>
            <a:r>
              <a:rPr lang="it-IT" err="1"/>
              <a:t>Fusce</a:t>
            </a:r>
            <a:r>
              <a:rPr lang="it-IT"/>
              <a:t> </a:t>
            </a:r>
            <a:r>
              <a:rPr lang="it-IT" err="1"/>
              <a:t>bibendum</a:t>
            </a:r>
            <a:r>
              <a:rPr lang="it-IT"/>
              <a:t> </a:t>
            </a:r>
            <a:r>
              <a:rPr lang="it-IT" err="1"/>
              <a:t>scelerisque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, et </a:t>
            </a:r>
            <a:r>
              <a:rPr lang="it-IT" err="1"/>
              <a:t>sagittis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imperdiet</a:t>
            </a:r>
            <a:r>
              <a:rPr lang="it-IT"/>
              <a:t> a.</a:t>
            </a:r>
          </a:p>
        </p:txBody>
      </p:sp>
      <p:sp>
        <p:nvSpPr>
          <p:cNvPr id="98" name="Segnaposto testo 2">
            <a:extLst>
              <a:ext uri="{FF2B5EF4-FFF2-40B4-BE49-F238E27FC236}">
                <a16:creationId xmlns:a16="http://schemas.microsoft.com/office/drawing/2014/main" id="{2851A6BA-4E56-46F4-85AF-7610C1E2BF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95563" y="1224247"/>
            <a:ext cx="268683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it-IT" sz="1800" b="1" kern="1200" dirty="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Class </a:t>
            </a:r>
            <a:r>
              <a:rPr lang="it-IT" err="1"/>
              <a:t>aptent</a:t>
            </a:r>
            <a:r>
              <a:rPr lang="it-IT"/>
              <a:t> taciti</a:t>
            </a:r>
          </a:p>
        </p:txBody>
      </p:sp>
      <p:sp>
        <p:nvSpPr>
          <p:cNvPr id="116" name="Segnaposto testo 2">
            <a:extLst>
              <a:ext uri="{FF2B5EF4-FFF2-40B4-BE49-F238E27FC236}">
                <a16:creationId xmlns:a16="http://schemas.microsoft.com/office/drawing/2014/main" id="{49BE61D3-ACA4-426A-B72C-4DBC504929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9046" y="1216471"/>
            <a:ext cx="933246" cy="5003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it-IT" sz="1400" b="0" i="0" kern="1200" dirty="0" smtClean="0">
                <a:solidFill>
                  <a:schemeClr val="tx1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/>
              <a:t>Ins. </a:t>
            </a:r>
            <a:r>
              <a:rPr lang="it-IT" err="1"/>
              <a:t>Icon</a:t>
            </a:r>
            <a:r>
              <a:rPr lang="it-IT"/>
              <a:t> </a:t>
            </a:r>
          </a:p>
        </p:txBody>
      </p:sp>
      <p:sp>
        <p:nvSpPr>
          <p:cNvPr id="117" name="Segnaposto testo 2">
            <a:extLst>
              <a:ext uri="{FF2B5EF4-FFF2-40B4-BE49-F238E27FC236}">
                <a16:creationId xmlns:a16="http://schemas.microsoft.com/office/drawing/2014/main" id="{4B1EE1B8-9586-484E-A8A7-5F57ED323ED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00186" y="1216471"/>
            <a:ext cx="933246" cy="5003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it-IT" sz="1400" b="0" i="0" kern="1200" dirty="0" smtClean="0">
                <a:solidFill>
                  <a:schemeClr val="tx1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/>
              <a:t>Ins. </a:t>
            </a:r>
            <a:r>
              <a:rPr lang="it-IT" err="1"/>
              <a:t>Icon</a:t>
            </a:r>
            <a:r>
              <a:rPr lang="it-IT"/>
              <a:t> </a:t>
            </a:r>
          </a:p>
        </p:txBody>
      </p:sp>
      <p:sp>
        <p:nvSpPr>
          <p:cNvPr id="118" name="Segnaposto testo 2">
            <a:extLst>
              <a:ext uri="{FF2B5EF4-FFF2-40B4-BE49-F238E27FC236}">
                <a16:creationId xmlns:a16="http://schemas.microsoft.com/office/drawing/2014/main" id="{56D49A41-01F9-4F3A-967D-6DDF58F47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95353" y="1216471"/>
            <a:ext cx="933246" cy="5003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it-IT" sz="1400" b="0" i="0" kern="1200" dirty="0" smtClean="0">
                <a:solidFill>
                  <a:schemeClr val="tx1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/>
              <a:t>Ins. </a:t>
            </a:r>
            <a:r>
              <a:rPr lang="it-IT" err="1"/>
              <a:t>icon</a:t>
            </a:r>
            <a:r>
              <a:rPr lang="it-IT"/>
              <a:t> </a:t>
            </a:r>
          </a:p>
        </p:txBody>
      </p:sp>
      <p:sp>
        <p:nvSpPr>
          <p:cNvPr id="119" name="Segnaposto testo 2">
            <a:extLst>
              <a:ext uri="{FF2B5EF4-FFF2-40B4-BE49-F238E27FC236}">
                <a16:creationId xmlns:a16="http://schemas.microsoft.com/office/drawing/2014/main" id="{E8F5766F-46D0-4B66-883F-8E24DFAEDA4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9953" y="4484034"/>
            <a:ext cx="1684045" cy="5003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it-IT" sz="1400" b="0" i="0" kern="1200" dirty="0" smtClean="0">
                <a:solidFill>
                  <a:schemeClr val="tx1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/>
              <a:t>Ins. Chart or </a:t>
            </a:r>
            <a:r>
              <a:rPr lang="it-IT" err="1"/>
              <a:t>img</a:t>
            </a:r>
            <a:endParaRPr lang="it-IT"/>
          </a:p>
        </p:txBody>
      </p:sp>
      <p:sp>
        <p:nvSpPr>
          <p:cNvPr id="99" name="Segnaposto testo 2">
            <a:extLst>
              <a:ext uri="{FF2B5EF4-FFF2-40B4-BE49-F238E27FC236}">
                <a16:creationId xmlns:a16="http://schemas.microsoft.com/office/drawing/2014/main" id="{598FDAAD-7605-4684-83D0-3DC0D821FF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95563" y="1598342"/>
            <a:ext cx="2673166" cy="138499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it-IT" sz="1200" b="0" i="0" kern="1200" dirty="0" smtClean="0">
                <a:solidFill>
                  <a:srgbClr val="000000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semper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,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dignissim</a:t>
            </a:r>
            <a:r>
              <a:rPr lang="it-IT"/>
              <a:t> ut. In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 porta </a:t>
            </a:r>
            <a:r>
              <a:rPr lang="it-IT" err="1"/>
              <a:t>vehicula</a:t>
            </a:r>
            <a:r>
              <a:rPr lang="it-IT"/>
              <a:t>. Sed porta ante urna, ut </a:t>
            </a:r>
            <a:r>
              <a:rPr lang="it-IT" err="1"/>
              <a:t>aliquam</a:t>
            </a:r>
            <a:r>
              <a:rPr lang="it-IT"/>
              <a:t> urna </a:t>
            </a:r>
            <a:r>
              <a:rPr lang="it-IT" err="1"/>
              <a:t>varius</a:t>
            </a:r>
            <a:r>
              <a:rPr lang="it-IT"/>
              <a:t> et. </a:t>
            </a:r>
            <a:r>
              <a:rPr lang="it-IT" err="1"/>
              <a:t>Fusce</a:t>
            </a:r>
            <a:r>
              <a:rPr lang="it-IT"/>
              <a:t> </a:t>
            </a:r>
            <a:r>
              <a:rPr lang="it-IT" err="1"/>
              <a:t>bibendum</a:t>
            </a:r>
            <a:r>
              <a:rPr lang="it-IT"/>
              <a:t> </a:t>
            </a:r>
            <a:r>
              <a:rPr lang="it-IT" err="1"/>
              <a:t>scelerisque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, et </a:t>
            </a:r>
            <a:r>
              <a:rPr lang="it-IT" err="1"/>
              <a:t>sagittis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imperdiet</a:t>
            </a:r>
            <a:r>
              <a:rPr lang="it-IT"/>
              <a:t> a.</a:t>
            </a:r>
          </a:p>
        </p:txBody>
      </p:sp>
      <p:sp>
        <p:nvSpPr>
          <p:cNvPr id="2" name="Rettangolo 22">
            <a:extLst>
              <a:ext uri="{FF2B5EF4-FFF2-40B4-BE49-F238E27FC236}">
                <a16:creationId xmlns:a16="http://schemas.microsoft.com/office/drawing/2014/main" id="{BF03CE26-44D3-6CF9-78F6-2E69F6670386}"/>
              </a:ext>
            </a:extLst>
          </p:cNvPr>
          <p:cNvSpPr/>
          <p:nvPr userDrawn="1"/>
        </p:nvSpPr>
        <p:spPr>
          <a:xfrm>
            <a:off x="9641151" y="6498029"/>
            <a:ext cx="19978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it-IT" altLang="it-IT" sz="100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right © UNIMATICA- </a:t>
            </a:r>
            <a:r>
              <a:rPr lang="en-AU" altLang="it-IT" sz="100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30439386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internal 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6EA736DB-0E6E-42CE-AD5B-2734DA8136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6" y="1"/>
            <a:ext cx="12188386" cy="685799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4FD3107-D71E-41A4-8577-5F46673B36B2}"/>
              </a:ext>
            </a:extLst>
          </p:cNvPr>
          <p:cNvSpPr/>
          <p:nvPr userDrawn="1"/>
        </p:nvSpPr>
        <p:spPr>
          <a:xfrm>
            <a:off x="452490" y="6362700"/>
            <a:ext cx="338085" cy="4571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olo 3">
            <a:extLst>
              <a:ext uri="{FF2B5EF4-FFF2-40B4-BE49-F238E27FC236}">
                <a16:creationId xmlns:a16="http://schemas.microsoft.com/office/drawing/2014/main" id="{BB06C7B5-748C-73D6-F92A-C3237CCD31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285" y="3472654"/>
            <a:ext cx="11563029" cy="454676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US" sz="3600" b="1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Standard internal slide title</a:t>
            </a:r>
          </a:p>
        </p:txBody>
      </p:sp>
      <p:sp>
        <p:nvSpPr>
          <p:cNvPr id="3" name="Rettangolo 22">
            <a:extLst>
              <a:ext uri="{FF2B5EF4-FFF2-40B4-BE49-F238E27FC236}">
                <a16:creationId xmlns:a16="http://schemas.microsoft.com/office/drawing/2014/main" id="{4F3828A4-360F-FF36-A220-DF5CACDF4855}"/>
              </a:ext>
            </a:extLst>
          </p:cNvPr>
          <p:cNvSpPr/>
          <p:nvPr userDrawn="1"/>
        </p:nvSpPr>
        <p:spPr>
          <a:xfrm>
            <a:off x="366765" y="6500812"/>
            <a:ext cx="27009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it-IT" altLang="it-IT" sz="1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pyright © UNIMATICA - Public</a:t>
            </a:r>
          </a:p>
        </p:txBody>
      </p:sp>
    </p:spTree>
    <p:extLst>
      <p:ext uri="{BB962C8B-B14F-4D97-AF65-F5344CB8AC3E}">
        <p14:creationId xmlns:p14="http://schemas.microsoft.com/office/powerpoint/2010/main" val="134727092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6">
            <a:extLst>
              <a:ext uri="{FF2B5EF4-FFF2-40B4-BE49-F238E27FC236}">
                <a16:creationId xmlns:a16="http://schemas.microsoft.com/office/drawing/2014/main" id="{9D0D107B-469F-4108-8954-2415C53D27E7}"/>
              </a:ext>
            </a:extLst>
          </p:cNvPr>
          <p:cNvSpPr txBox="1">
            <a:spLocks/>
          </p:cNvSpPr>
          <p:nvPr userDrawn="1"/>
        </p:nvSpPr>
        <p:spPr>
          <a:xfrm>
            <a:off x="11442700" y="6485095"/>
            <a:ext cx="546787" cy="226714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B162DD-4931-43D0-A7E2-3A4C27FE4117}" type="slidenum">
              <a:rPr kumimoji="0" lang="it-IT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itolo 3">
            <a:extLst>
              <a:ext uri="{FF2B5EF4-FFF2-40B4-BE49-F238E27FC236}">
                <a16:creationId xmlns:a16="http://schemas.microsoft.com/office/drawing/2014/main" id="{0E1FBCA0-AD73-4EB9-87DA-882A42C103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765" y="236861"/>
            <a:ext cx="11563029" cy="35799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US" sz="3000" b="1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/>
              <a:t>Title </a:t>
            </a:r>
            <a:r>
              <a:rPr lang="it-IT" err="1"/>
              <a:t>aptent</a:t>
            </a:r>
            <a:r>
              <a:rPr lang="it-IT"/>
              <a:t> taciti </a:t>
            </a:r>
            <a:r>
              <a:rPr lang="it-IT" err="1"/>
              <a:t>sociosqu</a:t>
            </a:r>
            <a:r>
              <a:rPr lang="it-IT"/>
              <a:t> ad </a:t>
            </a:r>
            <a:r>
              <a:rPr lang="it-IT" err="1"/>
              <a:t>litora</a:t>
            </a:r>
            <a:r>
              <a:rPr lang="it-IT"/>
              <a:t> </a:t>
            </a:r>
            <a:r>
              <a:rPr lang="it-IT" err="1"/>
              <a:t>torquent</a:t>
            </a:r>
            <a:r>
              <a:rPr lang="it-IT"/>
              <a:t> per </a:t>
            </a:r>
            <a:r>
              <a:rPr lang="it-IT" err="1"/>
              <a:t>conubia</a:t>
            </a:r>
            <a:r>
              <a:rPr lang="it-IT"/>
              <a:t> </a:t>
            </a:r>
          </a:p>
        </p:txBody>
      </p:sp>
      <p:sp>
        <p:nvSpPr>
          <p:cNvPr id="9" name="Rectangle 109">
            <a:extLst>
              <a:ext uri="{FF2B5EF4-FFF2-40B4-BE49-F238E27FC236}">
                <a16:creationId xmlns:a16="http://schemas.microsoft.com/office/drawing/2014/main" id="{4C364A83-31D4-4360-AB2A-82338BE2BEAE}"/>
              </a:ext>
            </a:extLst>
          </p:cNvPr>
          <p:cNvSpPr/>
          <p:nvPr userDrawn="1"/>
        </p:nvSpPr>
        <p:spPr>
          <a:xfrm rot="5400000" flipV="1">
            <a:off x="-54143" y="301858"/>
            <a:ext cx="295276" cy="18699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aphic 5">
            <a:extLst>
              <a:ext uri="{FF2B5EF4-FFF2-40B4-BE49-F238E27FC236}">
                <a16:creationId xmlns:a16="http://schemas.microsoft.com/office/drawing/2014/main" id="{0B60AA9C-6F7A-94A6-EA58-B2356BA982A0}"/>
              </a:ext>
            </a:extLst>
          </p:cNvPr>
          <p:cNvGrpSpPr/>
          <p:nvPr userDrawn="1"/>
        </p:nvGrpSpPr>
        <p:grpSpPr>
          <a:xfrm rot="14642342">
            <a:off x="-1628229" y="3719961"/>
            <a:ext cx="4177806" cy="4029544"/>
            <a:chOff x="-1628229" y="3719961"/>
            <a:chExt cx="4177806" cy="4029544"/>
          </a:xfrm>
        </p:grpSpPr>
        <p:sp>
          <p:nvSpPr>
            <p:cNvPr id="10" name="Figura a mano libera: forma 9">
              <a:extLst>
                <a:ext uri="{FF2B5EF4-FFF2-40B4-BE49-F238E27FC236}">
                  <a16:creationId xmlns:a16="http://schemas.microsoft.com/office/drawing/2014/main" id="{90D431AC-9941-CF5E-3B87-8DAB56CC4FF2}"/>
                </a:ext>
              </a:extLst>
            </p:cNvPr>
            <p:cNvSpPr/>
            <p:nvPr/>
          </p:nvSpPr>
          <p:spPr>
            <a:xfrm>
              <a:off x="-524423" y="6277328"/>
              <a:ext cx="1472176" cy="1472176"/>
            </a:xfrm>
            <a:custGeom>
              <a:avLst/>
              <a:gdLst>
                <a:gd name="connsiteX0" fmla="*/ 1472176 w 1472176"/>
                <a:gd name="connsiteY0" fmla="*/ 736088 h 1472176"/>
                <a:gd name="connsiteX1" fmla="*/ 736088 w 1472176"/>
                <a:gd name="connsiteY1" fmla="*/ 1472177 h 1472176"/>
                <a:gd name="connsiteX2" fmla="*/ 0 w 1472176"/>
                <a:gd name="connsiteY2" fmla="*/ 736088 h 1472176"/>
                <a:gd name="connsiteX3" fmla="*/ 736088 w 1472176"/>
                <a:gd name="connsiteY3" fmla="*/ 0 h 1472176"/>
                <a:gd name="connsiteX4" fmla="*/ 1472176 w 1472176"/>
                <a:gd name="connsiteY4" fmla="*/ 736088 h 1472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2176" h="1472176">
                  <a:moveTo>
                    <a:pt x="1472176" y="736088"/>
                  </a:moveTo>
                  <a:cubicBezTo>
                    <a:pt x="1472176" y="1142619"/>
                    <a:pt x="1142618" y="1472177"/>
                    <a:pt x="736088" y="1472177"/>
                  </a:cubicBezTo>
                  <a:cubicBezTo>
                    <a:pt x="329558" y="1472177"/>
                    <a:pt x="0" y="1142619"/>
                    <a:pt x="0" y="736088"/>
                  </a:cubicBezTo>
                  <a:cubicBezTo>
                    <a:pt x="0" y="329558"/>
                    <a:pt x="329558" y="0"/>
                    <a:pt x="736088" y="0"/>
                  </a:cubicBezTo>
                  <a:cubicBezTo>
                    <a:pt x="1142618" y="0"/>
                    <a:pt x="1472176" y="329558"/>
                    <a:pt x="1472176" y="736088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0"/>
                  </a:srgbClr>
                </a:gs>
                <a:gs pos="50000">
                  <a:srgbClr val="8AD5F1">
                    <a:alpha val="14000"/>
                  </a:srgbClr>
                </a:gs>
                <a:gs pos="100000">
                  <a:srgbClr val="15ACE4">
                    <a:alpha val="34000"/>
                  </a:srgbClr>
                </a:gs>
              </a:gsLst>
              <a:lin ang="1435202" scaled="1"/>
            </a:gradFill>
            <a:ln w="325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1" name="Figura a mano libera: forma 10">
              <a:extLst>
                <a:ext uri="{FF2B5EF4-FFF2-40B4-BE49-F238E27FC236}">
                  <a16:creationId xmlns:a16="http://schemas.microsoft.com/office/drawing/2014/main" id="{374373DD-FAC0-E358-40EE-47C982C5EF47}"/>
                </a:ext>
              </a:extLst>
            </p:cNvPr>
            <p:cNvSpPr/>
            <p:nvPr/>
          </p:nvSpPr>
          <p:spPr>
            <a:xfrm>
              <a:off x="-755961" y="3719961"/>
              <a:ext cx="3305538" cy="3305539"/>
            </a:xfrm>
            <a:custGeom>
              <a:avLst/>
              <a:gdLst>
                <a:gd name="connsiteX0" fmla="*/ 3305539 w 3305538"/>
                <a:gd name="connsiteY0" fmla="*/ 1652770 h 3305539"/>
                <a:gd name="connsiteX1" fmla="*/ 1652769 w 3305538"/>
                <a:gd name="connsiteY1" fmla="*/ 3305539 h 3305539"/>
                <a:gd name="connsiteX2" fmla="*/ 0 w 3305538"/>
                <a:gd name="connsiteY2" fmla="*/ 1652770 h 3305539"/>
                <a:gd name="connsiteX3" fmla="*/ 1652769 w 3305538"/>
                <a:gd name="connsiteY3" fmla="*/ 0 h 3305539"/>
                <a:gd name="connsiteX4" fmla="*/ 3305539 w 3305538"/>
                <a:gd name="connsiteY4" fmla="*/ 1652770 h 330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5538" h="3305539">
                  <a:moveTo>
                    <a:pt x="3305539" y="1652770"/>
                  </a:moveTo>
                  <a:cubicBezTo>
                    <a:pt x="3305539" y="2565569"/>
                    <a:pt x="2565569" y="3305539"/>
                    <a:pt x="1652769" y="3305539"/>
                  </a:cubicBezTo>
                  <a:cubicBezTo>
                    <a:pt x="739970" y="3305539"/>
                    <a:pt x="0" y="2565569"/>
                    <a:pt x="0" y="1652770"/>
                  </a:cubicBezTo>
                  <a:cubicBezTo>
                    <a:pt x="0" y="739970"/>
                    <a:pt x="739970" y="0"/>
                    <a:pt x="1652769" y="0"/>
                  </a:cubicBezTo>
                  <a:cubicBezTo>
                    <a:pt x="2565569" y="0"/>
                    <a:pt x="3305539" y="739970"/>
                    <a:pt x="3305539" y="165277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0"/>
                  </a:srgbClr>
                </a:gs>
                <a:gs pos="50000">
                  <a:srgbClr val="8AD5F1">
                    <a:alpha val="49804"/>
                  </a:srgbClr>
                </a:gs>
                <a:gs pos="100000">
                  <a:srgbClr val="15ACE4">
                    <a:alpha val="36000"/>
                  </a:srgbClr>
                </a:gs>
              </a:gsLst>
              <a:lin ang="7888199" scaled="1"/>
            </a:gradFill>
            <a:ln w="325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2" name="Figura a mano libera: forma 11">
              <a:extLst>
                <a:ext uri="{FF2B5EF4-FFF2-40B4-BE49-F238E27FC236}">
                  <a16:creationId xmlns:a16="http://schemas.microsoft.com/office/drawing/2014/main" id="{1FEABA7E-F617-6D89-BEA6-C038A5F36282}"/>
                </a:ext>
              </a:extLst>
            </p:cNvPr>
            <p:cNvSpPr/>
            <p:nvPr/>
          </p:nvSpPr>
          <p:spPr>
            <a:xfrm>
              <a:off x="-1628229" y="4010934"/>
              <a:ext cx="3031219" cy="3031220"/>
            </a:xfrm>
            <a:custGeom>
              <a:avLst/>
              <a:gdLst>
                <a:gd name="connsiteX0" fmla="*/ 3031220 w 3031219"/>
                <a:gd name="connsiteY0" fmla="*/ 1515610 h 3031220"/>
                <a:gd name="connsiteX1" fmla="*/ 1515610 w 3031219"/>
                <a:gd name="connsiteY1" fmla="*/ 3031221 h 3031220"/>
                <a:gd name="connsiteX2" fmla="*/ 0 w 3031219"/>
                <a:gd name="connsiteY2" fmla="*/ 1515610 h 3031220"/>
                <a:gd name="connsiteX3" fmla="*/ 1515610 w 3031219"/>
                <a:gd name="connsiteY3" fmla="*/ 0 h 3031220"/>
                <a:gd name="connsiteX4" fmla="*/ 3031220 w 3031219"/>
                <a:gd name="connsiteY4" fmla="*/ 1515610 h 303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1219" h="3031220">
                  <a:moveTo>
                    <a:pt x="3031220" y="1515610"/>
                  </a:moveTo>
                  <a:cubicBezTo>
                    <a:pt x="3031220" y="2352659"/>
                    <a:pt x="2352658" y="3031221"/>
                    <a:pt x="1515610" y="3031221"/>
                  </a:cubicBezTo>
                  <a:cubicBezTo>
                    <a:pt x="678562" y="3031221"/>
                    <a:pt x="0" y="2352659"/>
                    <a:pt x="0" y="1515610"/>
                  </a:cubicBezTo>
                  <a:cubicBezTo>
                    <a:pt x="0" y="678562"/>
                    <a:pt x="678562" y="0"/>
                    <a:pt x="1515610" y="0"/>
                  </a:cubicBezTo>
                  <a:cubicBezTo>
                    <a:pt x="2352658" y="0"/>
                    <a:pt x="3031220" y="678562"/>
                    <a:pt x="3031220" y="151561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0"/>
                  </a:srgbClr>
                </a:gs>
                <a:gs pos="50000">
                  <a:srgbClr val="8AD5F1">
                    <a:alpha val="58000"/>
                  </a:srgbClr>
                </a:gs>
                <a:gs pos="100000">
                  <a:srgbClr val="15ACE4">
                    <a:alpha val="61000"/>
                  </a:srgbClr>
                </a:gs>
              </a:gsLst>
              <a:lin ang="17708434" scaled="1"/>
            </a:gradFill>
            <a:ln w="325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sp>
        <p:nvSpPr>
          <p:cNvPr id="2" name="Rettangolo 22">
            <a:extLst>
              <a:ext uri="{FF2B5EF4-FFF2-40B4-BE49-F238E27FC236}">
                <a16:creationId xmlns:a16="http://schemas.microsoft.com/office/drawing/2014/main" id="{7A8C5524-7882-2E69-376E-8CC36415AF78}"/>
              </a:ext>
            </a:extLst>
          </p:cNvPr>
          <p:cNvSpPr/>
          <p:nvPr userDrawn="1"/>
        </p:nvSpPr>
        <p:spPr>
          <a:xfrm>
            <a:off x="9772023" y="6498029"/>
            <a:ext cx="18669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it-IT" altLang="it-IT" sz="100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right © UNIMATICA- Public</a:t>
            </a:r>
          </a:p>
        </p:txBody>
      </p:sp>
    </p:spTree>
    <p:extLst>
      <p:ext uri="{BB962C8B-B14F-4D97-AF65-F5344CB8AC3E}">
        <p14:creationId xmlns:p14="http://schemas.microsoft.com/office/powerpoint/2010/main" val="41329124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D06AA93-3BF4-32B6-452A-553788B80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4331784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3DA0E-2E0B-30D2-DE9C-5A6814402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6287D0-39A3-D354-237A-9EBEF01402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A69E1E-6BEE-76F8-E379-D8376DCD2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94944-B1B7-E44C-A720-2039A327C469}" type="datetimeFigureOut">
              <a:rPr lang="en-IT" smtClean="0"/>
              <a:t>4/27/26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6C32D8-8647-0DC8-2AE4-5735B600D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5531A-AAF3-EA5D-68FB-BDAD7C056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DF00E-8BD9-CF45-BD92-B7817D25BD05}" type="slidenum">
              <a:rPr lang="en-IT" smtClean="0"/>
              <a:t>‹#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27224063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Headline + Subline">
  <p:cSld name="V1 Headline + Subline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4" name="Google Shape;744;p119"/>
          <p:cNvSpPr txBox="1">
            <a:spLocks noGrp="1"/>
          </p:cNvSpPr>
          <p:nvPr>
            <p:ph type="ctrTitle"/>
          </p:nvPr>
        </p:nvSpPr>
        <p:spPr>
          <a:xfrm>
            <a:off x="1" y="2545621"/>
            <a:ext cx="12266022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5" name="Google Shape;745;p119"/>
          <p:cNvSpPr txBox="1">
            <a:spLocks noGrp="1"/>
          </p:cNvSpPr>
          <p:nvPr>
            <p:ph type="body" idx="1"/>
          </p:nvPr>
        </p:nvSpPr>
        <p:spPr>
          <a:xfrm>
            <a:off x="0" y="3245574"/>
            <a:ext cx="12192000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accent6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58554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Overview">
  <p:cSld name="V2 Overview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/>
          <p:nvPr/>
        </p:nvSpPr>
        <p:spPr>
          <a:xfrm>
            <a:off x="0" y="6388963"/>
            <a:ext cx="4051177" cy="469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27" name="Google Shape;27;p4"/>
          <p:cNvSpPr/>
          <p:nvPr/>
        </p:nvSpPr>
        <p:spPr>
          <a:xfrm>
            <a:off x="0" y="0"/>
            <a:ext cx="216912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" name="Google Shape;28;p4"/>
          <p:cNvSpPr/>
          <p:nvPr/>
        </p:nvSpPr>
        <p:spPr>
          <a:xfrm>
            <a:off x="1559705" y="759419"/>
            <a:ext cx="1432877" cy="1432877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dist="50800" dir="3480000" algn="ctr" rotWithShape="0">
              <a:schemeClr val="dk1">
                <a:alpha val="12941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1772798" y="879079"/>
            <a:ext cx="1015034" cy="1123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109725" rIns="68575" bIns="34275" anchor="t" anchorCtr="0">
            <a:noAutofit/>
          </a:bodyPr>
          <a:lstStyle>
            <a:lvl1pPr marL="457200" marR="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7920"/>
              <a:buFont typeface="Open Sans SemiBold"/>
              <a:buNone/>
              <a:defRPr sz="6600">
                <a:solidFill>
                  <a:schemeClr val="dk2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600"/>
              <a:buFont typeface="Open Sans SemiBold"/>
              <a:buAutoNum type="arabicPeriod"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600"/>
              <a:buFont typeface="Open Sans SemiBold"/>
              <a:buAutoNum type="arabicPeriod"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280"/>
              <a:buFont typeface="Open Sans SemiBold"/>
              <a:buNone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title"/>
          </p:nvPr>
        </p:nvSpPr>
        <p:spPr>
          <a:xfrm>
            <a:off x="3177131" y="1234521"/>
            <a:ext cx="7187487" cy="494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4"/>
          <p:cNvSpPr txBox="1">
            <a:spLocks noGrp="1"/>
          </p:cNvSpPr>
          <p:nvPr>
            <p:ph type="body" idx="2"/>
          </p:nvPr>
        </p:nvSpPr>
        <p:spPr>
          <a:xfrm>
            <a:off x="4183241" y="2279402"/>
            <a:ext cx="6111671" cy="2771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76200" lvl="0" indent="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55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2000"/>
              <a:buChar char="•"/>
              <a:defRPr sz="2000"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55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2000"/>
              <a:buChar char="o"/>
              <a:defRPr sz="2000"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2000"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048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00"/>
              <a:buChar char="⬥"/>
              <a:defRPr sz="2000"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  |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3" name="Google Shape;33;p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62181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hone" userDrawn="1">
  <p:cSld name="1_V2 Content and Phone"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Google Shape;645;p148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48" name="Google Shape;648;p148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7852693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49" name="Google Shape;649;p148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50" name="Google Shape;650;p148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Fare clic per modificare lo stile del titolo dello schem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54085115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48ABB81-75C7-AC18-8301-779BCD84FA43}"/>
              </a:ext>
            </a:extLst>
          </p:cNvPr>
          <p:cNvSpPr/>
          <p:nvPr userDrawn="1"/>
        </p:nvSpPr>
        <p:spPr>
          <a:xfrm>
            <a:off x="9857363" y="0"/>
            <a:ext cx="2334636" cy="21415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0DE3CB0-9CE1-2785-E2D5-09B8CDE9E0A4}"/>
              </a:ext>
            </a:extLst>
          </p:cNvPr>
          <p:cNvSpPr/>
          <p:nvPr userDrawn="1"/>
        </p:nvSpPr>
        <p:spPr>
          <a:xfrm>
            <a:off x="7497223" y="2141538"/>
            <a:ext cx="1288887" cy="12874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03471E76-1372-9EC9-0D5C-DB9E40C452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86110" y="2141538"/>
            <a:ext cx="3405890" cy="2574921"/>
          </a:xfrm>
        </p:spPr>
        <p:txBody>
          <a:bodyPr/>
          <a:lstStyle/>
          <a:p>
            <a:endParaRPr lang="de-AT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2C9888-31ED-B619-AB21-0A5EB67BC84D}"/>
              </a:ext>
            </a:extLst>
          </p:cNvPr>
          <p:cNvSpPr/>
          <p:nvPr userDrawn="1"/>
        </p:nvSpPr>
        <p:spPr>
          <a:xfrm>
            <a:off x="7497223" y="3428999"/>
            <a:ext cx="1288887" cy="12874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E6B7ED-845D-9C2F-8C9A-0BB1FD68AACB}"/>
              </a:ext>
            </a:extLst>
          </p:cNvPr>
          <p:cNvSpPr/>
          <p:nvPr userDrawn="1"/>
        </p:nvSpPr>
        <p:spPr>
          <a:xfrm>
            <a:off x="7495635" y="4716461"/>
            <a:ext cx="2361728" cy="21415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647392-DE87-AD31-CD9E-D4C16FAAFF07}"/>
              </a:ext>
            </a:extLst>
          </p:cNvPr>
          <p:cNvSpPr/>
          <p:nvPr userDrawn="1"/>
        </p:nvSpPr>
        <p:spPr>
          <a:xfrm>
            <a:off x="9857363" y="4716461"/>
            <a:ext cx="2334637" cy="21415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30AAC377-3FEB-D0EC-F8FA-9B6F0AD07C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5332" y="0"/>
            <a:ext cx="2361729" cy="2141539"/>
          </a:xfrm>
        </p:spPr>
        <p:txBody>
          <a:bodyPr/>
          <a:lstStyle/>
          <a:p>
            <a:endParaRPr lang="de-AT"/>
          </a:p>
        </p:txBody>
      </p:sp>
      <p:sp>
        <p:nvSpPr>
          <p:cNvPr id="21" name="Google Shape;35;p5">
            <a:extLst>
              <a:ext uri="{FF2B5EF4-FFF2-40B4-BE49-F238E27FC236}">
                <a16:creationId xmlns:a16="http://schemas.microsoft.com/office/drawing/2014/main" id="{18D2C3A4-C1F5-61B0-A320-A09881BDF9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597981"/>
            <a:ext cx="6557361" cy="4288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36;p5">
            <a:extLst>
              <a:ext uri="{FF2B5EF4-FFF2-40B4-BE49-F238E27FC236}">
                <a16:creationId xmlns:a16="http://schemas.microsoft.com/office/drawing/2014/main" id="{9C8027E3-C282-3B50-764B-A114D21C5816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6557361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37;p5">
            <a:extLst>
              <a:ext uri="{FF2B5EF4-FFF2-40B4-BE49-F238E27FC236}">
                <a16:creationId xmlns:a16="http://schemas.microsoft.com/office/drawing/2014/main" id="{06DC5CCE-EF31-3D8E-A529-42D952D6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6557361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02902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Selected Speakers 2023">
  <p:cSld name="V2 Namirial Selected Speakers 2023">
    <p:spTree>
      <p:nvGrpSpPr>
        <p:cNvPr id="1" name="Shape 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9" name="Google Shape;579;p2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09154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80" name="Google Shape;580;p24"/>
          <p:cNvSpPr txBox="1"/>
          <p:nvPr/>
        </p:nvSpPr>
        <p:spPr>
          <a:xfrm>
            <a:off x="392776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ax Pellegrini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EO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81" name="Google Shape;581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802535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82" name="Google Shape;582;p24"/>
          <p:cNvSpPr txBox="1"/>
          <p:nvPr/>
        </p:nvSpPr>
        <p:spPr>
          <a:xfrm>
            <a:off x="2568993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ntonio Taurisano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D International Markets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83" name="Google Shape;583;p2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995916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84" name="Google Shape;584;p24"/>
          <p:cNvSpPr txBox="1"/>
          <p:nvPr/>
        </p:nvSpPr>
        <p:spPr>
          <a:xfrm>
            <a:off x="4785231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avide Coletto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TO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85" name="Google Shape;585;p24"/>
          <p:cNvPicPr preferRelativeResize="0"/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89297" y="1350442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86" name="Google Shape;586;p24"/>
          <p:cNvSpPr txBox="1"/>
          <p:nvPr/>
        </p:nvSpPr>
        <p:spPr>
          <a:xfrm>
            <a:off x="7001468" y="3030975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Klaus Fellner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D Namirial Austria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87" name="Google Shape;587;p24"/>
          <p:cNvSpPr txBox="1"/>
          <p:nvPr/>
        </p:nvSpPr>
        <p:spPr>
          <a:xfrm>
            <a:off x="9177685" y="3030111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drian Dinculescu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MD Namirial Romania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88" name="Google Shape;588;p24"/>
          <p:cNvPicPr preferRelativeResize="0"/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3035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89" name="Google Shape;589;p24"/>
          <p:cNvSpPr txBox="1"/>
          <p:nvPr/>
        </p:nvSpPr>
        <p:spPr>
          <a:xfrm>
            <a:off x="373726" y="5425917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hristoph Bimminger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Product Management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90" name="Google Shape;590;p2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759252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91" name="Google Shape;591;p24"/>
          <p:cNvSpPr txBox="1"/>
          <p:nvPr/>
        </p:nvSpPr>
        <p:spPr>
          <a:xfrm>
            <a:off x="2549943" y="5425917"/>
            <a:ext cx="20045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icola Bruni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roduct Manager </a:t>
            </a:r>
            <a:b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DMS, LTA &amp; eInvoice</a:t>
            </a: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92" name="Google Shape;592;p24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928400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93" name="Google Shape;593;p24"/>
          <p:cNvSpPr txBox="1"/>
          <p:nvPr/>
        </p:nvSpPr>
        <p:spPr>
          <a:xfrm>
            <a:off x="4719091" y="5425917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Franco Tafini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DTS Compliance</a:t>
            </a:r>
            <a:endParaRPr sz="10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94" name="Google Shape;594;p24"/>
          <p:cNvPicPr preferRelativeResize="0"/>
          <p:nvPr/>
        </p:nvPicPr>
        <p:blipFill>
          <a:blip r:embed="rId9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1236" y="3746249"/>
            <a:ext cx="1585929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95" name="Google Shape;595;p24"/>
          <p:cNvSpPr txBox="1"/>
          <p:nvPr/>
        </p:nvSpPr>
        <p:spPr>
          <a:xfrm>
            <a:off x="6991927" y="5425917"/>
            <a:ext cx="20045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örg Lenz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Head of Marketing &amp; Communication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6" name="Google Shape;596;p24"/>
          <p:cNvSpPr txBox="1"/>
          <p:nvPr/>
        </p:nvSpPr>
        <p:spPr>
          <a:xfrm>
            <a:off x="9158635" y="5425053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Bernhard Eitzinger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CTO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97" name="Google Shape;597;p24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9382678" y="1350442"/>
            <a:ext cx="1590245" cy="1585929"/>
          </a:xfrm>
          <a:prstGeom prst="ellipse">
            <a:avLst/>
          </a:prstGeom>
          <a:noFill/>
          <a:ln>
            <a:noFill/>
          </a:ln>
        </p:spPr>
      </p:pic>
      <p:sp>
        <p:nvSpPr>
          <p:cNvPr id="598" name="Google Shape;598;p24"/>
          <p:cNvSpPr>
            <a:spLocks noGrp="1"/>
          </p:cNvSpPr>
          <p:nvPr>
            <p:ph type="pic" idx="2"/>
          </p:nvPr>
        </p:nvSpPr>
        <p:spPr>
          <a:xfrm>
            <a:off x="9298474" y="3746249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599" name="Google Shape;599;p24"/>
          <p:cNvSpPr txBox="1"/>
          <p:nvPr/>
        </p:nvSpPr>
        <p:spPr>
          <a:xfrm>
            <a:off x="489332" y="878085"/>
            <a:ext cx="9506249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500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From Namirial Heritage Organisation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0" name="Google Shape;600;p24"/>
          <p:cNvSpPr txBox="1"/>
          <p:nvPr/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800" b="1" i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Selected Speakers 2023 </a:t>
            </a:r>
            <a:endParaRPr sz="2800" b="1" i="0">
              <a:solidFill>
                <a:schemeClr val="dk1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65814695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7481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985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 with person image">
  <p:cSld name="Introduction with person imag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body" idx="1"/>
          </p:nvPr>
        </p:nvSpPr>
        <p:spPr>
          <a:xfrm>
            <a:off x="3267857" y="3513989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240"/>
              <a:buNone/>
              <a:defRPr sz="1867" b="0">
                <a:solidFill>
                  <a:srgbClr val="646464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4"/>
          <p:cNvSpPr txBox="1">
            <a:spLocks noGrp="1"/>
          </p:cNvSpPr>
          <p:nvPr>
            <p:ph type="ctrTitle"/>
          </p:nvPr>
        </p:nvSpPr>
        <p:spPr>
          <a:xfrm>
            <a:off x="2266245" y="2184155"/>
            <a:ext cx="7659511" cy="59444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4"/>
          <p:cNvSpPr txBox="1">
            <a:spLocks noGrp="1"/>
          </p:cNvSpPr>
          <p:nvPr>
            <p:ph type="body" idx="2"/>
          </p:nvPr>
        </p:nvSpPr>
        <p:spPr>
          <a:xfrm>
            <a:off x="422275" y="5863166"/>
            <a:ext cx="11347451" cy="5315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880"/>
              <a:buNone/>
              <a:defRPr sz="2400" b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4"/>
          <p:cNvSpPr txBox="1">
            <a:spLocks noGrp="1"/>
          </p:cNvSpPr>
          <p:nvPr>
            <p:ph type="body" idx="3"/>
          </p:nvPr>
        </p:nvSpPr>
        <p:spPr>
          <a:xfrm>
            <a:off x="2246919" y="2968082"/>
            <a:ext cx="7698163" cy="453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32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4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Quattrocento Sans"/>
              <a:buNone/>
            </a:pPr>
            <a:r>
              <a:rPr lang="it-IT" sz="105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© Namirial – All rights reserved</a:t>
            </a:r>
            <a:endParaRPr/>
          </a:p>
        </p:txBody>
      </p:sp>
      <p:sp>
        <p:nvSpPr>
          <p:cNvPr id="24" name="Google Shape;24;p14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5" name="Google Shape;25;p14"/>
          <p:cNvSpPr>
            <a:spLocks noGrp="1"/>
          </p:cNvSpPr>
          <p:nvPr>
            <p:ph type="pic" idx="4"/>
          </p:nvPr>
        </p:nvSpPr>
        <p:spPr>
          <a:xfrm>
            <a:off x="5303035" y="4114576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pic>
        <p:nvPicPr>
          <p:cNvPr id="26" name="Google Shape;26;p1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50040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1 Heading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AC7E67-FB80-D888-E1A8-4C97CEBA25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6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T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D06AA93-3BF4-32B6-452A-553788B80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389240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 preserve="1" userDrawn="1">
  <p:cSld name="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D8B54FD-DBEF-24FD-3527-07999DE020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B54FD-DBEF-24FD-3527-07999DE02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4" name="Google Shape;454;p14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200">
                <a:latin typeface="+mj-lt"/>
                <a:ea typeface="Open Sans" panose="020B0606030504020204" pitchFamily="34" charset="0"/>
                <a:cs typeface="Open Sans" panose="020B0606030504020204" pitchFamily="34" charset="0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36;p5">
            <a:extLst>
              <a:ext uri="{FF2B5EF4-FFF2-40B4-BE49-F238E27FC236}">
                <a16:creationId xmlns:a16="http://schemas.microsoft.com/office/drawing/2014/main" id="{05A21437-59F7-929B-A279-86CA21F163CA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1184856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99515372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2BF923-BC18-2FBB-54C8-2C9C090BC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2BF923-BC18-2FBB-54C8-2C9C090BC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79;p20">
            <a:extLst>
              <a:ext uri="{FF2B5EF4-FFF2-40B4-BE49-F238E27FC236}">
                <a16:creationId xmlns:a16="http://schemas.microsoft.com/office/drawing/2014/main" id="{5595F372-BAD0-9DA4-FD0F-511E01DB0272}"/>
              </a:ext>
            </a:extLst>
          </p:cNvPr>
          <p:cNvSpPr/>
          <p:nvPr userDrawn="1"/>
        </p:nvSpPr>
        <p:spPr>
          <a:xfrm>
            <a:off x="-1018162" y="297793"/>
            <a:ext cx="12192000" cy="2021457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456282" y="2671865"/>
            <a:ext cx="10515600" cy="32142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1308522"/>
            <a:ext cx="9780458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32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02095245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27089-3399-EEE6-FC02-6EBC3AC34E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27089-3399-EEE6-FC02-6EBC3AC34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Title">
            <a:extLst>
              <a:ext uri="{FF2B5EF4-FFF2-40B4-BE49-F238E27FC236}">
                <a16:creationId xmlns:a16="http://schemas.microsoft.com/office/drawing/2014/main" id="{AE7AECC1-BA5F-2823-8500-68E855D25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21027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icture 1">
  <p:cSld name="V2 Content and Picture 1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7310438" y="1335088"/>
            <a:ext cx="3824287" cy="2236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" name="Google Shape;19;p3"/>
          <p:cNvSpPr txBox="1">
            <a:spLocks noGrp="1"/>
          </p:cNvSpPr>
          <p:nvPr>
            <p:ph type="body" idx="1"/>
          </p:nvPr>
        </p:nvSpPr>
        <p:spPr>
          <a:xfrm>
            <a:off x="4678960" y="1146251"/>
            <a:ext cx="576457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4678960" y="410334"/>
            <a:ext cx="7088695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/>
          <p:nvPr/>
        </p:nvSpPr>
        <p:spPr>
          <a:xfrm>
            <a:off x="0" y="1"/>
            <a:ext cx="438192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2" name="Google Shape;22;p3"/>
          <p:cNvSpPr>
            <a:spLocks noGrp="1"/>
          </p:cNvSpPr>
          <p:nvPr>
            <p:ph type="pic" idx="2"/>
          </p:nvPr>
        </p:nvSpPr>
        <p:spPr>
          <a:xfrm>
            <a:off x="0" y="0"/>
            <a:ext cx="4381928" cy="685799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3" name="Google Shape;23;p3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  |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4" name="Google Shape;24;p3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9183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userDrawn="1">
  <p:cSld name="1_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456282" y="1597981"/>
            <a:ext cx="10515600" cy="4288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0515600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80943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18"/>
          <p:cNvSpPr txBox="1">
            <a:spLocks noGrp="1"/>
          </p:cNvSpPr>
          <p:nvPr>
            <p:ph type="title"/>
          </p:nvPr>
        </p:nvSpPr>
        <p:spPr>
          <a:xfrm>
            <a:off x="1" y="131859"/>
            <a:ext cx="12191999" cy="48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18"/>
          <p:cNvSpPr txBox="1">
            <a:spLocks noGrp="1"/>
          </p:cNvSpPr>
          <p:nvPr>
            <p:ph type="body" idx="1"/>
          </p:nvPr>
        </p:nvSpPr>
        <p:spPr>
          <a:xfrm>
            <a:off x="1234281" y="938212"/>
            <a:ext cx="9723438" cy="4981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2160"/>
              <a:buChar char="•"/>
              <a:defRPr/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388262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Laptop">
  <p:cSld name="V2 Content and Laptop"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1140FC-D286-F4D7-A2E8-CBB17CF6A2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713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1140FC-D286-F4D7-A2E8-CBB17CF6A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9" name="Google Shape;609;p26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10" name="Google Shape;610;p2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83827" y="1605034"/>
            <a:ext cx="7461607" cy="4665138"/>
          </a:xfrm>
          <a:prstGeom prst="rect">
            <a:avLst/>
          </a:prstGeom>
          <a:noFill/>
          <a:ln>
            <a:noFill/>
          </a:ln>
        </p:spPr>
      </p:pic>
      <p:sp>
        <p:nvSpPr>
          <p:cNvPr id="611" name="Google Shape;611;p26"/>
          <p:cNvSpPr>
            <a:spLocks noGrp="1"/>
          </p:cNvSpPr>
          <p:nvPr>
            <p:ph type="pic" idx="2"/>
          </p:nvPr>
        </p:nvSpPr>
        <p:spPr>
          <a:xfrm>
            <a:off x="5259519" y="1911302"/>
            <a:ext cx="5740782" cy="341696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612" name="Google Shape;612;p26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3515643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" name="Google Shape;613;p26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4" name="Google Shape;614;p26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0091564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Headline + Subtext">
  <p:cSld name="V1 Headline + Subtext"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34"/>
          <p:cNvSpPr txBox="1">
            <a:spLocks noGrp="1"/>
          </p:cNvSpPr>
          <p:nvPr>
            <p:ph type="ctrTitle"/>
          </p:nvPr>
        </p:nvSpPr>
        <p:spPr>
          <a:xfrm>
            <a:off x="1" y="2150470"/>
            <a:ext cx="12223568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34"/>
          <p:cNvSpPr txBox="1">
            <a:spLocks noGrp="1"/>
          </p:cNvSpPr>
          <p:nvPr>
            <p:ph type="body" idx="1"/>
          </p:nvPr>
        </p:nvSpPr>
        <p:spPr>
          <a:xfrm>
            <a:off x="3410094" y="2850423"/>
            <a:ext cx="5207954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57328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5B05EE-A609-1287-0238-C1B802D5AC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7B562187-56CE-03AF-AB19-4C2024E6A3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BDE5DEB-C0F3-F63A-6DCC-C68009253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B052F1-BC1F-B846-9F3B-602AFD6B09E3}" type="datetimeFigureOut">
              <a:rPr lang="it-IT" smtClean="0"/>
              <a:t>27/04/26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70589F8-A362-0BC2-8379-97198390E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AEE4B07-CE38-CB9A-9399-E38E99742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5782BB-0617-9F44-B317-AA3ED17712D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9530232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A336EA-BC0C-4EC3-9E1A-26932BA76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A336EA-BC0C-4EC3-9E1A-26932BA76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3943FD9-018C-4A18-9EE8-C3FD84EC84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5498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B1C066E-1A41-1105-F7D9-8EBCDF7E8B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066E-1A41-1105-F7D9-8EBCDF7E8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F3E879-537F-2A12-3126-AF784AF333FA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1333500" y="6169068"/>
            <a:ext cx="9523413" cy="3492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5" name="Eyebrow">
            <a:extLst>
              <a:ext uri="{FF2B5EF4-FFF2-40B4-BE49-F238E27FC236}">
                <a16:creationId xmlns:a16="http://schemas.microsoft.com/office/drawing/2014/main" id="{5DBB7D3B-C3D7-1921-D0B1-A5F656C53B04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346075" y="339724"/>
            <a:ext cx="5575299" cy="28031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 b="0" i="0" cap="all" spc="60" baseline="0">
                <a:solidFill>
                  <a:srgbClr val="315D90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SUBJECT HEADER  </a:t>
            </a:r>
          </a:p>
        </p:txBody>
      </p:sp>
    </p:spTree>
    <p:extLst>
      <p:ext uri="{BB962C8B-B14F-4D97-AF65-F5344CB8AC3E}">
        <p14:creationId xmlns:p14="http://schemas.microsoft.com/office/powerpoint/2010/main" val="161377689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">
  <p:cSld name="1_V2 Conclusion">
    <p:spTree>
      <p:nvGrpSpPr>
        <p:cNvPr id="1" name="Shape 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" name="Google Shape;788;p104"/>
          <p:cNvSpPr/>
          <p:nvPr/>
        </p:nvSpPr>
        <p:spPr>
          <a:xfrm>
            <a:off x="0" y="0"/>
            <a:ext cx="12192000" cy="2178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89" name="Google Shape;789;p104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" name="Google Shape;790;p104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" sz="105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Namirial – All rights reserv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1" name="Google Shape;791;p104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792" name="Google Shape;792;p10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793" name="Google Shape;793;p104"/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86021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 with person image">
  <p:cSld name="1_Introduction with person imag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body" idx="1"/>
          </p:nvPr>
        </p:nvSpPr>
        <p:spPr>
          <a:xfrm>
            <a:off x="3267857" y="3513989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240"/>
              <a:buNone/>
              <a:defRPr sz="1867" b="0">
                <a:solidFill>
                  <a:srgbClr val="646464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4"/>
          <p:cNvSpPr txBox="1">
            <a:spLocks noGrp="1"/>
          </p:cNvSpPr>
          <p:nvPr>
            <p:ph type="ctrTitle"/>
          </p:nvPr>
        </p:nvSpPr>
        <p:spPr>
          <a:xfrm>
            <a:off x="2266245" y="2184155"/>
            <a:ext cx="7659511" cy="59444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4"/>
          <p:cNvSpPr txBox="1">
            <a:spLocks noGrp="1"/>
          </p:cNvSpPr>
          <p:nvPr>
            <p:ph type="body" idx="2"/>
          </p:nvPr>
        </p:nvSpPr>
        <p:spPr>
          <a:xfrm>
            <a:off x="422275" y="5863166"/>
            <a:ext cx="11347451" cy="5315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880"/>
              <a:buNone/>
              <a:defRPr sz="2400" b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4"/>
          <p:cNvSpPr txBox="1">
            <a:spLocks noGrp="1"/>
          </p:cNvSpPr>
          <p:nvPr>
            <p:ph type="body" idx="3"/>
          </p:nvPr>
        </p:nvSpPr>
        <p:spPr>
          <a:xfrm>
            <a:off x="2246919" y="2968082"/>
            <a:ext cx="7698163" cy="453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32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4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Quattrocento Sans"/>
              <a:buNone/>
            </a:pPr>
            <a:r>
              <a:rPr lang="it-IT" sz="105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© Namirial – All rights reserved</a:t>
            </a:r>
            <a:endParaRPr/>
          </a:p>
        </p:txBody>
      </p:sp>
      <p:sp>
        <p:nvSpPr>
          <p:cNvPr id="24" name="Google Shape;24;p14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‹#›</a:t>
            </a:fld>
            <a:endParaRPr sz="1200" b="0" i="0" u="none" strike="noStrike" cap="none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5" name="Google Shape;25;p14"/>
          <p:cNvSpPr>
            <a:spLocks noGrp="1"/>
          </p:cNvSpPr>
          <p:nvPr>
            <p:ph type="pic" idx="4"/>
          </p:nvPr>
        </p:nvSpPr>
        <p:spPr>
          <a:xfrm>
            <a:off x="5303035" y="4114576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pic>
        <p:nvPicPr>
          <p:cNvPr id="26" name="Google Shape;26;p1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53641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1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2741CC47-C902-82C2-FEC4-A29E87C485F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63;p17">
            <a:extLst>
              <a:ext uri="{FF2B5EF4-FFF2-40B4-BE49-F238E27FC236}">
                <a16:creationId xmlns:a16="http://schemas.microsoft.com/office/drawing/2014/main" id="{338534EB-EDE2-C6D4-3CE5-83730478B5B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45346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36000" bIns="36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6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Google Shape;462;p17">
            <a:extLst>
              <a:ext uri="{FF2B5EF4-FFF2-40B4-BE49-F238E27FC236}">
                <a16:creationId xmlns:a16="http://schemas.microsoft.com/office/drawing/2014/main" id="{138D6D1A-4F50-A372-4CB4-C7F527BEB9C7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21778" y="6089077"/>
            <a:ext cx="10515600" cy="340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8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5743738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tact" preserve="1" userDrawn="1">
  <p:cSld name="V1 Contact"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2" name="Google Shape;702;p42" descr="Unterhaltu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07833" y="-448238"/>
            <a:ext cx="4530931" cy="4530931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42"/>
          <p:cNvSpPr txBox="1"/>
          <p:nvPr/>
        </p:nvSpPr>
        <p:spPr>
          <a:xfrm>
            <a:off x="698937" y="789582"/>
            <a:ext cx="3917513" cy="487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0" i="0">
                <a:solidFill>
                  <a:schemeClr val="dk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Open Sans"/>
              </a:rPr>
              <a:t>Get in contact!</a:t>
            </a:r>
            <a:endParaRPr b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807604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033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 Speaker" preserve="1" userDrawn="1">
  <p:cSld name="V1 Introduction Speaker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9" name="Google Shape;689;p41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5254" y="1"/>
            <a:ext cx="2021493" cy="2021493"/>
          </a:xfrm>
          <a:prstGeom prst="rect">
            <a:avLst/>
          </a:prstGeom>
          <a:noFill/>
          <a:ln>
            <a:noFill/>
          </a:ln>
        </p:spPr>
      </p:pic>
      <p:sp>
        <p:nvSpPr>
          <p:cNvPr id="690" name="Google Shape;690;p41"/>
          <p:cNvSpPr>
            <a:spLocks noGrp="1"/>
          </p:cNvSpPr>
          <p:nvPr>
            <p:ph type="pic" idx="2"/>
          </p:nvPr>
        </p:nvSpPr>
        <p:spPr>
          <a:xfrm>
            <a:off x="5303035" y="3429000"/>
            <a:ext cx="1585929" cy="1585929"/>
          </a:xfrm>
          <a:prstGeom prst="ellipse">
            <a:avLst/>
          </a:prstGeom>
          <a:noFill/>
          <a:ln>
            <a:noFill/>
          </a:ln>
        </p:spPr>
      </p:sp>
      <p:sp>
        <p:nvSpPr>
          <p:cNvPr id="2" name="Google Shape;434;p11">
            <a:extLst>
              <a:ext uri="{FF2B5EF4-FFF2-40B4-BE49-F238E27FC236}">
                <a16:creationId xmlns:a16="http://schemas.microsoft.com/office/drawing/2014/main" id="{6CF0A362-B420-C765-1798-67ECCCCF437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2275" y="5135236"/>
            <a:ext cx="11347451" cy="5315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35;p11">
            <a:extLst>
              <a:ext uri="{FF2B5EF4-FFF2-40B4-BE49-F238E27FC236}">
                <a16:creationId xmlns:a16="http://schemas.microsoft.com/office/drawing/2014/main" id="{B044BABF-CA62-DA80-7FEF-DC6DE73FCBCE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2050735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Google Shape;436;p11">
            <a:extLst>
              <a:ext uri="{FF2B5EF4-FFF2-40B4-BE49-F238E27FC236}">
                <a16:creationId xmlns:a16="http://schemas.microsoft.com/office/drawing/2014/main" id="{FEBEE11A-3355-A764-F7A3-86E1855886EC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2246919" y="2661529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0413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Tablet">
  <p:cSld name="V2 Content and Tablet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30B8F6-2454-57EA-9302-716DBC2512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332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30B8F6-2454-57EA-9302-716DBC2512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" name="Google Shape;616;p27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7" name="Google Shape;617;p27"/>
          <p:cNvSpPr>
            <a:spLocks noGrp="1"/>
          </p:cNvSpPr>
          <p:nvPr>
            <p:ph type="pic" idx="2"/>
          </p:nvPr>
        </p:nvSpPr>
        <p:spPr>
          <a:xfrm>
            <a:off x="7351366" y="1266971"/>
            <a:ext cx="3641008" cy="477727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618" name="Google Shape;618;p27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6253901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27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20" name="Google Shape;620;p27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148666" y="790575"/>
            <a:ext cx="4058939" cy="6352240"/>
          </a:xfrm>
          <a:prstGeom prst="rect">
            <a:avLst/>
          </a:prstGeom>
          <a:noFill/>
          <a:ln>
            <a:noFill/>
          </a:ln>
        </p:spPr>
      </p:pic>
      <p:sp>
        <p:nvSpPr>
          <p:cNvPr id="621" name="Google Shape;621;p27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8136162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" userDrawn="1">
  <p:cSld name="V1 Introduction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4" name="Google Shape;684;p4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9;p10">
            <a:extLst>
              <a:ext uri="{FF2B5EF4-FFF2-40B4-BE49-F238E27FC236}">
                <a16:creationId xmlns:a16="http://schemas.microsoft.com/office/drawing/2014/main" id="{E0E6B820-41FA-26FD-7DE7-6309BF30A091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599835" y="3685031"/>
            <a:ext cx="6992331" cy="41692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20;p9">
            <a:extLst>
              <a:ext uri="{FF2B5EF4-FFF2-40B4-BE49-F238E27FC236}">
                <a16:creationId xmlns:a16="http://schemas.microsoft.com/office/drawing/2014/main" id="{DB843516-B290-08A5-5228-9E6B5124E4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267857" y="4729026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Google Shape;435;p11">
            <a:extLst>
              <a:ext uri="{FF2B5EF4-FFF2-40B4-BE49-F238E27FC236}">
                <a16:creationId xmlns:a16="http://schemas.microsoft.com/office/drawing/2014/main" id="{079315E2-1AD0-095E-2F7D-82EF0B15ADA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3090582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13885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1491F2-0CE3-DCDE-8AA8-5A6DE4243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491F2-0CE3-DCDE-8AA8-5A6DE4243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88C6FA-3240-9F0B-EFD7-EB9FECB2A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572595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>
  <p:cSld name="1_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Google Shape;454;p14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293205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">
  <p:cSld name="1_V1 Introduction">
    <p:spTree>
      <p:nvGrpSpPr>
        <p:cNvPr id="1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8" name="Google Shape;678;p52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679" name="Google Shape;679;p52"/>
          <p:cNvSpPr txBox="1">
            <a:spLocks noGrp="1"/>
          </p:cNvSpPr>
          <p:nvPr>
            <p:ph type="ctrTitle"/>
          </p:nvPr>
        </p:nvSpPr>
        <p:spPr>
          <a:xfrm>
            <a:off x="2266245" y="2702911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52"/>
          <p:cNvSpPr txBox="1">
            <a:spLocks noGrp="1"/>
          </p:cNvSpPr>
          <p:nvPr>
            <p:ph type="body" idx="1"/>
          </p:nvPr>
        </p:nvSpPr>
        <p:spPr>
          <a:xfrm>
            <a:off x="2246919" y="3295297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1" name="Google Shape;681;p52"/>
          <p:cNvSpPr txBox="1">
            <a:spLocks noGrp="1"/>
          </p:cNvSpPr>
          <p:nvPr>
            <p:ph type="body" idx="2"/>
          </p:nvPr>
        </p:nvSpPr>
        <p:spPr>
          <a:xfrm>
            <a:off x="3267857" y="4980621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b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20046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Heading and Body">
  <p:cSld name="V1 Heading and Body">
    <p:spTree>
      <p:nvGrpSpPr>
        <p:cNvPr id="1" name="Shape 6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9" name="Google Shape;649;p46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46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951227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- whitout Namirial target symbol">
  <p:cSld name="Title Only - whitout Namirial target symbol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6"/>
          <p:cNvSpPr/>
          <p:nvPr/>
        </p:nvSpPr>
        <p:spPr>
          <a:xfrm>
            <a:off x="10642488" y="4990932"/>
            <a:ext cx="1486404" cy="1486404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endParaRPr sz="16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2" name="Google Shape;42;p76"/>
          <p:cNvSpPr txBox="1">
            <a:spLocks noGrp="1"/>
          </p:cNvSpPr>
          <p:nvPr>
            <p:ph type="title"/>
          </p:nvPr>
        </p:nvSpPr>
        <p:spPr>
          <a:xfrm>
            <a:off x="0" y="131859"/>
            <a:ext cx="12192000" cy="48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accent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4546651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- without Namirial target watermark">
  <p:cSld name="1_Title Only - without Namirial target watermark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22"/>
          <p:cNvSpPr txBox="1">
            <a:spLocks noGrp="1"/>
          </p:cNvSpPr>
          <p:nvPr>
            <p:ph type="title"/>
          </p:nvPr>
        </p:nvSpPr>
        <p:spPr>
          <a:xfrm>
            <a:off x="0" y="131859"/>
            <a:ext cx="12192000" cy="48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Quattrocento Sans"/>
              <a:buNone/>
              <a:defRPr sz="2800" b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2"/>
          <p:cNvSpPr/>
          <p:nvPr/>
        </p:nvSpPr>
        <p:spPr>
          <a:xfrm>
            <a:off x="10594150" y="4982876"/>
            <a:ext cx="1557568" cy="1498487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37;p22"/>
          <p:cNvSpPr txBox="1">
            <a:spLocks noGrp="1"/>
          </p:cNvSpPr>
          <p:nvPr>
            <p:ph type="body" idx="1"/>
          </p:nvPr>
        </p:nvSpPr>
        <p:spPr>
          <a:xfrm>
            <a:off x="321276" y="779120"/>
            <a:ext cx="9316994" cy="518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2286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/>
            </a:lvl2pPr>
            <a:lvl3pPr marL="1371600" lvl="2" indent="-2286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/>
            </a:lvl3pPr>
            <a:lvl4pPr marL="1828800" lvl="3" indent="-2286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706"/>
              <a:buNone/>
              <a:defRPr/>
            </a:lvl4pPr>
            <a:lvl5pPr marL="2286000" lvl="4" indent="-228600" algn="l">
              <a:lnSpc>
                <a:spcPct val="85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" name="Google Shape;38;p22"/>
          <p:cNvGrpSpPr/>
          <p:nvPr/>
        </p:nvGrpSpPr>
        <p:grpSpPr>
          <a:xfrm>
            <a:off x="10672117" y="5056124"/>
            <a:ext cx="1425831" cy="1362255"/>
            <a:chOff x="10672117" y="5056124"/>
            <a:chExt cx="1425831" cy="1362255"/>
          </a:xfrm>
        </p:grpSpPr>
        <p:pic>
          <p:nvPicPr>
            <p:cNvPr id="39" name="Google Shape;39;p22"/>
            <p:cNvPicPr preferRelativeResize="0"/>
            <p:nvPr/>
          </p:nvPicPr>
          <p:blipFill rotWithShape="1">
            <a:blip r:embed="rId2" cstate="hq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72117" y="5056124"/>
              <a:ext cx="1425831" cy="136225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0" name="Google Shape;40;p2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1416264" y="5737252"/>
              <a:ext cx="654425" cy="65442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6794677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e de titre" preserve="1" userDrawn="1">
  <p:cSld name="Diapositive de titre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63512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tent and Picture 1">
  <p:cSld name="V1 Content and Picture 1"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p58"/>
          <p:cNvSpPr/>
          <p:nvPr/>
        </p:nvSpPr>
        <p:spPr>
          <a:xfrm>
            <a:off x="7310438" y="1335088"/>
            <a:ext cx="3824287" cy="2236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07" name="Google Shape;707;p58"/>
          <p:cNvSpPr txBox="1">
            <a:spLocks noGrp="1"/>
          </p:cNvSpPr>
          <p:nvPr>
            <p:ph type="body" idx="1"/>
          </p:nvPr>
        </p:nvSpPr>
        <p:spPr>
          <a:xfrm>
            <a:off x="4678960" y="1146251"/>
            <a:ext cx="576457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58"/>
          <p:cNvSpPr txBox="1">
            <a:spLocks noGrp="1"/>
          </p:cNvSpPr>
          <p:nvPr>
            <p:ph type="title"/>
          </p:nvPr>
        </p:nvSpPr>
        <p:spPr>
          <a:xfrm>
            <a:off x="4678960" y="410334"/>
            <a:ext cx="7088695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9" name="Google Shape;709;p58"/>
          <p:cNvSpPr/>
          <p:nvPr/>
        </p:nvSpPr>
        <p:spPr>
          <a:xfrm>
            <a:off x="0" y="1"/>
            <a:ext cx="4381928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10" name="Google Shape;710;p58"/>
          <p:cNvSpPr>
            <a:spLocks noGrp="1"/>
          </p:cNvSpPr>
          <p:nvPr>
            <p:ph type="pic" idx="2"/>
          </p:nvPr>
        </p:nvSpPr>
        <p:spPr>
          <a:xfrm>
            <a:off x="0" y="0"/>
            <a:ext cx="4381928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11" name="Google Shape;711;p58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de-DE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</a:t>
            </a:r>
            <a:r>
              <a:rPr lang="de-DE" sz="1050" b="0" i="0" u="none" strike="noStrike" cap="none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rights</a:t>
            </a:r>
            <a:r>
              <a:rPr lang="de-DE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de-DE" sz="1050" b="0" i="0" u="none" strike="noStrike" cap="none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reserved</a:t>
            </a:r>
            <a:r>
              <a:rPr lang="de-DE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 |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12" name="Google Shape;712;p58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24788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 preserve="1">
  <p:cSld name="1_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5401540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hone">
  <p:cSld name="V2 Content and Phone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D4D2AFE-E348-94E0-BC99-6C63FEA212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862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4D2AFE-E348-94E0-BC99-6C63FEA212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3" name="Google Shape;623;p28"/>
          <p:cNvSpPr/>
          <p:nvPr/>
        </p:nvSpPr>
        <p:spPr>
          <a:xfrm>
            <a:off x="11099990" y="0"/>
            <a:ext cx="10920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24" name="Google Shape;624;p2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563583" y="1001281"/>
            <a:ext cx="2859726" cy="5856719"/>
          </a:xfrm>
          <a:prstGeom prst="rect">
            <a:avLst/>
          </a:prstGeom>
          <a:noFill/>
          <a:ln>
            <a:noFill/>
          </a:ln>
        </p:spPr>
      </p:pic>
      <p:sp>
        <p:nvSpPr>
          <p:cNvPr id="625" name="Google Shape;625;p28"/>
          <p:cNvSpPr>
            <a:spLocks noGrp="1"/>
          </p:cNvSpPr>
          <p:nvPr>
            <p:ph type="pic" idx="2"/>
          </p:nvPr>
        </p:nvSpPr>
        <p:spPr>
          <a:xfrm>
            <a:off x="8834615" y="1329349"/>
            <a:ext cx="2303188" cy="4579875"/>
          </a:xfrm>
          <a:prstGeom prst="roundRect">
            <a:avLst>
              <a:gd name="adj" fmla="val 6970"/>
            </a:avLst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626" name="Google Shape;626;p28"/>
          <p:cNvSpPr txBox="1">
            <a:spLocks noGrp="1"/>
          </p:cNvSpPr>
          <p:nvPr>
            <p:ph type="body" idx="1"/>
          </p:nvPr>
        </p:nvSpPr>
        <p:spPr>
          <a:xfrm>
            <a:off x="456282" y="1146250"/>
            <a:ext cx="7852693" cy="4897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p28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8" name="Google Shape;628;p28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2465015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V1 Contact">
  <p:cSld name="1_V1 Contac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oogle Shape;41;p44" descr="Unterhaltu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2129" y="-293396"/>
            <a:ext cx="4530931" cy="45309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6990841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2117993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71130455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3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292586081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4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48586435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5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358171217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6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193314471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7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8192490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8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366123610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9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20454321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">
  <p:cSld name="V2 Conclus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9535EDB-6B0D-9C14-3164-ADC0AE1BEC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445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535EDB-6B0D-9C14-3164-ADC0AE1BEC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0" name="Google Shape;630;p29"/>
          <p:cNvSpPr/>
          <p:nvPr/>
        </p:nvSpPr>
        <p:spPr>
          <a:xfrm>
            <a:off x="0" y="0"/>
            <a:ext cx="12192000" cy="2178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1" name="Google Shape;631;p29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ct val="0"/>
              </a:spcBef>
              <a:spcAft>
                <a:spcPct val="0"/>
              </a:spcAft>
              <a:buSzPts val="1400"/>
              <a:buFont typeface="Open Sans SemiBold"/>
              <a:buNone/>
              <a:defRPr sz="3000">
                <a:solidFill>
                  <a:schemeClr val="dk1"/>
                </a:solidFill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29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spcAft>
                <a:spcPct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Namirial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3" name="Google Shape;633;p29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34" name="Google Shape;634;p29"/>
          <p:cNvPicPr preferRelativeResize="0"/>
          <p:nvPr/>
        </p:nvPicPr>
        <p:blipFill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29"/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62626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29328952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1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90181519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2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421475904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3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8667547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4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9269066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5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33377937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0305125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6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344272677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7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323804789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8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2046727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1491F2-0CE3-DCDE-8AA8-5A6DE4243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728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491F2-0CE3-DCDE-8AA8-5A6DE4243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88C6FA-3240-9F0B-EFD7-EB9FECB2A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367072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 1">
  <p:cSld name="V2 Conclusion 1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8FDE093-6CC2-0573-5B75-AC9B1EFA8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53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FDE093-6CC2-0573-5B75-AC9B1EFA8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7" name="Google Shape;637;p30"/>
          <p:cNvSpPr/>
          <p:nvPr/>
        </p:nvSpPr>
        <p:spPr>
          <a:xfrm>
            <a:off x="-6275" y="4848400"/>
            <a:ext cx="12198300" cy="20097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ct val="0"/>
              </a:spcBef>
              <a:spcAft>
                <a:spcPct val="0"/>
              </a:spcAft>
              <a:buNone/>
            </a:pP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8" name="Google Shape;638;p30"/>
          <p:cNvSpPr txBox="1">
            <a:spLocks noGrp="1"/>
          </p:cNvSpPr>
          <p:nvPr>
            <p:ph type="ctrTitle"/>
          </p:nvPr>
        </p:nvSpPr>
        <p:spPr>
          <a:xfrm>
            <a:off x="422270" y="5098254"/>
            <a:ext cx="76596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rtl="0">
              <a:spcBef>
                <a:spcPct val="0"/>
              </a:spcBef>
              <a:spcAft>
                <a:spcPct val="0"/>
              </a:spcAft>
              <a:buSzPts val="1200"/>
              <a:buFont typeface="Open Sans SemiBold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rtl="0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" name="Google Shape;640;p30"/>
          <p:cNvSpPr txBox="1"/>
          <p:nvPr/>
        </p:nvSpPr>
        <p:spPr>
          <a:xfrm>
            <a:off x="11246152" y="6538912"/>
            <a:ext cx="706200" cy="2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41" name="Google Shape;641;p30"/>
          <p:cNvSpPr txBox="1">
            <a:spLocks noGrp="1"/>
          </p:cNvSpPr>
          <p:nvPr>
            <p:ph type="body" idx="1"/>
          </p:nvPr>
        </p:nvSpPr>
        <p:spPr>
          <a:xfrm>
            <a:off x="422275" y="5739585"/>
            <a:ext cx="11347500" cy="51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rtl="0">
              <a:lnSpc>
                <a:spcPct val="100000"/>
              </a:lnSpc>
              <a:spcBef>
                <a:spcPts val="1067"/>
              </a:spcBef>
              <a:spcAft>
                <a:spcPct val="0"/>
              </a:spcAft>
              <a:buSzPts val="2000"/>
              <a:buNone/>
              <a:defRPr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rtl="0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rtl="0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rtl="0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rtl="0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p30"/>
          <p:cNvSpPr>
            <a:spLocks noGrp="1"/>
          </p:cNvSpPr>
          <p:nvPr>
            <p:ph type="pic" idx="2"/>
          </p:nvPr>
        </p:nvSpPr>
        <p:spPr>
          <a:xfrm>
            <a:off x="-14100" y="-9400"/>
            <a:ext cx="12198300" cy="48594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pic>
        <p:nvPicPr>
          <p:cNvPr id="643" name="Google Shape;643;p30"/>
          <p:cNvPicPr preferRelativeResize="0"/>
          <p:nvPr/>
        </p:nvPicPr>
        <p:blipFill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1065" y="6120901"/>
            <a:ext cx="2100263" cy="516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6205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9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10965075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0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</p:sp>
    </p:spTree>
    <p:extLst>
      <p:ext uri="{BB962C8B-B14F-4D97-AF65-F5344CB8AC3E}">
        <p14:creationId xmlns:p14="http://schemas.microsoft.com/office/powerpoint/2010/main" val="499862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Green">
  <p:cSld name="V2 Headline Green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FA7DCD-E2CC-2381-34D7-293CBD8D73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4103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FA7DCD-E2CC-2381-34D7-293CBD8D7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6" name="Google Shape;456;p15"/>
          <p:cNvSpPr/>
          <p:nvPr/>
        </p:nvSpPr>
        <p:spPr>
          <a:xfrm>
            <a:off x="0" y="-1"/>
            <a:ext cx="12192000" cy="43103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7" name="Google Shape;457;p15"/>
          <p:cNvSpPr txBox="1">
            <a:spLocks noGrp="1"/>
          </p:cNvSpPr>
          <p:nvPr>
            <p:ph type="ctrTitle"/>
          </p:nvPr>
        </p:nvSpPr>
        <p:spPr>
          <a:xfrm>
            <a:off x="2266244" y="2834552"/>
            <a:ext cx="7659511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ct val="0"/>
              </a:spcBef>
              <a:spcAft>
                <a:spcPct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5575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bg>
      <p:bgPr>
        <a:solidFill>
          <a:schemeClr val="dk2"/>
        </a:soli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"/>
          <p:cNvSpPr txBox="1">
            <a:spLocks noGrp="1"/>
          </p:cNvSpPr>
          <p:nvPr>
            <p:ph type="title"/>
          </p:nvPr>
        </p:nvSpPr>
        <p:spPr>
          <a:xfrm>
            <a:off x="950800" y="707257"/>
            <a:ext cx="102904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solidFill>
                  <a:schemeClr val="accent5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4"/>
          <p:cNvSpPr txBox="1">
            <a:spLocks noGrp="1"/>
          </p:cNvSpPr>
          <p:nvPr>
            <p:ph type="body" idx="1"/>
          </p:nvPr>
        </p:nvSpPr>
        <p:spPr>
          <a:xfrm>
            <a:off x="950800" y="1585795"/>
            <a:ext cx="10290400" cy="47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4" name="Google Shape;54;p4"/>
          <p:cNvSpPr/>
          <p:nvPr/>
        </p:nvSpPr>
        <p:spPr>
          <a:xfrm rot="10800000">
            <a:off x="10203885" y="1"/>
            <a:ext cx="2074633" cy="976132"/>
          </a:xfrm>
          <a:custGeom>
            <a:avLst/>
            <a:gdLst/>
            <a:ahLst/>
            <a:cxnLst/>
            <a:rect l="l" t="t" r="r" b="b"/>
            <a:pathLst>
              <a:path w="3120" h="1468" extrusionOk="0">
                <a:moveTo>
                  <a:pt x="353" y="30"/>
                </a:moveTo>
                <a:lnTo>
                  <a:pt x="350" y="5"/>
                </a:lnTo>
                <a:cubicBezTo>
                  <a:pt x="380" y="2"/>
                  <a:pt x="412" y="0"/>
                  <a:pt x="444" y="0"/>
                </a:cubicBezTo>
                <a:lnTo>
                  <a:pt x="453" y="0"/>
                </a:lnTo>
                <a:lnTo>
                  <a:pt x="452" y="26"/>
                </a:lnTo>
                <a:lnTo>
                  <a:pt x="444" y="26"/>
                </a:lnTo>
                <a:cubicBezTo>
                  <a:pt x="414" y="26"/>
                  <a:pt x="383" y="27"/>
                  <a:pt x="353" y="30"/>
                </a:cubicBezTo>
                <a:moveTo>
                  <a:pt x="651" y="48"/>
                </a:moveTo>
                <a:cubicBezTo>
                  <a:pt x="618" y="40"/>
                  <a:pt x="585" y="35"/>
                  <a:pt x="552" y="31"/>
                </a:cubicBezTo>
                <a:lnTo>
                  <a:pt x="554" y="6"/>
                </a:lnTo>
                <a:cubicBezTo>
                  <a:pt x="589" y="10"/>
                  <a:pt x="623" y="16"/>
                  <a:pt x="656" y="23"/>
                </a:cubicBezTo>
                <a:lnTo>
                  <a:pt x="651" y="48"/>
                </a:lnTo>
                <a:moveTo>
                  <a:pt x="158" y="73"/>
                </a:moveTo>
                <a:lnTo>
                  <a:pt x="150" y="49"/>
                </a:lnTo>
                <a:cubicBezTo>
                  <a:pt x="182" y="38"/>
                  <a:pt x="215" y="29"/>
                  <a:pt x="248" y="21"/>
                </a:cubicBezTo>
                <a:lnTo>
                  <a:pt x="254" y="46"/>
                </a:lnTo>
                <a:cubicBezTo>
                  <a:pt x="221" y="53"/>
                  <a:pt x="189" y="62"/>
                  <a:pt x="158" y="73"/>
                </a:cubicBezTo>
                <a:moveTo>
                  <a:pt x="841" y="109"/>
                </a:moveTo>
                <a:cubicBezTo>
                  <a:pt x="810" y="96"/>
                  <a:pt x="779" y="84"/>
                  <a:pt x="747" y="74"/>
                </a:cubicBezTo>
                <a:lnTo>
                  <a:pt x="755" y="50"/>
                </a:lnTo>
                <a:cubicBezTo>
                  <a:pt x="787" y="61"/>
                  <a:pt x="820" y="72"/>
                  <a:pt x="851" y="86"/>
                </a:cubicBezTo>
                <a:lnTo>
                  <a:pt x="841" y="109"/>
                </a:lnTo>
                <a:moveTo>
                  <a:pt x="1" y="188"/>
                </a:moveTo>
                <a:cubicBezTo>
                  <a:pt x="0" y="183"/>
                  <a:pt x="0" y="179"/>
                  <a:pt x="0" y="176"/>
                </a:cubicBezTo>
                <a:cubicBezTo>
                  <a:pt x="0" y="145"/>
                  <a:pt x="19" y="116"/>
                  <a:pt x="55" y="92"/>
                </a:cubicBezTo>
                <a:lnTo>
                  <a:pt x="69" y="113"/>
                </a:lnTo>
                <a:cubicBezTo>
                  <a:pt x="49" y="127"/>
                  <a:pt x="25" y="148"/>
                  <a:pt x="25" y="176"/>
                </a:cubicBezTo>
                <a:cubicBezTo>
                  <a:pt x="25" y="178"/>
                  <a:pt x="26" y="181"/>
                  <a:pt x="26" y="183"/>
                </a:cubicBezTo>
                <a:lnTo>
                  <a:pt x="1" y="188"/>
                </a:lnTo>
                <a:moveTo>
                  <a:pt x="1015" y="207"/>
                </a:moveTo>
                <a:cubicBezTo>
                  <a:pt x="988" y="188"/>
                  <a:pt x="959" y="170"/>
                  <a:pt x="930" y="154"/>
                </a:cubicBezTo>
                <a:lnTo>
                  <a:pt x="943" y="132"/>
                </a:lnTo>
                <a:cubicBezTo>
                  <a:pt x="972" y="148"/>
                  <a:pt x="1002" y="167"/>
                  <a:pt x="1030" y="186"/>
                </a:cubicBezTo>
                <a:lnTo>
                  <a:pt x="1015" y="207"/>
                </a:lnTo>
                <a:moveTo>
                  <a:pt x="1170" y="334"/>
                </a:moveTo>
                <a:cubicBezTo>
                  <a:pt x="1146" y="311"/>
                  <a:pt x="1121" y="288"/>
                  <a:pt x="1096" y="267"/>
                </a:cubicBezTo>
                <a:lnTo>
                  <a:pt x="1111" y="248"/>
                </a:lnTo>
                <a:cubicBezTo>
                  <a:pt x="1138" y="269"/>
                  <a:pt x="1163" y="292"/>
                  <a:pt x="1188" y="315"/>
                </a:cubicBezTo>
                <a:lnTo>
                  <a:pt x="1170" y="334"/>
                </a:lnTo>
                <a:moveTo>
                  <a:pt x="1303" y="484"/>
                </a:moveTo>
                <a:cubicBezTo>
                  <a:pt x="1283" y="457"/>
                  <a:pt x="1261" y="431"/>
                  <a:pt x="1239" y="406"/>
                </a:cubicBezTo>
                <a:lnTo>
                  <a:pt x="1259" y="390"/>
                </a:lnTo>
                <a:cubicBezTo>
                  <a:pt x="1281" y="415"/>
                  <a:pt x="1302" y="441"/>
                  <a:pt x="1323" y="468"/>
                </a:cubicBezTo>
                <a:lnTo>
                  <a:pt x="1303" y="484"/>
                </a:lnTo>
                <a:moveTo>
                  <a:pt x="1414" y="652"/>
                </a:moveTo>
                <a:cubicBezTo>
                  <a:pt x="1397" y="622"/>
                  <a:pt x="1380" y="593"/>
                  <a:pt x="1361" y="566"/>
                </a:cubicBezTo>
                <a:lnTo>
                  <a:pt x="1382" y="552"/>
                </a:lnTo>
                <a:cubicBezTo>
                  <a:pt x="1401" y="580"/>
                  <a:pt x="1419" y="610"/>
                  <a:pt x="1436" y="639"/>
                </a:cubicBezTo>
                <a:lnTo>
                  <a:pt x="1414" y="652"/>
                </a:lnTo>
                <a:moveTo>
                  <a:pt x="1502" y="833"/>
                </a:moveTo>
                <a:cubicBezTo>
                  <a:pt x="1490" y="805"/>
                  <a:pt x="1479" y="778"/>
                  <a:pt x="1466" y="752"/>
                </a:cubicBezTo>
                <a:lnTo>
                  <a:pt x="1461" y="741"/>
                </a:lnTo>
                <a:lnTo>
                  <a:pt x="1483" y="729"/>
                </a:lnTo>
                <a:lnTo>
                  <a:pt x="1489" y="741"/>
                </a:lnTo>
                <a:cubicBezTo>
                  <a:pt x="1502" y="768"/>
                  <a:pt x="1514" y="795"/>
                  <a:pt x="1525" y="823"/>
                </a:cubicBezTo>
                <a:lnTo>
                  <a:pt x="1502" y="833"/>
                </a:lnTo>
                <a:moveTo>
                  <a:pt x="1583" y="1019"/>
                </a:moveTo>
                <a:cubicBezTo>
                  <a:pt x="1567" y="985"/>
                  <a:pt x="1552" y="951"/>
                  <a:pt x="1542" y="926"/>
                </a:cubicBezTo>
                <a:lnTo>
                  <a:pt x="1565" y="916"/>
                </a:lnTo>
                <a:cubicBezTo>
                  <a:pt x="1576" y="941"/>
                  <a:pt x="1590" y="975"/>
                  <a:pt x="1606" y="1008"/>
                </a:cubicBezTo>
                <a:lnTo>
                  <a:pt x="1583" y="1019"/>
                </a:lnTo>
                <a:moveTo>
                  <a:pt x="1686" y="1196"/>
                </a:moveTo>
                <a:cubicBezTo>
                  <a:pt x="1668" y="1173"/>
                  <a:pt x="1651" y="1147"/>
                  <a:pt x="1636" y="1120"/>
                </a:cubicBezTo>
                <a:cubicBezTo>
                  <a:pt x="1634" y="1117"/>
                  <a:pt x="1632" y="1113"/>
                  <a:pt x="1629" y="1110"/>
                </a:cubicBezTo>
                <a:lnTo>
                  <a:pt x="1652" y="1097"/>
                </a:lnTo>
                <a:cubicBezTo>
                  <a:pt x="1653" y="1101"/>
                  <a:pt x="1656" y="1104"/>
                  <a:pt x="1657" y="1108"/>
                </a:cubicBezTo>
                <a:cubicBezTo>
                  <a:pt x="1673" y="1133"/>
                  <a:pt x="1689" y="1158"/>
                  <a:pt x="1706" y="1181"/>
                </a:cubicBezTo>
                <a:lnTo>
                  <a:pt x="1686" y="1196"/>
                </a:lnTo>
                <a:moveTo>
                  <a:pt x="2718" y="1239"/>
                </a:moveTo>
                <a:lnTo>
                  <a:pt x="2715" y="1214"/>
                </a:lnTo>
                <a:cubicBezTo>
                  <a:pt x="2734" y="1212"/>
                  <a:pt x="2753" y="1210"/>
                  <a:pt x="2772" y="1211"/>
                </a:cubicBezTo>
                <a:cubicBezTo>
                  <a:pt x="2780" y="1211"/>
                  <a:pt x="2790" y="1211"/>
                  <a:pt x="2798" y="1212"/>
                </a:cubicBezTo>
                <a:cubicBezTo>
                  <a:pt x="2805" y="1212"/>
                  <a:pt x="2812" y="1212"/>
                  <a:pt x="2819" y="1213"/>
                </a:cubicBezTo>
                <a:lnTo>
                  <a:pt x="2816" y="1238"/>
                </a:lnTo>
                <a:cubicBezTo>
                  <a:pt x="2810" y="1237"/>
                  <a:pt x="2804" y="1237"/>
                  <a:pt x="2797" y="1236"/>
                </a:cubicBezTo>
                <a:cubicBezTo>
                  <a:pt x="2788" y="1236"/>
                  <a:pt x="2780" y="1236"/>
                  <a:pt x="2771" y="1236"/>
                </a:cubicBezTo>
                <a:cubicBezTo>
                  <a:pt x="2754" y="1236"/>
                  <a:pt x="2736" y="1237"/>
                  <a:pt x="2718" y="1239"/>
                </a:cubicBezTo>
                <a:moveTo>
                  <a:pt x="2524" y="1285"/>
                </a:moveTo>
                <a:lnTo>
                  <a:pt x="2515" y="1261"/>
                </a:lnTo>
                <a:cubicBezTo>
                  <a:pt x="2552" y="1249"/>
                  <a:pt x="2584" y="1240"/>
                  <a:pt x="2614" y="1232"/>
                </a:cubicBezTo>
                <a:lnTo>
                  <a:pt x="2620" y="1257"/>
                </a:lnTo>
                <a:cubicBezTo>
                  <a:pt x="2591" y="1264"/>
                  <a:pt x="2559" y="1273"/>
                  <a:pt x="2524" y="1285"/>
                </a:cubicBezTo>
                <a:moveTo>
                  <a:pt x="2996" y="1310"/>
                </a:moveTo>
                <a:cubicBezTo>
                  <a:pt x="2971" y="1290"/>
                  <a:pt x="2943" y="1274"/>
                  <a:pt x="2911" y="1262"/>
                </a:cubicBezTo>
                <a:lnTo>
                  <a:pt x="2920" y="1238"/>
                </a:lnTo>
                <a:cubicBezTo>
                  <a:pt x="2953" y="1251"/>
                  <a:pt x="2985" y="1268"/>
                  <a:pt x="3012" y="1289"/>
                </a:cubicBezTo>
                <a:lnTo>
                  <a:pt x="2996" y="1310"/>
                </a:lnTo>
                <a:moveTo>
                  <a:pt x="1834" y="1339"/>
                </a:moveTo>
                <a:cubicBezTo>
                  <a:pt x="1806" y="1320"/>
                  <a:pt x="1779" y="1299"/>
                  <a:pt x="1754" y="1274"/>
                </a:cubicBezTo>
                <a:lnTo>
                  <a:pt x="1771" y="1256"/>
                </a:lnTo>
                <a:cubicBezTo>
                  <a:pt x="1796" y="1279"/>
                  <a:pt x="1822" y="1300"/>
                  <a:pt x="1848" y="1317"/>
                </a:cubicBezTo>
                <a:lnTo>
                  <a:pt x="1834" y="1339"/>
                </a:lnTo>
                <a:moveTo>
                  <a:pt x="2333" y="1354"/>
                </a:moveTo>
                <a:lnTo>
                  <a:pt x="2325" y="1330"/>
                </a:lnTo>
                <a:cubicBezTo>
                  <a:pt x="2339" y="1325"/>
                  <a:pt x="2354" y="1320"/>
                  <a:pt x="2368" y="1314"/>
                </a:cubicBezTo>
                <a:cubicBezTo>
                  <a:pt x="2385" y="1308"/>
                  <a:pt x="2402" y="1302"/>
                  <a:pt x="2419" y="1296"/>
                </a:cubicBezTo>
                <a:lnTo>
                  <a:pt x="2428" y="1319"/>
                </a:lnTo>
                <a:cubicBezTo>
                  <a:pt x="2411" y="1326"/>
                  <a:pt x="2394" y="1332"/>
                  <a:pt x="2377" y="1338"/>
                </a:cubicBezTo>
                <a:cubicBezTo>
                  <a:pt x="2362" y="1344"/>
                  <a:pt x="2348" y="1348"/>
                  <a:pt x="2333" y="1354"/>
                </a:cubicBezTo>
                <a:moveTo>
                  <a:pt x="2134" y="1402"/>
                </a:moveTo>
                <a:lnTo>
                  <a:pt x="2131" y="1377"/>
                </a:lnTo>
                <a:cubicBezTo>
                  <a:pt x="2162" y="1373"/>
                  <a:pt x="2194" y="1367"/>
                  <a:pt x="2229" y="1358"/>
                </a:cubicBezTo>
                <a:lnTo>
                  <a:pt x="2235" y="1383"/>
                </a:lnTo>
                <a:cubicBezTo>
                  <a:pt x="2199" y="1392"/>
                  <a:pt x="2166" y="1398"/>
                  <a:pt x="2134" y="1402"/>
                </a:cubicBezTo>
                <a:moveTo>
                  <a:pt x="2030" y="1405"/>
                </a:moveTo>
                <a:cubicBezTo>
                  <a:pt x="1999" y="1402"/>
                  <a:pt x="1968" y="1396"/>
                  <a:pt x="1939" y="1388"/>
                </a:cubicBezTo>
                <a:cubicBezTo>
                  <a:pt x="1935" y="1386"/>
                  <a:pt x="1932" y="1386"/>
                  <a:pt x="1928" y="1384"/>
                </a:cubicBezTo>
                <a:lnTo>
                  <a:pt x="1936" y="1360"/>
                </a:lnTo>
                <a:cubicBezTo>
                  <a:pt x="1940" y="1362"/>
                  <a:pt x="1943" y="1362"/>
                  <a:pt x="1947" y="1364"/>
                </a:cubicBezTo>
                <a:cubicBezTo>
                  <a:pt x="1973" y="1372"/>
                  <a:pt x="2003" y="1377"/>
                  <a:pt x="2032" y="1379"/>
                </a:cubicBezTo>
                <a:lnTo>
                  <a:pt x="2030" y="1405"/>
                </a:lnTo>
                <a:moveTo>
                  <a:pt x="3096" y="1468"/>
                </a:moveTo>
                <a:cubicBezTo>
                  <a:pt x="3092" y="1437"/>
                  <a:pt x="3080" y="1407"/>
                  <a:pt x="3062" y="1379"/>
                </a:cubicBezTo>
                <a:lnTo>
                  <a:pt x="3084" y="1365"/>
                </a:lnTo>
                <a:cubicBezTo>
                  <a:pt x="3104" y="1396"/>
                  <a:pt x="3117" y="1430"/>
                  <a:pt x="3120" y="1465"/>
                </a:cubicBezTo>
                <a:lnTo>
                  <a:pt x="3096" y="14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4"/>
          <p:cNvGrpSpPr/>
          <p:nvPr/>
        </p:nvGrpSpPr>
        <p:grpSpPr>
          <a:xfrm flipH="1">
            <a:off x="11136753" y="285776"/>
            <a:ext cx="675580" cy="976104"/>
            <a:chOff x="687960" y="2987640"/>
            <a:chExt cx="340560" cy="492120"/>
          </a:xfrm>
        </p:grpSpPr>
        <p:sp>
          <p:nvSpPr>
            <p:cNvPr id="56" name="Google Shape;56;p4"/>
            <p:cNvSpPr/>
            <p:nvPr/>
          </p:nvSpPr>
          <p:spPr>
            <a:xfrm>
              <a:off x="687960" y="2987640"/>
              <a:ext cx="340560" cy="492120"/>
            </a:xfrm>
            <a:custGeom>
              <a:avLst/>
              <a:gdLst/>
              <a:ahLst/>
              <a:cxnLst/>
              <a:rect l="l" t="t" r="r" b="b"/>
              <a:pathLst>
                <a:path w="946" h="1367" extrusionOk="0">
                  <a:moveTo>
                    <a:pt x="946" y="1187"/>
                  </a:moveTo>
                  <a:cubicBezTo>
                    <a:pt x="947" y="1187"/>
                    <a:pt x="943" y="1189"/>
                    <a:pt x="936" y="1191"/>
                  </a:cubicBezTo>
                  <a:cubicBezTo>
                    <a:pt x="853" y="1219"/>
                    <a:pt x="298" y="1367"/>
                    <a:pt x="298" y="1367"/>
                  </a:cubicBezTo>
                  <a:cubicBezTo>
                    <a:pt x="-110" y="885"/>
                    <a:pt x="20" y="0"/>
                    <a:pt x="20" y="0"/>
                  </a:cubicBezTo>
                  <a:cubicBezTo>
                    <a:pt x="20" y="0"/>
                    <a:pt x="29" y="1"/>
                    <a:pt x="46" y="4"/>
                  </a:cubicBezTo>
                  <a:cubicBezTo>
                    <a:pt x="166" y="24"/>
                    <a:pt x="644" y="108"/>
                    <a:pt x="789" y="171"/>
                  </a:cubicBezTo>
                  <a:cubicBezTo>
                    <a:pt x="721" y="571"/>
                    <a:pt x="933" y="1182"/>
                    <a:pt x="946" y="118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" name="Google Shape;57;p4"/>
            <p:cNvSpPr/>
            <p:nvPr/>
          </p:nvSpPr>
          <p:spPr>
            <a:xfrm>
              <a:off x="734760" y="3058920"/>
              <a:ext cx="190080" cy="36720"/>
            </a:xfrm>
            <a:custGeom>
              <a:avLst/>
              <a:gdLst/>
              <a:ahLst/>
              <a:cxnLst/>
              <a:rect l="l" t="t" r="r" b="b"/>
              <a:pathLst>
                <a:path w="528" h="102" extrusionOk="0">
                  <a:moveTo>
                    <a:pt x="525" y="102"/>
                  </a:moveTo>
                  <a:lnTo>
                    <a:pt x="0" y="18"/>
                  </a:lnTo>
                  <a:lnTo>
                    <a:pt x="3" y="0"/>
                  </a:lnTo>
                  <a:lnTo>
                    <a:pt x="528" y="84"/>
                  </a:lnTo>
                  <a:lnTo>
                    <a:pt x="525" y="10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58;p4"/>
            <p:cNvSpPr/>
            <p:nvPr/>
          </p:nvSpPr>
          <p:spPr>
            <a:xfrm>
              <a:off x="734760" y="3101760"/>
              <a:ext cx="190080" cy="37440"/>
            </a:xfrm>
            <a:custGeom>
              <a:avLst/>
              <a:gdLst/>
              <a:ahLst/>
              <a:cxnLst/>
              <a:rect l="l" t="t" r="r" b="b"/>
              <a:pathLst>
                <a:path w="528" h="104" extrusionOk="0">
                  <a:moveTo>
                    <a:pt x="525" y="104"/>
                  </a:moveTo>
                  <a:lnTo>
                    <a:pt x="0" y="19"/>
                  </a:lnTo>
                  <a:lnTo>
                    <a:pt x="3" y="0"/>
                  </a:lnTo>
                  <a:lnTo>
                    <a:pt x="528" y="85"/>
                  </a:lnTo>
                  <a:lnTo>
                    <a:pt x="525" y="10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59;p4"/>
            <p:cNvSpPr/>
            <p:nvPr/>
          </p:nvSpPr>
          <p:spPr>
            <a:xfrm>
              <a:off x="734400" y="3158640"/>
              <a:ext cx="191160" cy="16920"/>
            </a:xfrm>
            <a:custGeom>
              <a:avLst/>
              <a:gdLst/>
              <a:ahLst/>
              <a:cxnLst/>
              <a:rect l="l" t="t" r="r" b="b"/>
              <a:pathLst>
                <a:path w="531" h="47" extrusionOk="0">
                  <a:moveTo>
                    <a:pt x="529" y="47"/>
                  </a:moveTo>
                  <a:lnTo>
                    <a:pt x="0" y="20"/>
                  </a:lnTo>
                  <a:lnTo>
                    <a:pt x="1" y="0"/>
                  </a:lnTo>
                  <a:lnTo>
                    <a:pt x="531" y="29"/>
                  </a:lnTo>
                  <a:lnTo>
                    <a:pt x="529" y="47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60;p4"/>
            <p:cNvSpPr/>
            <p:nvPr/>
          </p:nvSpPr>
          <p:spPr>
            <a:xfrm>
              <a:off x="740880" y="3204000"/>
              <a:ext cx="190800" cy="21960"/>
            </a:xfrm>
            <a:custGeom>
              <a:avLst/>
              <a:gdLst/>
              <a:ahLst/>
              <a:cxnLst/>
              <a:rect l="l" t="t" r="r" b="b"/>
              <a:pathLst>
                <a:path w="530" h="61" extrusionOk="0">
                  <a:moveTo>
                    <a:pt x="1" y="61"/>
                  </a:moveTo>
                  <a:lnTo>
                    <a:pt x="0" y="43"/>
                  </a:lnTo>
                  <a:lnTo>
                    <a:pt x="528" y="0"/>
                  </a:lnTo>
                  <a:lnTo>
                    <a:pt x="530" y="19"/>
                  </a:lnTo>
                  <a:lnTo>
                    <a:pt x="1" y="6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61;p4"/>
            <p:cNvSpPr/>
            <p:nvPr/>
          </p:nvSpPr>
          <p:spPr>
            <a:xfrm>
              <a:off x="749160" y="3236760"/>
              <a:ext cx="189720" cy="36720"/>
            </a:xfrm>
            <a:custGeom>
              <a:avLst/>
              <a:gdLst/>
              <a:ahLst/>
              <a:cxnLst/>
              <a:rect l="l" t="t" r="r" b="b"/>
              <a:pathLst>
                <a:path w="527" h="102" extrusionOk="0">
                  <a:moveTo>
                    <a:pt x="2" y="102"/>
                  </a:moveTo>
                  <a:lnTo>
                    <a:pt x="0" y="83"/>
                  </a:lnTo>
                  <a:lnTo>
                    <a:pt x="524" y="0"/>
                  </a:lnTo>
                  <a:lnTo>
                    <a:pt x="527" y="18"/>
                  </a:lnTo>
                  <a:lnTo>
                    <a:pt x="2" y="10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2" name="Google Shape;62;p4"/>
          <p:cNvSpPr/>
          <p:nvPr/>
        </p:nvSpPr>
        <p:spPr>
          <a:xfrm rot="-2327713">
            <a:off x="-27600" y="5710799"/>
            <a:ext cx="522264" cy="1211400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4"/>
          <p:cNvSpPr/>
          <p:nvPr/>
        </p:nvSpPr>
        <p:spPr>
          <a:xfrm>
            <a:off x="816533" y="6312865"/>
            <a:ext cx="382784" cy="3834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4"/>
          <p:cNvSpPr/>
          <p:nvPr/>
        </p:nvSpPr>
        <p:spPr>
          <a:xfrm>
            <a:off x="402445" y="5526467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4"/>
          <p:cNvSpPr/>
          <p:nvPr/>
        </p:nvSpPr>
        <p:spPr>
          <a:xfrm rot="4372979">
            <a:off x="1831669" y="-555766"/>
            <a:ext cx="522263" cy="1211396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4"/>
          <p:cNvSpPr/>
          <p:nvPr/>
        </p:nvSpPr>
        <p:spPr>
          <a:xfrm>
            <a:off x="626312" y="244816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4"/>
          <p:cNvSpPr/>
          <p:nvPr/>
        </p:nvSpPr>
        <p:spPr>
          <a:xfrm>
            <a:off x="11812330" y="6138665"/>
            <a:ext cx="213001" cy="213337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68;p4"/>
          <p:cNvSpPr/>
          <p:nvPr/>
        </p:nvSpPr>
        <p:spPr>
          <a:xfrm>
            <a:off x="9812538" y="285767"/>
            <a:ext cx="142100" cy="142301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69;p4"/>
          <p:cNvSpPr/>
          <p:nvPr/>
        </p:nvSpPr>
        <p:spPr>
          <a:xfrm rot="-6783758">
            <a:off x="11422269" y="6184698"/>
            <a:ext cx="522263" cy="1211396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91100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bg>
      <p:bgPr>
        <a:solidFill>
          <a:schemeClr val="dk2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6"/>
          <p:cNvSpPr txBox="1">
            <a:spLocks noGrp="1"/>
          </p:cNvSpPr>
          <p:nvPr>
            <p:ph type="title"/>
          </p:nvPr>
        </p:nvSpPr>
        <p:spPr>
          <a:xfrm>
            <a:off x="950800" y="707257"/>
            <a:ext cx="102904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6"/>
          <p:cNvSpPr/>
          <p:nvPr/>
        </p:nvSpPr>
        <p:spPr>
          <a:xfrm rot="10800000">
            <a:off x="10203885" y="1"/>
            <a:ext cx="2074633" cy="976132"/>
          </a:xfrm>
          <a:custGeom>
            <a:avLst/>
            <a:gdLst/>
            <a:ahLst/>
            <a:cxnLst/>
            <a:rect l="l" t="t" r="r" b="b"/>
            <a:pathLst>
              <a:path w="3120" h="1468" extrusionOk="0">
                <a:moveTo>
                  <a:pt x="353" y="30"/>
                </a:moveTo>
                <a:lnTo>
                  <a:pt x="350" y="5"/>
                </a:lnTo>
                <a:cubicBezTo>
                  <a:pt x="380" y="2"/>
                  <a:pt x="412" y="0"/>
                  <a:pt x="444" y="0"/>
                </a:cubicBezTo>
                <a:lnTo>
                  <a:pt x="453" y="0"/>
                </a:lnTo>
                <a:lnTo>
                  <a:pt x="452" y="26"/>
                </a:lnTo>
                <a:lnTo>
                  <a:pt x="444" y="26"/>
                </a:lnTo>
                <a:cubicBezTo>
                  <a:pt x="414" y="26"/>
                  <a:pt x="383" y="27"/>
                  <a:pt x="353" y="30"/>
                </a:cubicBezTo>
                <a:moveTo>
                  <a:pt x="651" y="48"/>
                </a:moveTo>
                <a:cubicBezTo>
                  <a:pt x="618" y="40"/>
                  <a:pt x="585" y="35"/>
                  <a:pt x="552" y="31"/>
                </a:cubicBezTo>
                <a:lnTo>
                  <a:pt x="554" y="6"/>
                </a:lnTo>
                <a:cubicBezTo>
                  <a:pt x="589" y="10"/>
                  <a:pt x="623" y="16"/>
                  <a:pt x="656" y="23"/>
                </a:cubicBezTo>
                <a:lnTo>
                  <a:pt x="651" y="48"/>
                </a:lnTo>
                <a:moveTo>
                  <a:pt x="158" y="73"/>
                </a:moveTo>
                <a:lnTo>
                  <a:pt x="150" y="49"/>
                </a:lnTo>
                <a:cubicBezTo>
                  <a:pt x="182" y="38"/>
                  <a:pt x="215" y="29"/>
                  <a:pt x="248" y="21"/>
                </a:cubicBezTo>
                <a:lnTo>
                  <a:pt x="254" y="46"/>
                </a:lnTo>
                <a:cubicBezTo>
                  <a:pt x="221" y="53"/>
                  <a:pt x="189" y="62"/>
                  <a:pt x="158" y="73"/>
                </a:cubicBezTo>
                <a:moveTo>
                  <a:pt x="841" y="109"/>
                </a:moveTo>
                <a:cubicBezTo>
                  <a:pt x="810" y="96"/>
                  <a:pt x="779" y="84"/>
                  <a:pt x="747" y="74"/>
                </a:cubicBezTo>
                <a:lnTo>
                  <a:pt x="755" y="50"/>
                </a:lnTo>
                <a:cubicBezTo>
                  <a:pt x="787" y="61"/>
                  <a:pt x="820" y="72"/>
                  <a:pt x="851" y="86"/>
                </a:cubicBezTo>
                <a:lnTo>
                  <a:pt x="841" y="109"/>
                </a:lnTo>
                <a:moveTo>
                  <a:pt x="1" y="188"/>
                </a:moveTo>
                <a:cubicBezTo>
                  <a:pt x="0" y="183"/>
                  <a:pt x="0" y="179"/>
                  <a:pt x="0" y="176"/>
                </a:cubicBezTo>
                <a:cubicBezTo>
                  <a:pt x="0" y="145"/>
                  <a:pt x="19" y="116"/>
                  <a:pt x="55" y="92"/>
                </a:cubicBezTo>
                <a:lnTo>
                  <a:pt x="69" y="113"/>
                </a:lnTo>
                <a:cubicBezTo>
                  <a:pt x="49" y="127"/>
                  <a:pt x="25" y="148"/>
                  <a:pt x="25" y="176"/>
                </a:cubicBezTo>
                <a:cubicBezTo>
                  <a:pt x="25" y="178"/>
                  <a:pt x="26" y="181"/>
                  <a:pt x="26" y="183"/>
                </a:cubicBezTo>
                <a:lnTo>
                  <a:pt x="1" y="188"/>
                </a:lnTo>
                <a:moveTo>
                  <a:pt x="1015" y="207"/>
                </a:moveTo>
                <a:cubicBezTo>
                  <a:pt x="988" y="188"/>
                  <a:pt x="959" y="170"/>
                  <a:pt x="930" y="154"/>
                </a:cubicBezTo>
                <a:lnTo>
                  <a:pt x="943" y="132"/>
                </a:lnTo>
                <a:cubicBezTo>
                  <a:pt x="972" y="148"/>
                  <a:pt x="1002" y="167"/>
                  <a:pt x="1030" y="186"/>
                </a:cubicBezTo>
                <a:lnTo>
                  <a:pt x="1015" y="207"/>
                </a:lnTo>
                <a:moveTo>
                  <a:pt x="1170" y="334"/>
                </a:moveTo>
                <a:cubicBezTo>
                  <a:pt x="1146" y="311"/>
                  <a:pt x="1121" y="288"/>
                  <a:pt x="1096" y="267"/>
                </a:cubicBezTo>
                <a:lnTo>
                  <a:pt x="1111" y="248"/>
                </a:lnTo>
                <a:cubicBezTo>
                  <a:pt x="1138" y="269"/>
                  <a:pt x="1163" y="292"/>
                  <a:pt x="1188" y="315"/>
                </a:cubicBezTo>
                <a:lnTo>
                  <a:pt x="1170" y="334"/>
                </a:lnTo>
                <a:moveTo>
                  <a:pt x="1303" y="484"/>
                </a:moveTo>
                <a:cubicBezTo>
                  <a:pt x="1283" y="457"/>
                  <a:pt x="1261" y="431"/>
                  <a:pt x="1239" y="406"/>
                </a:cubicBezTo>
                <a:lnTo>
                  <a:pt x="1259" y="390"/>
                </a:lnTo>
                <a:cubicBezTo>
                  <a:pt x="1281" y="415"/>
                  <a:pt x="1302" y="441"/>
                  <a:pt x="1323" y="468"/>
                </a:cubicBezTo>
                <a:lnTo>
                  <a:pt x="1303" y="484"/>
                </a:lnTo>
                <a:moveTo>
                  <a:pt x="1414" y="652"/>
                </a:moveTo>
                <a:cubicBezTo>
                  <a:pt x="1397" y="622"/>
                  <a:pt x="1380" y="593"/>
                  <a:pt x="1361" y="566"/>
                </a:cubicBezTo>
                <a:lnTo>
                  <a:pt x="1382" y="552"/>
                </a:lnTo>
                <a:cubicBezTo>
                  <a:pt x="1401" y="580"/>
                  <a:pt x="1419" y="610"/>
                  <a:pt x="1436" y="639"/>
                </a:cubicBezTo>
                <a:lnTo>
                  <a:pt x="1414" y="652"/>
                </a:lnTo>
                <a:moveTo>
                  <a:pt x="1502" y="833"/>
                </a:moveTo>
                <a:cubicBezTo>
                  <a:pt x="1490" y="805"/>
                  <a:pt x="1479" y="778"/>
                  <a:pt x="1466" y="752"/>
                </a:cubicBezTo>
                <a:lnTo>
                  <a:pt x="1461" y="741"/>
                </a:lnTo>
                <a:lnTo>
                  <a:pt x="1483" y="729"/>
                </a:lnTo>
                <a:lnTo>
                  <a:pt x="1489" y="741"/>
                </a:lnTo>
                <a:cubicBezTo>
                  <a:pt x="1502" y="768"/>
                  <a:pt x="1514" y="795"/>
                  <a:pt x="1525" y="823"/>
                </a:cubicBezTo>
                <a:lnTo>
                  <a:pt x="1502" y="833"/>
                </a:lnTo>
                <a:moveTo>
                  <a:pt x="1583" y="1019"/>
                </a:moveTo>
                <a:cubicBezTo>
                  <a:pt x="1567" y="985"/>
                  <a:pt x="1552" y="951"/>
                  <a:pt x="1542" y="926"/>
                </a:cubicBezTo>
                <a:lnTo>
                  <a:pt x="1565" y="916"/>
                </a:lnTo>
                <a:cubicBezTo>
                  <a:pt x="1576" y="941"/>
                  <a:pt x="1590" y="975"/>
                  <a:pt x="1606" y="1008"/>
                </a:cubicBezTo>
                <a:lnTo>
                  <a:pt x="1583" y="1019"/>
                </a:lnTo>
                <a:moveTo>
                  <a:pt x="1686" y="1196"/>
                </a:moveTo>
                <a:cubicBezTo>
                  <a:pt x="1668" y="1173"/>
                  <a:pt x="1651" y="1147"/>
                  <a:pt x="1636" y="1120"/>
                </a:cubicBezTo>
                <a:cubicBezTo>
                  <a:pt x="1634" y="1117"/>
                  <a:pt x="1632" y="1113"/>
                  <a:pt x="1629" y="1110"/>
                </a:cubicBezTo>
                <a:lnTo>
                  <a:pt x="1652" y="1097"/>
                </a:lnTo>
                <a:cubicBezTo>
                  <a:pt x="1653" y="1101"/>
                  <a:pt x="1656" y="1104"/>
                  <a:pt x="1657" y="1108"/>
                </a:cubicBezTo>
                <a:cubicBezTo>
                  <a:pt x="1673" y="1133"/>
                  <a:pt x="1689" y="1158"/>
                  <a:pt x="1706" y="1181"/>
                </a:cubicBezTo>
                <a:lnTo>
                  <a:pt x="1686" y="1196"/>
                </a:lnTo>
                <a:moveTo>
                  <a:pt x="2718" y="1239"/>
                </a:moveTo>
                <a:lnTo>
                  <a:pt x="2715" y="1214"/>
                </a:lnTo>
                <a:cubicBezTo>
                  <a:pt x="2734" y="1212"/>
                  <a:pt x="2753" y="1210"/>
                  <a:pt x="2772" y="1211"/>
                </a:cubicBezTo>
                <a:cubicBezTo>
                  <a:pt x="2780" y="1211"/>
                  <a:pt x="2790" y="1211"/>
                  <a:pt x="2798" y="1212"/>
                </a:cubicBezTo>
                <a:cubicBezTo>
                  <a:pt x="2805" y="1212"/>
                  <a:pt x="2812" y="1212"/>
                  <a:pt x="2819" y="1213"/>
                </a:cubicBezTo>
                <a:lnTo>
                  <a:pt x="2816" y="1238"/>
                </a:lnTo>
                <a:cubicBezTo>
                  <a:pt x="2810" y="1237"/>
                  <a:pt x="2804" y="1237"/>
                  <a:pt x="2797" y="1236"/>
                </a:cubicBezTo>
                <a:cubicBezTo>
                  <a:pt x="2788" y="1236"/>
                  <a:pt x="2780" y="1236"/>
                  <a:pt x="2771" y="1236"/>
                </a:cubicBezTo>
                <a:cubicBezTo>
                  <a:pt x="2754" y="1236"/>
                  <a:pt x="2736" y="1237"/>
                  <a:pt x="2718" y="1239"/>
                </a:cubicBezTo>
                <a:moveTo>
                  <a:pt x="2524" y="1285"/>
                </a:moveTo>
                <a:lnTo>
                  <a:pt x="2515" y="1261"/>
                </a:lnTo>
                <a:cubicBezTo>
                  <a:pt x="2552" y="1249"/>
                  <a:pt x="2584" y="1240"/>
                  <a:pt x="2614" y="1232"/>
                </a:cubicBezTo>
                <a:lnTo>
                  <a:pt x="2620" y="1257"/>
                </a:lnTo>
                <a:cubicBezTo>
                  <a:pt x="2591" y="1264"/>
                  <a:pt x="2559" y="1273"/>
                  <a:pt x="2524" y="1285"/>
                </a:cubicBezTo>
                <a:moveTo>
                  <a:pt x="2996" y="1310"/>
                </a:moveTo>
                <a:cubicBezTo>
                  <a:pt x="2971" y="1290"/>
                  <a:pt x="2943" y="1274"/>
                  <a:pt x="2911" y="1262"/>
                </a:cubicBezTo>
                <a:lnTo>
                  <a:pt x="2920" y="1238"/>
                </a:lnTo>
                <a:cubicBezTo>
                  <a:pt x="2953" y="1251"/>
                  <a:pt x="2985" y="1268"/>
                  <a:pt x="3012" y="1289"/>
                </a:cubicBezTo>
                <a:lnTo>
                  <a:pt x="2996" y="1310"/>
                </a:lnTo>
                <a:moveTo>
                  <a:pt x="1834" y="1339"/>
                </a:moveTo>
                <a:cubicBezTo>
                  <a:pt x="1806" y="1320"/>
                  <a:pt x="1779" y="1299"/>
                  <a:pt x="1754" y="1274"/>
                </a:cubicBezTo>
                <a:lnTo>
                  <a:pt x="1771" y="1256"/>
                </a:lnTo>
                <a:cubicBezTo>
                  <a:pt x="1796" y="1279"/>
                  <a:pt x="1822" y="1300"/>
                  <a:pt x="1848" y="1317"/>
                </a:cubicBezTo>
                <a:lnTo>
                  <a:pt x="1834" y="1339"/>
                </a:lnTo>
                <a:moveTo>
                  <a:pt x="2333" y="1354"/>
                </a:moveTo>
                <a:lnTo>
                  <a:pt x="2325" y="1330"/>
                </a:lnTo>
                <a:cubicBezTo>
                  <a:pt x="2339" y="1325"/>
                  <a:pt x="2354" y="1320"/>
                  <a:pt x="2368" y="1314"/>
                </a:cubicBezTo>
                <a:cubicBezTo>
                  <a:pt x="2385" y="1308"/>
                  <a:pt x="2402" y="1302"/>
                  <a:pt x="2419" y="1296"/>
                </a:cubicBezTo>
                <a:lnTo>
                  <a:pt x="2428" y="1319"/>
                </a:lnTo>
                <a:cubicBezTo>
                  <a:pt x="2411" y="1326"/>
                  <a:pt x="2394" y="1332"/>
                  <a:pt x="2377" y="1338"/>
                </a:cubicBezTo>
                <a:cubicBezTo>
                  <a:pt x="2362" y="1344"/>
                  <a:pt x="2348" y="1348"/>
                  <a:pt x="2333" y="1354"/>
                </a:cubicBezTo>
                <a:moveTo>
                  <a:pt x="2134" y="1402"/>
                </a:moveTo>
                <a:lnTo>
                  <a:pt x="2131" y="1377"/>
                </a:lnTo>
                <a:cubicBezTo>
                  <a:pt x="2162" y="1373"/>
                  <a:pt x="2194" y="1367"/>
                  <a:pt x="2229" y="1358"/>
                </a:cubicBezTo>
                <a:lnTo>
                  <a:pt x="2235" y="1383"/>
                </a:lnTo>
                <a:cubicBezTo>
                  <a:pt x="2199" y="1392"/>
                  <a:pt x="2166" y="1398"/>
                  <a:pt x="2134" y="1402"/>
                </a:cubicBezTo>
                <a:moveTo>
                  <a:pt x="2030" y="1405"/>
                </a:moveTo>
                <a:cubicBezTo>
                  <a:pt x="1999" y="1402"/>
                  <a:pt x="1968" y="1396"/>
                  <a:pt x="1939" y="1388"/>
                </a:cubicBezTo>
                <a:cubicBezTo>
                  <a:pt x="1935" y="1386"/>
                  <a:pt x="1932" y="1386"/>
                  <a:pt x="1928" y="1384"/>
                </a:cubicBezTo>
                <a:lnTo>
                  <a:pt x="1936" y="1360"/>
                </a:lnTo>
                <a:cubicBezTo>
                  <a:pt x="1940" y="1362"/>
                  <a:pt x="1943" y="1362"/>
                  <a:pt x="1947" y="1364"/>
                </a:cubicBezTo>
                <a:cubicBezTo>
                  <a:pt x="1973" y="1372"/>
                  <a:pt x="2003" y="1377"/>
                  <a:pt x="2032" y="1379"/>
                </a:cubicBezTo>
                <a:lnTo>
                  <a:pt x="2030" y="1405"/>
                </a:lnTo>
                <a:moveTo>
                  <a:pt x="3096" y="1468"/>
                </a:moveTo>
                <a:cubicBezTo>
                  <a:pt x="3092" y="1437"/>
                  <a:pt x="3080" y="1407"/>
                  <a:pt x="3062" y="1379"/>
                </a:cubicBezTo>
                <a:lnTo>
                  <a:pt x="3084" y="1365"/>
                </a:lnTo>
                <a:cubicBezTo>
                  <a:pt x="3104" y="1396"/>
                  <a:pt x="3117" y="1430"/>
                  <a:pt x="3120" y="1465"/>
                </a:cubicBezTo>
                <a:lnTo>
                  <a:pt x="3096" y="14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5" name="Google Shape;95;p6"/>
          <p:cNvGrpSpPr/>
          <p:nvPr/>
        </p:nvGrpSpPr>
        <p:grpSpPr>
          <a:xfrm flipH="1">
            <a:off x="11136753" y="285776"/>
            <a:ext cx="675580" cy="976104"/>
            <a:chOff x="687960" y="2987640"/>
            <a:chExt cx="340560" cy="492120"/>
          </a:xfrm>
        </p:grpSpPr>
        <p:sp>
          <p:nvSpPr>
            <p:cNvPr id="96" name="Google Shape;96;p6"/>
            <p:cNvSpPr/>
            <p:nvPr/>
          </p:nvSpPr>
          <p:spPr>
            <a:xfrm>
              <a:off x="687960" y="2987640"/>
              <a:ext cx="340560" cy="492120"/>
            </a:xfrm>
            <a:custGeom>
              <a:avLst/>
              <a:gdLst/>
              <a:ahLst/>
              <a:cxnLst/>
              <a:rect l="l" t="t" r="r" b="b"/>
              <a:pathLst>
                <a:path w="946" h="1367" extrusionOk="0">
                  <a:moveTo>
                    <a:pt x="946" y="1187"/>
                  </a:moveTo>
                  <a:cubicBezTo>
                    <a:pt x="947" y="1187"/>
                    <a:pt x="943" y="1189"/>
                    <a:pt x="936" y="1191"/>
                  </a:cubicBezTo>
                  <a:cubicBezTo>
                    <a:pt x="853" y="1219"/>
                    <a:pt x="298" y="1367"/>
                    <a:pt x="298" y="1367"/>
                  </a:cubicBezTo>
                  <a:cubicBezTo>
                    <a:pt x="-110" y="885"/>
                    <a:pt x="20" y="0"/>
                    <a:pt x="20" y="0"/>
                  </a:cubicBezTo>
                  <a:cubicBezTo>
                    <a:pt x="20" y="0"/>
                    <a:pt x="29" y="1"/>
                    <a:pt x="46" y="4"/>
                  </a:cubicBezTo>
                  <a:cubicBezTo>
                    <a:pt x="166" y="24"/>
                    <a:pt x="644" y="108"/>
                    <a:pt x="789" y="171"/>
                  </a:cubicBezTo>
                  <a:cubicBezTo>
                    <a:pt x="721" y="571"/>
                    <a:pt x="933" y="1182"/>
                    <a:pt x="946" y="118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97;p6"/>
            <p:cNvSpPr/>
            <p:nvPr/>
          </p:nvSpPr>
          <p:spPr>
            <a:xfrm>
              <a:off x="734760" y="3058920"/>
              <a:ext cx="190080" cy="36720"/>
            </a:xfrm>
            <a:custGeom>
              <a:avLst/>
              <a:gdLst/>
              <a:ahLst/>
              <a:cxnLst/>
              <a:rect l="l" t="t" r="r" b="b"/>
              <a:pathLst>
                <a:path w="528" h="102" extrusionOk="0">
                  <a:moveTo>
                    <a:pt x="525" y="102"/>
                  </a:moveTo>
                  <a:lnTo>
                    <a:pt x="0" y="18"/>
                  </a:lnTo>
                  <a:lnTo>
                    <a:pt x="3" y="0"/>
                  </a:lnTo>
                  <a:lnTo>
                    <a:pt x="528" y="84"/>
                  </a:lnTo>
                  <a:lnTo>
                    <a:pt x="525" y="10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98;p6"/>
            <p:cNvSpPr/>
            <p:nvPr/>
          </p:nvSpPr>
          <p:spPr>
            <a:xfrm>
              <a:off x="734760" y="3101760"/>
              <a:ext cx="190080" cy="37440"/>
            </a:xfrm>
            <a:custGeom>
              <a:avLst/>
              <a:gdLst/>
              <a:ahLst/>
              <a:cxnLst/>
              <a:rect l="l" t="t" r="r" b="b"/>
              <a:pathLst>
                <a:path w="528" h="104" extrusionOk="0">
                  <a:moveTo>
                    <a:pt x="525" y="104"/>
                  </a:moveTo>
                  <a:lnTo>
                    <a:pt x="0" y="19"/>
                  </a:lnTo>
                  <a:lnTo>
                    <a:pt x="3" y="0"/>
                  </a:lnTo>
                  <a:lnTo>
                    <a:pt x="528" y="85"/>
                  </a:lnTo>
                  <a:lnTo>
                    <a:pt x="525" y="10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99;p6"/>
            <p:cNvSpPr/>
            <p:nvPr/>
          </p:nvSpPr>
          <p:spPr>
            <a:xfrm>
              <a:off x="734400" y="3158640"/>
              <a:ext cx="191160" cy="16920"/>
            </a:xfrm>
            <a:custGeom>
              <a:avLst/>
              <a:gdLst/>
              <a:ahLst/>
              <a:cxnLst/>
              <a:rect l="l" t="t" r="r" b="b"/>
              <a:pathLst>
                <a:path w="531" h="47" extrusionOk="0">
                  <a:moveTo>
                    <a:pt x="529" y="47"/>
                  </a:moveTo>
                  <a:lnTo>
                    <a:pt x="0" y="20"/>
                  </a:lnTo>
                  <a:lnTo>
                    <a:pt x="1" y="0"/>
                  </a:lnTo>
                  <a:lnTo>
                    <a:pt x="531" y="29"/>
                  </a:lnTo>
                  <a:lnTo>
                    <a:pt x="529" y="47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00;p6"/>
            <p:cNvSpPr/>
            <p:nvPr/>
          </p:nvSpPr>
          <p:spPr>
            <a:xfrm>
              <a:off x="740880" y="3204000"/>
              <a:ext cx="190800" cy="21960"/>
            </a:xfrm>
            <a:custGeom>
              <a:avLst/>
              <a:gdLst/>
              <a:ahLst/>
              <a:cxnLst/>
              <a:rect l="l" t="t" r="r" b="b"/>
              <a:pathLst>
                <a:path w="530" h="61" extrusionOk="0">
                  <a:moveTo>
                    <a:pt x="1" y="61"/>
                  </a:moveTo>
                  <a:lnTo>
                    <a:pt x="0" y="43"/>
                  </a:lnTo>
                  <a:lnTo>
                    <a:pt x="528" y="0"/>
                  </a:lnTo>
                  <a:lnTo>
                    <a:pt x="530" y="19"/>
                  </a:lnTo>
                  <a:lnTo>
                    <a:pt x="1" y="6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101;p6"/>
            <p:cNvSpPr/>
            <p:nvPr/>
          </p:nvSpPr>
          <p:spPr>
            <a:xfrm>
              <a:off x="749160" y="3236760"/>
              <a:ext cx="189720" cy="36720"/>
            </a:xfrm>
            <a:custGeom>
              <a:avLst/>
              <a:gdLst/>
              <a:ahLst/>
              <a:cxnLst/>
              <a:rect l="l" t="t" r="r" b="b"/>
              <a:pathLst>
                <a:path w="527" h="102" extrusionOk="0">
                  <a:moveTo>
                    <a:pt x="2" y="102"/>
                  </a:moveTo>
                  <a:lnTo>
                    <a:pt x="0" y="83"/>
                  </a:lnTo>
                  <a:lnTo>
                    <a:pt x="524" y="0"/>
                  </a:lnTo>
                  <a:lnTo>
                    <a:pt x="527" y="18"/>
                  </a:lnTo>
                  <a:lnTo>
                    <a:pt x="2" y="10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2" name="Google Shape;102;p6"/>
          <p:cNvSpPr/>
          <p:nvPr/>
        </p:nvSpPr>
        <p:spPr>
          <a:xfrm rot="-2327713">
            <a:off x="-27600" y="5710799"/>
            <a:ext cx="522264" cy="1211400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6"/>
          <p:cNvSpPr/>
          <p:nvPr/>
        </p:nvSpPr>
        <p:spPr>
          <a:xfrm>
            <a:off x="816533" y="6312865"/>
            <a:ext cx="382784" cy="3834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Google Shape;104;p6"/>
          <p:cNvSpPr/>
          <p:nvPr/>
        </p:nvSpPr>
        <p:spPr>
          <a:xfrm>
            <a:off x="402445" y="5526467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p6"/>
          <p:cNvSpPr/>
          <p:nvPr/>
        </p:nvSpPr>
        <p:spPr>
          <a:xfrm rot="4372979">
            <a:off x="851669" y="-555766"/>
            <a:ext cx="522263" cy="1211396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6"/>
          <p:cNvSpPr/>
          <p:nvPr/>
        </p:nvSpPr>
        <p:spPr>
          <a:xfrm>
            <a:off x="233212" y="477767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6"/>
          <p:cNvSpPr/>
          <p:nvPr/>
        </p:nvSpPr>
        <p:spPr>
          <a:xfrm>
            <a:off x="11812330" y="6138665"/>
            <a:ext cx="213001" cy="213337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108;p6"/>
          <p:cNvSpPr/>
          <p:nvPr/>
        </p:nvSpPr>
        <p:spPr>
          <a:xfrm>
            <a:off x="9812538" y="285767"/>
            <a:ext cx="142100" cy="142301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6"/>
          <p:cNvSpPr/>
          <p:nvPr/>
        </p:nvSpPr>
        <p:spPr>
          <a:xfrm rot="-6783758">
            <a:off x="11422269" y="6184698"/>
            <a:ext cx="522263" cy="1211396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8954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Numbers and text">
    <p:bg>
      <p:bgPr>
        <a:solidFill>
          <a:schemeClr val="dk2"/>
        </a:solidFill>
        <a:effectLst/>
      </p:bgPr>
    </p:bg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Google Shape;493;p26"/>
          <p:cNvSpPr txBox="1">
            <a:spLocks noGrp="1"/>
          </p:cNvSpPr>
          <p:nvPr>
            <p:ph type="title" hasCustomPrompt="1"/>
          </p:nvPr>
        </p:nvSpPr>
        <p:spPr>
          <a:xfrm>
            <a:off x="2632199" y="719333"/>
            <a:ext cx="6927600" cy="110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9pPr>
          </a:lstStyle>
          <a:p>
            <a:r>
              <a:t>xx%</a:t>
            </a:r>
          </a:p>
        </p:txBody>
      </p:sp>
      <p:sp>
        <p:nvSpPr>
          <p:cNvPr id="494" name="Google Shape;494;p26"/>
          <p:cNvSpPr txBox="1">
            <a:spLocks noGrp="1"/>
          </p:cNvSpPr>
          <p:nvPr>
            <p:ph type="subTitle" idx="1"/>
          </p:nvPr>
        </p:nvSpPr>
        <p:spPr>
          <a:xfrm>
            <a:off x="2632201" y="1882752"/>
            <a:ext cx="6927600" cy="50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  <p:sp>
        <p:nvSpPr>
          <p:cNvPr id="495" name="Google Shape;495;p26"/>
          <p:cNvSpPr txBox="1">
            <a:spLocks noGrp="1"/>
          </p:cNvSpPr>
          <p:nvPr>
            <p:ph type="title" idx="2" hasCustomPrompt="1"/>
          </p:nvPr>
        </p:nvSpPr>
        <p:spPr>
          <a:xfrm>
            <a:off x="2632199" y="2592492"/>
            <a:ext cx="6927600" cy="110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9pPr>
          </a:lstStyle>
          <a:p>
            <a:r>
              <a:t>xx%</a:t>
            </a:r>
          </a:p>
        </p:txBody>
      </p:sp>
      <p:sp>
        <p:nvSpPr>
          <p:cNvPr id="496" name="Google Shape;496;p26"/>
          <p:cNvSpPr txBox="1">
            <a:spLocks noGrp="1"/>
          </p:cNvSpPr>
          <p:nvPr>
            <p:ph type="subTitle" idx="3"/>
          </p:nvPr>
        </p:nvSpPr>
        <p:spPr>
          <a:xfrm>
            <a:off x="2632201" y="3755911"/>
            <a:ext cx="6927600" cy="50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  <p:sp>
        <p:nvSpPr>
          <p:cNvPr id="497" name="Google Shape;497;p26"/>
          <p:cNvSpPr txBox="1">
            <a:spLocks noGrp="1"/>
          </p:cNvSpPr>
          <p:nvPr>
            <p:ph type="title" idx="4" hasCustomPrompt="1"/>
          </p:nvPr>
        </p:nvSpPr>
        <p:spPr>
          <a:xfrm>
            <a:off x="2632199" y="4465651"/>
            <a:ext cx="6927600" cy="110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600"/>
              <a:buNone/>
              <a:defRPr sz="7466"/>
            </a:lvl9pPr>
          </a:lstStyle>
          <a:p>
            <a:r>
              <a:t>xx%</a:t>
            </a:r>
          </a:p>
        </p:txBody>
      </p:sp>
      <p:sp>
        <p:nvSpPr>
          <p:cNvPr id="498" name="Google Shape;498;p26"/>
          <p:cNvSpPr txBox="1">
            <a:spLocks noGrp="1"/>
          </p:cNvSpPr>
          <p:nvPr>
            <p:ph type="subTitle" idx="5"/>
          </p:nvPr>
        </p:nvSpPr>
        <p:spPr>
          <a:xfrm>
            <a:off x="2632201" y="5629069"/>
            <a:ext cx="6927600" cy="50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  <p:sp>
        <p:nvSpPr>
          <p:cNvPr id="499" name="Google Shape;499;p26"/>
          <p:cNvSpPr/>
          <p:nvPr/>
        </p:nvSpPr>
        <p:spPr>
          <a:xfrm>
            <a:off x="-164732" y="5881867"/>
            <a:ext cx="2074633" cy="976132"/>
          </a:xfrm>
          <a:custGeom>
            <a:avLst/>
            <a:gdLst/>
            <a:ahLst/>
            <a:cxnLst/>
            <a:rect l="l" t="t" r="r" b="b"/>
            <a:pathLst>
              <a:path w="3120" h="1468" extrusionOk="0">
                <a:moveTo>
                  <a:pt x="353" y="30"/>
                </a:moveTo>
                <a:lnTo>
                  <a:pt x="350" y="5"/>
                </a:lnTo>
                <a:cubicBezTo>
                  <a:pt x="380" y="2"/>
                  <a:pt x="412" y="0"/>
                  <a:pt x="444" y="0"/>
                </a:cubicBezTo>
                <a:lnTo>
                  <a:pt x="453" y="0"/>
                </a:lnTo>
                <a:lnTo>
                  <a:pt x="452" y="26"/>
                </a:lnTo>
                <a:lnTo>
                  <a:pt x="444" y="26"/>
                </a:lnTo>
                <a:cubicBezTo>
                  <a:pt x="414" y="26"/>
                  <a:pt x="383" y="27"/>
                  <a:pt x="353" y="30"/>
                </a:cubicBezTo>
                <a:moveTo>
                  <a:pt x="651" y="48"/>
                </a:moveTo>
                <a:cubicBezTo>
                  <a:pt x="618" y="40"/>
                  <a:pt x="585" y="35"/>
                  <a:pt x="552" y="31"/>
                </a:cubicBezTo>
                <a:lnTo>
                  <a:pt x="554" y="6"/>
                </a:lnTo>
                <a:cubicBezTo>
                  <a:pt x="589" y="10"/>
                  <a:pt x="623" y="16"/>
                  <a:pt x="656" y="23"/>
                </a:cubicBezTo>
                <a:lnTo>
                  <a:pt x="651" y="48"/>
                </a:lnTo>
                <a:moveTo>
                  <a:pt x="158" y="73"/>
                </a:moveTo>
                <a:lnTo>
                  <a:pt x="150" y="49"/>
                </a:lnTo>
                <a:cubicBezTo>
                  <a:pt x="182" y="38"/>
                  <a:pt x="215" y="29"/>
                  <a:pt x="248" y="21"/>
                </a:cubicBezTo>
                <a:lnTo>
                  <a:pt x="254" y="46"/>
                </a:lnTo>
                <a:cubicBezTo>
                  <a:pt x="221" y="53"/>
                  <a:pt x="189" y="62"/>
                  <a:pt x="158" y="73"/>
                </a:cubicBezTo>
                <a:moveTo>
                  <a:pt x="841" y="109"/>
                </a:moveTo>
                <a:cubicBezTo>
                  <a:pt x="810" y="96"/>
                  <a:pt x="779" y="84"/>
                  <a:pt x="747" y="74"/>
                </a:cubicBezTo>
                <a:lnTo>
                  <a:pt x="755" y="50"/>
                </a:lnTo>
                <a:cubicBezTo>
                  <a:pt x="787" y="61"/>
                  <a:pt x="820" y="72"/>
                  <a:pt x="851" y="86"/>
                </a:cubicBezTo>
                <a:lnTo>
                  <a:pt x="841" y="109"/>
                </a:lnTo>
                <a:moveTo>
                  <a:pt x="1" y="188"/>
                </a:moveTo>
                <a:cubicBezTo>
                  <a:pt x="0" y="183"/>
                  <a:pt x="0" y="179"/>
                  <a:pt x="0" y="176"/>
                </a:cubicBezTo>
                <a:cubicBezTo>
                  <a:pt x="0" y="145"/>
                  <a:pt x="19" y="116"/>
                  <a:pt x="55" y="92"/>
                </a:cubicBezTo>
                <a:lnTo>
                  <a:pt x="69" y="113"/>
                </a:lnTo>
                <a:cubicBezTo>
                  <a:pt x="49" y="127"/>
                  <a:pt x="25" y="148"/>
                  <a:pt x="25" y="176"/>
                </a:cubicBezTo>
                <a:cubicBezTo>
                  <a:pt x="25" y="178"/>
                  <a:pt x="26" y="181"/>
                  <a:pt x="26" y="183"/>
                </a:cubicBezTo>
                <a:lnTo>
                  <a:pt x="1" y="188"/>
                </a:lnTo>
                <a:moveTo>
                  <a:pt x="1015" y="207"/>
                </a:moveTo>
                <a:cubicBezTo>
                  <a:pt x="988" y="188"/>
                  <a:pt x="959" y="170"/>
                  <a:pt x="930" y="154"/>
                </a:cubicBezTo>
                <a:lnTo>
                  <a:pt x="943" y="132"/>
                </a:lnTo>
                <a:cubicBezTo>
                  <a:pt x="972" y="148"/>
                  <a:pt x="1002" y="167"/>
                  <a:pt x="1030" y="186"/>
                </a:cubicBezTo>
                <a:lnTo>
                  <a:pt x="1015" y="207"/>
                </a:lnTo>
                <a:moveTo>
                  <a:pt x="1170" y="334"/>
                </a:moveTo>
                <a:cubicBezTo>
                  <a:pt x="1146" y="311"/>
                  <a:pt x="1121" y="288"/>
                  <a:pt x="1096" y="267"/>
                </a:cubicBezTo>
                <a:lnTo>
                  <a:pt x="1111" y="248"/>
                </a:lnTo>
                <a:cubicBezTo>
                  <a:pt x="1138" y="269"/>
                  <a:pt x="1163" y="292"/>
                  <a:pt x="1188" y="315"/>
                </a:cubicBezTo>
                <a:lnTo>
                  <a:pt x="1170" y="334"/>
                </a:lnTo>
                <a:moveTo>
                  <a:pt x="1303" y="484"/>
                </a:moveTo>
                <a:cubicBezTo>
                  <a:pt x="1283" y="457"/>
                  <a:pt x="1261" y="431"/>
                  <a:pt x="1239" y="406"/>
                </a:cubicBezTo>
                <a:lnTo>
                  <a:pt x="1259" y="390"/>
                </a:lnTo>
                <a:cubicBezTo>
                  <a:pt x="1281" y="415"/>
                  <a:pt x="1302" y="441"/>
                  <a:pt x="1323" y="468"/>
                </a:cubicBezTo>
                <a:lnTo>
                  <a:pt x="1303" y="484"/>
                </a:lnTo>
                <a:moveTo>
                  <a:pt x="1414" y="652"/>
                </a:moveTo>
                <a:cubicBezTo>
                  <a:pt x="1397" y="622"/>
                  <a:pt x="1380" y="593"/>
                  <a:pt x="1361" y="566"/>
                </a:cubicBezTo>
                <a:lnTo>
                  <a:pt x="1382" y="552"/>
                </a:lnTo>
                <a:cubicBezTo>
                  <a:pt x="1401" y="580"/>
                  <a:pt x="1419" y="610"/>
                  <a:pt x="1436" y="639"/>
                </a:cubicBezTo>
                <a:lnTo>
                  <a:pt x="1414" y="652"/>
                </a:lnTo>
                <a:moveTo>
                  <a:pt x="1502" y="833"/>
                </a:moveTo>
                <a:cubicBezTo>
                  <a:pt x="1490" y="805"/>
                  <a:pt x="1479" y="778"/>
                  <a:pt x="1466" y="752"/>
                </a:cubicBezTo>
                <a:lnTo>
                  <a:pt x="1461" y="741"/>
                </a:lnTo>
                <a:lnTo>
                  <a:pt x="1483" y="729"/>
                </a:lnTo>
                <a:lnTo>
                  <a:pt x="1489" y="741"/>
                </a:lnTo>
                <a:cubicBezTo>
                  <a:pt x="1502" y="768"/>
                  <a:pt x="1514" y="795"/>
                  <a:pt x="1525" y="823"/>
                </a:cubicBezTo>
                <a:lnTo>
                  <a:pt x="1502" y="833"/>
                </a:lnTo>
                <a:moveTo>
                  <a:pt x="1583" y="1019"/>
                </a:moveTo>
                <a:cubicBezTo>
                  <a:pt x="1567" y="985"/>
                  <a:pt x="1552" y="951"/>
                  <a:pt x="1542" y="926"/>
                </a:cubicBezTo>
                <a:lnTo>
                  <a:pt x="1565" y="916"/>
                </a:lnTo>
                <a:cubicBezTo>
                  <a:pt x="1576" y="941"/>
                  <a:pt x="1590" y="975"/>
                  <a:pt x="1606" y="1008"/>
                </a:cubicBezTo>
                <a:lnTo>
                  <a:pt x="1583" y="1019"/>
                </a:lnTo>
                <a:moveTo>
                  <a:pt x="1686" y="1196"/>
                </a:moveTo>
                <a:cubicBezTo>
                  <a:pt x="1668" y="1173"/>
                  <a:pt x="1651" y="1147"/>
                  <a:pt x="1636" y="1120"/>
                </a:cubicBezTo>
                <a:cubicBezTo>
                  <a:pt x="1634" y="1117"/>
                  <a:pt x="1632" y="1113"/>
                  <a:pt x="1629" y="1110"/>
                </a:cubicBezTo>
                <a:lnTo>
                  <a:pt x="1652" y="1097"/>
                </a:lnTo>
                <a:cubicBezTo>
                  <a:pt x="1653" y="1101"/>
                  <a:pt x="1656" y="1104"/>
                  <a:pt x="1657" y="1108"/>
                </a:cubicBezTo>
                <a:cubicBezTo>
                  <a:pt x="1673" y="1133"/>
                  <a:pt x="1689" y="1158"/>
                  <a:pt x="1706" y="1181"/>
                </a:cubicBezTo>
                <a:lnTo>
                  <a:pt x="1686" y="1196"/>
                </a:lnTo>
                <a:moveTo>
                  <a:pt x="2718" y="1239"/>
                </a:moveTo>
                <a:lnTo>
                  <a:pt x="2715" y="1214"/>
                </a:lnTo>
                <a:cubicBezTo>
                  <a:pt x="2734" y="1212"/>
                  <a:pt x="2753" y="1210"/>
                  <a:pt x="2772" y="1211"/>
                </a:cubicBezTo>
                <a:cubicBezTo>
                  <a:pt x="2780" y="1211"/>
                  <a:pt x="2790" y="1211"/>
                  <a:pt x="2798" y="1212"/>
                </a:cubicBezTo>
                <a:cubicBezTo>
                  <a:pt x="2805" y="1212"/>
                  <a:pt x="2812" y="1212"/>
                  <a:pt x="2819" y="1213"/>
                </a:cubicBezTo>
                <a:lnTo>
                  <a:pt x="2816" y="1238"/>
                </a:lnTo>
                <a:cubicBezTo>
                  <a:pt x="2810" y="1237"/>
                  <a:pt x="2804" y="1237"/>
                  <a:pt x="2797" y="1236"/>
                </a:cubicBezTo>
                <a:cubicBezTo>
                  <a:pt x="2788" y="1236"/>
                  <a:pt x="2780" y="1236"/>
                  <a:pt x="2771" y="1236"/>
                </a:cubicBezTo>
                <a:cubicBezTo>
                  <a:pt x="2754" y="1236"/>
                  <a:pt x="2736" y="1237"/>
                  <a:pt x="2718" y="1239"/>
                </a:cubicBezTo>
                <a:moveTo>
                  <a:pt x="2524" y="1285"/>
                </a:moveTo>
                <a:lnTo>
                  <a:pt x="2515" y="1261"/>
                </a:lnTo>
                <a:cubicBezTo>
                  <a:pt x="2552" y="1249"/>
                  <a:pt x="2584" y="1240"/>
                  <a:pt x="2614" y="1232"/>
                </a:cubicBezTo>
                <a:lnTo>
                  <a:pt x="2620" y="1257"/>
                </a:lnTo>
                <a:cubicBezTo>
                  <a:pt x="2591" y="1264"/>
                  <a:pt x="2559" y="1273"/>
                  <a:pt x="2524" y="1285"/>
                </a:cubicBezTo>
                <a:moveTo>
                  <a:pt x="2996" y="1310"/>
                </a:moveTo>
                <a:cubicBezTo>
                  <a:pt x="2971" y="1290"/>
                  <a:pt x="2943" y="1274"/>
                  <a:pt x="2911" y="1262"/>
                </a:cubicBezTo>
                <a:lnTo>
                  <a:pt x="2920" y="1238"/>
                </a:lnTo>
                <a:cubicBezTo>
                  <a:pt x="2953" y="1251"/>
                  <a:pt x="2985" y="1268"/>
                  <a:pt x="3012" y="1289"/>
                </a:cubicBezTo>
                <a:lnTo>
                  <a:pt x="2996" y="1310"/>
                </a:lnTo>
                <a:moveTo>
                  <a:pt x="1834" y="1339"/>
                </a:moveTo>
                <a:cubicBezTo>
                  <a:pt x="1806" y="1320"/>
                  <a:pt x="1779" y="1299"/>
                  <a:pt x="1754" y="1274"/>
                </a:cubicBezTo>
                <a:lnTo>
                  <a:pt x="1771" y="1256"/>
                </a:lnTo>
                <a:cubicBezTo>
                  <a:pt x="1796" y="1279"/>
                  <a:pt x="1822" y="1300"/>
                  <a:pt x="1848" y="1317"/>
                </a:cubicBezTo>
                <a:lnTo>
                  <a:pt x="1834" y="1339"/>
                </a:lnTo>
                <a:moveTo>
                  <a:pt x="2333" y="1354"/>
                </a:moveTo>
                <a:lnTo>
                  <a:pt x="2325" y="1330"/>
                </a:lnTo>
                <a:cubicBezTo>
                  <a:pt x="2339" y="1325"/>
                  <a:pt x="2354" y="1320"/>
                  <a:pt x="2368" y="1314"/>
                </a:cubicBezTo>
                <a:cubicBezTo>
                  <a:pt x="2385" y="1308"/>
                  <a:pt x="2402" y="1302"/>
                  <a:pt x="2419" y="1296"/>
                </a:cubicBezTo>
                <a:lnTo>
                  <a:pt x="2428" y="1319"/>
                </a:lnTo>
                <a:cubicBezTo>
                  <a:pt x="2411" y="1326"/>
                  <a:pt x="2394" y="1332"/>
                  <a:pt x="2377" y="1338"/>
                </a:cubicBezTo>
                <a:cubicBezTo>
                  <a:pt x="2362" y="1344"/>
                  <a:pt x="2348" y="1348"/>
                  <a:pt x="2333" y="1354"/>
                </a:cubicBezTo>
                <a:moveTo>
                  <a:pt x="2134" y="1402"/>
                </a:moveTo>
                <a:lnTo>
                  <a:pt x="2131" y="1377"/>
                </a:lnTo>
                <a:cubicBezTo>
                  <a:pt x="2162" y="1373"/>
                  <a:pt x="2194" y="1367"/>
                  <a:pt x="2229" y="1358"/>
                </a:cubicBezTo>
                <a:lnTo>
                  <a:pt x="2235" y="1383"/>
                </a:lnTo>
                <a:cubicBezTo>
                  <a:pt x="2199" y="1392"/>
                  <a:pt x="2166" y="1398"/>
                  <a:pt x="2134" y="1402"/>
                </a:cubicBezTo>
                <a:moveTo>
                  <a:pt x="2030" y="1405"/>
                </a:moveTo>
                <a:cubicBezTo>
                  <a:pt x="1999" y="1402"/>
                  <a:pt x="1968" y="1396"/>
                  <a:pt x="1939" y="1388"/>
                </a:cubicBezTo>
                <a:cubicBezTo>
                  <a:pt x="1935" y="1386"/>
                  <a:pt x="1932" y="1386"/>
                  <a:pt x="1928" y="1384"/>
                </a:cubicBezTo>
                <a:lnTo>
                  <a:pt x="1936" y="1360"/>
                </a:lnTo>
                <a:cubicBezTo>
                  <a:pt x="1940" y="1362"/>
                  <a:pt x="1943" y="1362"/>
                  <a:pt x="1947" y="1364"/>
                </a:cubicBezTo>
                <a:cubicBezTo>
                  <a:pt x="1973" y="1372"/>
                  <a:pt x="2003" y="1377"/>
                  <a:pt x="2032" y="1379"/>
                </a:cubicBezTo>
                <a:lnTo>
                  <a:pt x="2030" y="1405"/>
                </a:lnTo>
                <a:moveTo>
                  <a:pt x="3096" y="1468"/>
                </a:moveTo>
                <a:cubicBezTo>
                  <a:pt x="3092" y="1437"/>
                  <a:pt x="3080" y="1407"/>
                  <a:pt x="3062" y="1379"/>
                </a:cubicBezTo>
                <a:lnTo>
                  <a:pt x="3084" y="1365"/>
                </a:lnTo>
                <a:cubicBezTo>
                  <a:pt x="3104" y="1396"/>
                  <a:pt x="3117" y="1430"/>
                  <a:pt x="3120" y="1465"/>
                </a:cubicBezTo>
                <a:lnTo>
                  <a:pt x="3096" y="14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0" name="Google Shape;500;p26"/>
          <p:cNvSpPr/>
          <p:nvPr/>
        </p:nvSpPr>
        <p:spPr>
          <a:xfrm>
            <a:off x="-55934" y="-158166"/>
            <a:ext cx="522263" cy="1211399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01" name="Google Shape;501;p26"/>
          <p:cNvGrpSpPr/>
          <p:nvPr/>
        </p:nvGrpSpPr>
        <p:grpSpPr>
          <a:xfrm>
            <a:off x="348053" y="5720009"/>
            <a:ext cx="675580" cy="976104"/>
            <a:chOff x="687960" y="2987640"/>
            <a:chExt cx="340560" cy="492120"/>
          </a:xfrm>
        </p:grpSpPr>
        <p:sp>
          <p:nvSpPr>
            <p:cNvPr id="502" name="Google Shape;502;p26"/>
            <p:cNvSpPr/>
            <p:nvPr/>
          </p:nvSpPr>
          <p:spPr>
            <a:xfrm>
              <a:off x="687960" y="2987640"/>
              <a:ext cx="340560" cy="492120"/>
            </a:xfrm>
            <a:custGeom>
              <a:avLst/>
              <a:gdLst/>
              <a:ahLst/>
              <a:cxnLst/>
              <a:rect l="l" t="t" r="r" b="b"/>
              <a:pathLst>
                <a:path w="946" h="1367" extrusionOk="0">
                  <a:moveTo>
                    <a:pt x="946" y="1187"/>
                  </a:moveTo>
                  <a:cubicBezTo>
                    <a:pt x="947" y="1187"/>
                    <a:pt x="943" y="1189"/>
                    <a:pt x="936" y="1191"/>
                  </a:cubicBezTo>
                  <a:cubicBezTo>
                    <a:pt x="853" y="1219"/>
                    <a:pt x="298" y="1367"/>
                    <a:pt x="298" y="1367"/>
                  </a:cubicBezTo>
                  <a:cubicBezTo>
                    <a:pt x="-110" y="885"/>
                    <a:pt x="20" y="0"/>
                    <a:pt x="20" y="0"/>
                  </a:cubicBezTo>
                  <a:cubicBezTo>
                    <a:pt x="20" y="0"/>
                    <a:pt x="29" y="1"/>
                    <a:pt x="46" y="4"/>
                  </a:cubicBezTo>
                  <a:cubicBezTo>
                    <a:pt x="166" y="24"/>
                    <a:pt x="644" y="108"/>
                    <a:pt x="789" y="171"/>
                  </a:cubicBezTo>
                  <a:cubicBezTo>
                    <a:pt x="721" y="571"/>
                    <a:pt x="933" y="1182"/>
                    <a:pt x="946" y="118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3" name="Google Shape;503;p26"/>
            <p:cNvSpPr/>
            <p:nvPr/>
          </p:nvSpPr>
          <p:spPr>
            <a:xfrm>
              <a:off x="734760" y="3058920"/>
              <a:ext cx="190080" cy="36720"/>
            </a:xfrm>
            <a:custGeom>
              <a:avLst/>
              <a:gdLst/>
              <a:ahLst/>
              <a:cxnLst/>
              <a:rect l="l" t="t" r="r" b="b"/>
              <a:pathLst>
                <a:path w="528" h="102" extrusionOk="0">
                  <a:moveTo>
                    <a:pt x="525" y="102"/>
                  </a:moveTo>
                  <a:lnTo>
                    <a:pt x="0" y="18"/>
                  </a:lnTo>
                  <a:lnTo>
                    <a:pt x="3" y="0"/>
                  </a:lnTo>
                  <a:lnTo>
                    <a:pt x="528" y="84"/>
                  </a:lnTo>
                  <a:lnTo>
                    <a:pt x="525" y="10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4" name="Google Shape;504;p26"/>
            <p:cNvSpPr/>
            <p:nvPr/>
          </p:nvSpPr>
          <p:spPr>
            <a:xfrm>
              <a:off x="734760" y="3101760"/>
              <a:ext cx="190080" cy="37440"/>
            </a:xfrm>
            <a:custGeom>
              <a:avLst/>
              <a:gdLst/>
              <a:ahLst/>
              <a:cxnLst/>
              <a:rect l="l" t="t" r="r" b="b"/>
              <a:pathLst>
                <a:path w="528" h="104" extrusionOk="0">
                  <a:moveTo>
                    <a:pt x="525" y="104"/>
                  </a:moveTo>
                  <a:lnTo>
                    <a:pt x="0" y="19"/>
                  </a:lnTo>
                  <a:lnTo>
                    <a:pt x="3" y="0"/>
                  </a:lnTo>
                  <a:lnTo>
                    <a:pt x="528" y="85"/>
                  </a:lnTo>
                  <a:lnTo>
                    <a:pt x="525" y="10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5" name="Google Shape;505;p26"/>
            <p:cNvSpPr/>
            <p:nvPr/>
          </p:nvSpPr>
          <p:spPr>
            <a:xfrm>
              <a:off x="734400" y="3158640"/>
              <a:ext cx="191160" cy="16920"/>
            </a:xfrm>
            <a:custGeom>
              <a:avLst/>
              <a:gdLst/>
              <a:ahLst/>
              <a:cxnLst/>
              <a:rect l="l" t="t" r="r" b="b"/>
              <a:pathLst>
                <a:path w="531" h="47" extrusionOk="0">
                  <a:moveTo>
                    <a:pt x="529" y="47"/>
                  </a:moveTo>
                  <a:lnTo>
                    <a:pt x="0" y="20"/>
                  </a:lnTo>
                  <a:lnTo>
                    <a:pt x="1" y="0"/>
                  </a:lnTo>
                  <a:lnTo>
                    <a:pt x="531" y="29"/>
                  </a:lnTo>
                  <a:lnTo>
                    <a:pt x="529" y="47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6" name="Google Shape;506;p26"/>
            <p:cNvSpPr/>
            <p:nvPr/>
          </p:nvSpPr>
          <p:spPr>
            <a:xfrm>
              <a:off x="740880" y="3204000"/>
              <a:ext cx="190800" cy="21960"/>
            </a:xfrm>
            <a:custGeom>
              <a:avLst/>
              <a:gdLst/>
              <a:ahLst/>
              <a:cxnLst/>
              <a:rect l="l" t="t" r="r" b="b"/>
              <a:pathLst>
                <a:path w="530" h="61" extrusionOk="0">
                  <a:moveTo>
                    <a:pt x="1" y="61"/>
                  </a:moveTo>
                  <a:lnTo>
                    <a:pt x="0" y="43"/>
                  </a:lnTo>
                  <a:lnTo>
                    <a:pt x="528" y="0"/>
                  </a:lnTo>
                  <a:lnTo>
                    <a:pt x="530" y="19"/>
                  </a:lnTo>
                  <a:lnTo>
                    <a:pt x="1" y="6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7" name="Google Shape;507;p26"/>
            <p:cNvSpPr/>
            <p:nvPr/>
          </p:nvSpPr>
          <p:spPr>
            <a:xfrm>
              <a:off x="749160" y="3236760"/>
              <a:ext cx="189720" cy="36720"/>
            </a:xfrm>
            <a:custGeom>
              <a:avLst/>
              <a:gdLst/>
              <a:ahLst/>
              <a:cxnLst/>
              <a:rect l="l" t="t" r="r" b="b"/>
              <a:pathLst>
                <a:path w="527" h="102" extrusionOk="0">
                  <a:moveTo>
                    <a:pt x="2" y="102"/>
                  </a:moveTo>
                  <a:lnTo>
                    <a:pt x="0" y="83"/>
                  </a:lnTo>
                  <a:lnTo>
                    <a:pt x="524" y="0"/>
                  </a:lnTo>
                  <a:lnTo>
                    <a:pt x="527" y="18"/>
                  </a:lnTo>
                  <a:lnTo>
                    <a:pt x="2" y="10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0000" tIns="0" rIns="90000" bIns="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08" name="Google Shape;508;p26"/>
          <p:cNvSpPr/>
          <p:nvPr/>
        </p:nvSpPr>
        <p:spPr>
          <a:xfrm>
            <a:off x="1136000" y="296365"/>
            <a:ext cx="382784" cy="3834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9" name="Google Shape;509;p26"/>
          <p:cNvSpPr/>
          <p:nvPr/>
        </p:nvSpPr>
        <p:spPr>
          <a:xfrm>
            <a:off x="466345" y="1159633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0" name="Google Shape;510;p26"/>
          <p:cNvSpPr/>
          <p:nvPr/>
        </p:nvSpPr>
        <p:spPr>
          <a:xfrm>
            <a:off x="1790662" y="6257833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1" name="Google Shape;511;p26"/>
          <p:cNvSpPr/>
          <p:nvPr/>
        </p:nvSpPr>
        <p:spPr>
          <a:xfrm rot="10800000">
            <a:off x="10203885" y="1"/>
            <a:ext cx="2074633" cy="976132"/>
          </a:xfrm>
          <a:custGeom>
            <a:avLst/>
            <a:gdLst/>
            <a:ahLst/>
            <a:cxnLst/>
            <a:rect l="l" t="t" r="r" b="b"/>
            <a:pathLst>
              <a:path w="3120" h="1468" extrusionOk="0">
                <a:moveTo>
                  <a:pt x="353" y="30"/>
                </a:moveTo>
                <a:lnTo>
                  <a:pt x="350" y="5"/>
                </a:lnTo>
                <a:cubicBezTo>
                  <a:pt x="380" y="2"/>
                  <a:pt x="412" y="0"/>
                  <a:pt x="444" y="0"/>
                </a:cubicBezTo>
                <a:lnTo>
                  <a:pt x="453" y="0"/>
                </a:lnTo>
                <a:lnTo>
                  <a:pt x="452" y="26"/>
                </a:lnTo>
                <a:lnTo>
                  <a:pt x="444" y="26"/>
                </a:lnTo>
                <a:cubicBezTo>
                  <a:pt x="414" y="26"/>
                  <a:pt x="383" y="27"/>
                  <a:pt x="353" y="30"/>
                </a:cubicBezTo>
                <a:moveTo>
                  <a:pt x="651" y="48"/>
                </a:moveTo>
                <a:cubicBezTo>
                  <a:pt x="618" y="40"/>
                  <a:pt x="585" y="35"/>
                  <a:pt x="552" y="31"/>
                </a:cubicBezTo>
                <a:lnTo>
                  <a:pt x="554" y="6"/>
                </a:lnTo>
                <a:cubicBezTo>
                  <a:pt x="589" y="10"/>
                  <a:pt x="623" y="16"/>
                  <a:pt x="656" y="23"/>
                </a:cubicBezTo>
                <a:lnTo>
                  <a:pt x="651" y="48"/>
                </a:lnTo>
                <a:moveTo>
                  <a:pt x="158" y="73"/>
                </a:moveTo>
                <a:lnTo>
                  <a:pt x="150" y="49"/>
                </a:lnTo>
                <a:cubicBezTo>
                  <a:pt x="182" y="38"/>
                  <a:pt x="215" y="29"/>
                  <a:pt x="248" y="21"/>
                </a:cubicBezTo>
                <a:lnTo>
                  <a:pt x="254" y="46"/>
                </a:lnTo>
                <a:cubicBezTo>
                  <a:pt x="221" y="53"/>
                  <a:pt x="189" y="62"/>
                  <a:pt x="158" y="73"/>
                </a:cubicBezTo>
                <a:moveTo>
                  <a:pt x="841" y="109"/>
                </a:moveTo>
                <a:cubicBezTo>
                  <a:pt x="810" y="96"/>
                  <a:pt x="779" y="84"/>
                  <a:pt x="747" y="74"/>
                </a:cubicBezTo>
                <a:lnTo>
                  <a:pt x="755" y="50"/>
                </a:lnTo>
                <a:cubicBezTo>
                  <a:pt x="787" y="61"/>
                  <a:pt x="820" y="72"/>
                  <a:pt x="851" y="86"/>
                </a:cubicBezTo>
                <a:lnTo>
                  <a:pt x="841" y="109"/>
                </a:lnTo>
                <a:moveTo>
                  <a:pt x="1" y="188"/>
                </a:moveTo>
                <a:cubicBezTo>
                  <a:pt x="0" y="183"/>
                  <a:pt x="0" y="179"/>
                  <a:pt x="0" y="176"/>
                </a:cubicBezTo>
                <a:cubicBezTo>
                  <a:pt x="0" y="145"/>
                  <a:pt x="19" y="116"/>
                  <a:pt x="55" y="92"/>
                </a:cubicBezTo>
                <a:lnTo>
                  <a:pt x="69" y="113"/>
                </a:lnTo>
                <a:cubicBezTo>
                  <a:pt x="49" y="127"/>
                  <a:pt x="25" y="148"/>
                  <a:pt x="25" y="176"/>
                </a:cubicBezTo>
                <a:cubicBezTo>
                  <a:pt x="25" y="178"/>
                  <a:pt x="26" y="181"/>
                  <a:pt x="26" y="183"/>
                </a:cubicBezTo>
                <a:lnTo>
                  <a:pt x="1" y="188"/>
                </a:lnTo>
                <a:moveTo>
                  <a:pt x="1015" y="207"/>
                </a:moveTo>
                <a:cubicBezTo>
                  <a:pt x="988" y="188"/>
                  <a:pt x="959" y="170"/>
                  <a:pt x="930" y="154"/>
                </a:cubicBezTo>
                <a:lnTo>
                  <a:pt x="943" y="132"/>
                </a:lnTo>
                <a:cubicBezTo>
                  <a:pt x="972" y="148"/>
                  <a:pt x="1002" y="167"/>
                  <a:pt x="1030" y="186"/>
                </a:cubicBezTo>
                <a:lnTo>
                  <a:pt x="1015" y="207"/>
                </a:lnTo>
                <a:moveTo>
                  <a:pt x="1170" y="334"/>
                </a:moveTo>
                <a:cubicBezTo>
                  <a:pt x="1146" y="311"/>
                  <a:pt x="1121" y="288"/>
                  <a:pt x="1096" y="267"/>
                </a:cubicBezTo>
                <a:lnTo>
                  <a:pt x="1111" y="248"/>
                </a:lnTo>
                <a:cubicBezTo>
                  <a:pt x="1138" y="269"/>
                  <a:pt x="1163" y="292"/>
                  <a:pt x="1188" y="315"/>
                </a:cubicBezTo>
                <a:lnTo>
                  <a:pt x="1170" y="334"/>
                </a:lnTo>
                <a:moveTo>
                  <a:pt x="1303" y="484"/>
                </a:moveTo>
                <a:cubicBezTo>
                  <a:pt x="1283" y="457"/>
                  <a:pt x="1261" y="431"/>
                  <a:pt x="1239" y="406"/>
                </a:cubicBezTo>
                <a:lnTo>
                  <a:pt x="1259" y="390"/>
                </a:lnTo>
                <a:cubicBezTo>
                  <a:pt x="1281" y="415"/>
                  <a:pt x="1302" y="441"/>
                  <a:pt x="1323" y="468"/>
                </a:cubicBezTo>
                <a:lnTo>
                  <a:pt x="1303" y="484"/>
                </a:lnTo>
                <a:moveTo>
                  <a:pt x="1414" y="652"/>
                </a:moveTo>
                <a:cubicBezTo>
                  <a:pt x="1397" y="622"/>
                  <a:pt x="1380" y="593"/>
                  <a:pt x="1361" y="566"/>
                </a:cubicBezTo>
                <a:lnTo>
                  <a:pt x="1382" y="552"/>
                </a:lnTo>
                <a:cubicBezTo>
                  <a:pt x="1401" y="580"/>
                  <a:pt x="1419" y="610"/>
                  <a:pt x="1436" y="639"/>
                </a:cubicBezTo>
                <a:lnTo>
                  <a:pt x="1414" y="652"/>
                </a:lnTo>
                <a:moveTo>
                  <a:pt x="1502" y="833"/>
                </a:moveTo>
                <a:cubicBezTo>
                  <a:pt x="1490" y="805"/>
                  <a:pt x="1479" y="778"/>
                  <a:pt x="1466" y="752"/>
                </a:cubicBezTo>
                <a:lnTo>
                  <a:pt x="1461" y="741"/>
                </a:lnTo>
                <a:lnTo>
                  <a:pt x="1483" y="729"/>
                </a:lnTo>
                <a:lnTo>
                  <a:pt x="1489" y="741"/>
                </a:lnTo>
                <a:cubicBezTo>
                  <a:pt x="1502" y="768"/>
                  <a:pt x="1514" y="795"/>
                  <a:pt x="1525" y="823"/>
                </a:cubicBezTo>
                <a:lnTo>
                  <a:pt x="1502" y="833"/>
                </a:lnTo>
                <a:moveTo>
                  <a:pt x="1583" y="1019"/>
                </a:moveTo>
                <a:cubicBezTo>
                  <a:pt x="1567" y="985"/>
                  <a:pt x="1552" y="951"/>
                  <a:pt x="1542" y="926"/>
                </a:cubicBezTo>
                <a:lnTo>
                  <a:pt x="1565" y="916"/>
                </a:lnTo>
                <a:cubicBezTo>
                  <a:pt x="1576" y="941"/>
                  <a:pt x="1590" y="975"/>
                  <a:pt x="1606" y="1008"/>
                </a:cubicBezTo>
                <a:lnTo>
                  <a:pt x="1583" y="1019"/>
                </a:lnTo>
                <a:moveTo>
                  <a:pt x="1686" y="1196"/>
                </a:moveTo>
                <a:cubicBezTo>
                  <a:pt x="1668" y="1173"/>
                  <a:pt x="1651" y="1147"/>
                  <a:pt x="1636" y="1120"/>
                </a:cubicBezTo>
                <a:cubicBezTo>
                  <a:pt x="1634" y="1117"/>
                  <a:pt x="1632" y="1113"/>
                  <a:pt x="1629" y="1110"/>
                </a:cubicBezTo>
                <a:lnTo>
                  <a:pt x="1652" y="1097"/>
                </a:lnTo>
                <a:cubicBezTo>
                  <a:pt x="1653" y="1101"/>
                  <a:pt x="1656" y="1104"/>
                  <a:pt x="1657" y="1108"/>
                </a:cubicBezTo>
                <a:cubicBezTo>
                  <a:pt x="1673" y="1133"/>
                  <a:pt x="1689" y="1158"/>
                  <a:pt x="1706" y="1181"/>
                </a:cubicBezTo>
                <a:lnTo>
                  <a:pt x="1686" y="1196"/>
                </a:lnTo>
                <a:moveTo>
                  <a:pt x="2718" y="1239"/>
                </a:moveTo>
                <a:lnTo>
                  <a:pt x="2715" y="1214"/>
                </a:lnTo>
                <a:cubicBezTo>
                  <a:pt x="2734" y="1212"/>
                  <a:pt x="2753" y="1210"/>
                  <a:pt x="2772" y="1211"/>
                </a:cubicBezTo>
                <a:cubicBezTo>
                  <a:pt x="2780" y="1211"/>
                  <a:pt x="2790" y="1211"/>
                  <a:pt x="2798" y="1212"/>
                </a:cubicBezTo>
                <a:cubicBezTo>
                  <a:pt x="2805" y="1212"/>
                  <a:pt x="2812" y="1212"/>
                  <a:pt x="2819" y="1213"/>
                </a:cubicBezTo>
                <a:lnTo>
                  <a:pt x="2816" y="1238"/>
                </a:lnTo>
                <a:cubicBezTo>
                  <a:pt x="2810" y="1237"/>
                  <a:pt x="2804" y="1237"/>
                  <a:pt x="2797" y="1236"/>
                </a:cubicBezTo>
                <a:cubicBezTo>
                  <a:pt x="2788" y="1236"/>
                  <a:pt x="2780" y="1236"/>
                  <a:pt x="2771" y="1236"/>
                </a:cubicBezTo>
                <a:cubicBezTo>
                  <a:pt x="2754" y="1236"/>
                  <a:pt x="2736" y="1237"/>
                  <a:pt x="2718" y="1239"/>
                </a:cubicBezTo>
                <a:moveTo>
                  <a:pt x="2524" y="1285"/>
                </a:moveTo>
                <a:lnTo>
                  <a:pt x="2515" y="1261"/>
                </a:lnTo>
                <a:cubicBezTo>
                  <a:pt x="2552" y="1249"/>
                  <a:pt x="2584" y="1240"/>
                  <a:pt x="2614" y="1232"/>
                </a:cubicBezTo>
                <a:lnTo>
                  <a:pt x="2620" y="1257"/>
                </a:lnTo>
                <a:cubicBezTo>
                  <a:pt x="2591" y="1264"/>
                  <a:pt x="2559" y="1273"/>
                  <a:pt x="2524" y="1285"/>
                </a:cubicBezTo>
                <a:moveTo>
                  <a:pt x="2996" y="1310"/>
                </a:moveTo>
                <a:cubicBezTo>
                  <a:pt x="2971" y="1290"/>
                  <a:pt x="2943" y="1274"/>
                  <a:pt x="2911" y="1262"/>
                </a:cubicBezTo>
                <a:lnTo>
                  <a:pt x="2920" y="1238"/>
                </a:lnTo>
                <a:cubicBezTo>
                  <a:pt x="2953" y="1251"/>
                  <a:pt x="2985" y="1268"/>
                  <a:pt x="3012" y="1289"/>
                </a:cubicBezTo>
                <a:lnTo>
                  <a:pt x="2996" y="1310"/>
                </a:lnTo>
                <a:moveTo>
                  <a:pt x="1834" y="1339"/>
                </a:moveTo>
                <a:cubicBezTo>
                  <a:pt x="1806" y="1320"/>
                  <a:pt x="1779" y="1299"/>
                  <a:pt x="1754" y="1274"/>
                </a:cubicBezTo>
                <a:lnTo>
                  <a:pt x="1771" y="1256"/>
                </a:lnTo>
                <a:cubicBezTo>
                  <a:pt x="1796" y="1279"/>
                  <a:pt x="1822" y="1300"/>
                  <a:pt x="1848" y="1317"/>
                </a:cubicBezTo>
                <a:lnTo>
                  <a:pt x="1834" y="1339"/>
                </a:lnTo>
                <a:moveTo>
                  <a:pt x="2333" y="1354"/>
                </a:moveTo>
                <a:lnTo>
                  <a:pt x="2325" y="1330"/>
                </a:lnTo>
                <a:cubicBezTo>
                  <a:pt x="2339" y="1325"/>
                  <a:pt x="2354" y="1320"/>
                  <a:pt x="2368" y="1314"/>
                </a:cubicBezTo>
                <a:cubicBezTo>
                  <a:pt x="2385" y="1308"/>
                  <a:pt x="2402" y="1302"/>
                  <a:pt x="2419" y="1296"/>
                </a:cubicBezTo>
                <a:lnTo>
                  <a:pt x="2428" y="1319"/>
                </a:lnTo>
                <a:cubicBezTo>
                  <a:pt x="2411" y="1326"/>
                  <a:pt x="2394" y="1332"/>
                  <a:pt x="2377" y="1338"/>
                </a:cubicBezTo>
                <a:cubicBezTo>
                  <a:pt x="2362" y="1344"/>
                  <a:pt x="2348" y="1348"/>
                  <a:pt x="2333" y="1354"/>
                </a:cubicBezTo>
                <a:moveTo>
                  <a:pt x="2134" y="1402"/>
                </a:moveTo>
                <a:lnTo>
                  <a:pt x="2131" y="1377"/>
                </a:lnTo>
                <a:cubicBezTo>
                  <a:pt x="2162" y="1373"/>
                  <a:pt x="2194" y="1367"/>
                  <a:pt x="2229" y="1358"/>
                </a:cubicBezTo>
                <a:lnTo>
                  <a:pt x="2235" y="1383"/>
                </a:lnTo>
                <a:cubicBezTo>
                  <a:pt x="2199" y="1392"/>
                  <a:pt x="2166" y="1398"/>
                  <a:pt x="2134" y="1402"/>
                </a:cubicBezTo>
                <a:moveTo>
                  <a:pt x="2030" y="1405"/>
                </a:moveTo>
                <a:cubicBezTo>
                  <a:pt x="1999" y="1402"/>
                  <a:pt x="1968" y="1396"/>
                  <a:pt x="1939" y="1388"/>
                </a:cubicBezTo>
                <a:cubicBezTo>
                  <a:pt x="1935" y="1386"/>
                  <a:pt x="1932" y="1386"/>
                  <a:pt x="1928" y="1384"/>
                </a:cubicBezTo>
                <a:lnTo>
                  <a:pt x="1936" y="1360"/>
                </a:lnTo>
                <a:cubicBezTo>
                  <a:pt x="1940" y="1362"/>
                  <a:pt x="1943" y="1362"/>
                  <a:pt x="1947" y="1364"/>
                </a:cubicBezTo>
                <a:cubicBezTo>
                  <a:pt x="1973" y="1372"/>
                  <a:pt x="2003" y="1377"/>
                  <a:pt x="2032" y="1379"/>
                </a:cubicBezTo>
                <a:lnTo>
                  <a:pt x="2030" y="1405"/>
                </a:lnTo>
                <a:moveTo>
                  <a:pt x="3096" y="1468"/>
                </a:moveTo>
                <a:cubicBezTo>
                  <a:pt x="3092" y="1437"/>
                  <a:pt x="3080" y="1407"/>
                  <a:pt x="3062" y="1379"/>
                </a:cubicBezTo>
                <a:lnTo>
                  <a:pt x="3084" y="1365"/>
                </a:lnTo>
                <a:cubicBezTo>
                  <a:pt x="3104" y="1396"/>
                  <a:pt x="3117" y="1430"/>
                  <a:pt x="3120" y="1465"/>
                </a:cubicBezTo>
                <a:lnTo>
                  <a:pt x="3096" y="14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2" name="Google Shape;512;p26"/>
          <p:cNvSpPr/>
          <p:nvPr/>
        </p:nvSpPr>
        <p:spPr>
          <a:xfrm>
            <a:off x="10858400" y="6178232"/>
            <a:ext cx="382784" cy="3834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3" name="Google Shape;513;p26"/>
          <p:cNvSpPr/>
          <p:nvPr/>
        </p:nvSpPr>
        <p:spPr>
          <a:xfrm>
            <a:off x="11518612" y="5629067"/>
            <a:ext cx="223849" cy="224200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4" name="Google Shape;514;p26"/>
          <p:cNvSpPr/>
          <p:nvPr/>
        </p:nvSpPr>
        <p:spPr>
          <a:xfrm rot="9475796">
            <a:off x="11915319" y="4091852"/>
            <a:ext cx="575492" cy="1334872"/>
          </a:xfrm>
          <a:custGeom>
            <a:avLst/>
            <a:gdLst/>
            <a:ahLst/>
            <a:cxnLst/>
            <a:rect l="l" t="t" r="r" b="b"/>
            <a:pathLst>
              <a:path w="751" h="1742" extrusionOk="0">
                <a:moveTo>
                  <a:pt x="550" y="55"/>
                </a:moveTo>
                <a:cubicBezTo>
                  <a:pt x="542" y="42"/>
                  <a:pt x="532" y="28"/>
                  <a:pt x="524" y="15"/>
                </a:cubicBezTo>
                <a:lnTo>
                  <a:pt x="544" y="0"/>
                </a:lnTo>
                <a:cubicBezTo>
                  <a:pt x="553" y="14"/>
                  <a:pt x="563" y="28"/>
                  <a:pt x="571" y="42"/>
                </a:cubicBezTo>
                <a:lnTo>
                  <a:pt x="550" y="55"/>
                </a:lnTo>
                <a:moveTo>
                  <a:pt x="642" y="233"/>
                </a:moveTo>
                <a:cubicBezTo>
                  <a:pt x="630" y="202"/>
                  <a:pt x="616" y="171"/>
                  <a:pt x="600" y="142"/>
                </a:cubicBezTo>
                <a:lnTo>
                  <a:pt x="623" y="130"/>
                </a:lnTo>
                <a:cubicBezTo>
                  <a:pt x="638" y="160"/>
                  <a:pt x="653" y="192"/>
                  <a:pt x="665" y="223"/>
                </a:cubicBezTo>
                <a:lnTo>
                  <a:pt x="642" y="233"/>
                </a:lnTo>
                <a:moveTo>
                  <a:pt x="701" y="425"/>
                </a:moveTo>
                <a:cubicBezTo>
                  <a:pt x="694" y="392"/>
                  <a:pt x="685" y="359"/>
                  <a:pt x="676" y="327"/>
                </a:cubicBezTo>
                <a:lnTo>
                  <a:pt x="700" y="320"/>
                </a:lnTo>
                <a:cubicBezTo>
                  <a:pt x="710" y="352"/>
                  <a:pt x="719" y="386"/>
                  <a:pt x="726" y="419"/>
                </a:cubicBezTo>
                <a:lnTo>
                  <a:pt x="701" y="425"/>
                </a:lnTo>
                <a:moveTo>
                  <a:pt x="727" y="623"/>
                </a:moveTo>
                <a:cubicBezTo>
                  <a:pt x="725" y="590"/>
                  <a:pt x="722" y="556"/>
                  <a:pt x="718" y="523"/>
                </a:cubicBezTo>
                <a:lnTo>
                  <a:pt x="743" y="520"/>
                </a:lnTo>
                <a:cubicBezTo>
                  <a:pt x="748" y="553"/>
                  <a:pt x="750" y="588"/>
                  <a:pt x="751" y="622"/>
                </a:cubicBezTo>
                <a:lnTo>
                  <a:pt x="727" y="623"/>
                </a:lnTo>
                <a:moveTo>
                  <a:pt x="742" y="826"/>
                </a:moveTo>
                <a:lnTo>
                  <a:pt x="717" y="823"/>
                </a:lnTo>
                <a:cubicBezTo>
                  <a:pt x="721" y="790"/>
                  <a:pt x="724" y="756"/>
                  <a:pt x="726" y="723"/>
                </a:cubicBezTo>
                <a:lnTo>
                  <a:pt x="751" y="724"/>
                </a:lnTo>
                <a:cubicBezTo>
                  <a:pt x="750" y="759"/>
                  <a:pt x="747" y="793"/>
                  <a:pt x="742" y="826"/>
                </a:cubicBezTo>
                <a:moveTo>
                  <a:pt x="696" y="1026"/>
                </a:moveTo>
                <a:lnTo>
                  <a:pt x="671" y="1018"/>
                </a:lnTo>
                <a:cubicBezTo>
                  <a:pt x="674" y="1010"/>
                  <a:pt x="677" y="1002"/>
                  <a:pt x="679" y="995"/>
                </a:cubicBezTo>
                <a:cubicBezTo>
                  <a:pt x="686" y="971"/>
                  <a:pt x="693" y="946"/>
                  <a:pt x="699" y="922"/>
                </a:cubicBezTo>
                <a:lnTo>
                  <a:pt x="724" y="927"/>
                </a:lnTo>
                <a:cubicBezTo>
                  <a:pt x="717" y="952"/>
                  <a:pt x="711" y="978"/>
                  <a:pt x="703" y="1002"/>
                </a:cubicBezTo>
                <a:cubicBezTo>
                  <a:pt x="701" y="1010"/>
                  <a:pt x="699" y="1018"/>
                  <a:pt x="696" y="1026"/>
                </a:cubicBezTo>
                <a:moveTo>
                  <a:pt x="613" y="1213"/>
                </a:moveTo>
                <a:lnTo>
                  <a:pt x="591" y="1201"/>
                </a:lnTo>
                <a:cubicBezTo>
                  <a:pt x="608" y="1172"/>
                  <a:pt x="623" y="1141"/>
                  <a:pt x="636" y="1111"/>
                </a:cubicBezTo>
                <a:lnTo>
                  <a:pt x="659" y="1121"/>
                </a:lnTo>
                <a:cubicBezTo>
                  <a:pt x="645" y="1152"/>
                  <a:pt x="630" y="1183"/>
                  <a:pt x="613" y="1213"/>
                </a:cubicBezTo>
                <a:moveTo>
                  <a:pt x="499" y="1383"/>
                </a:moveTo>
                <a:lnTo>
                  <a:pt x="480" y="1367"/>
                </a:lnTo>
                <a:cubicBezTo>
                  <a:pt x="501" y="1341"/>
                  <a:pt x="521" y="1314"/>
                  <a:pt x="539" y="1287"/>
                </a:cubicBezTo>
                <a:lnTo>
                  <a:pt x="560" y="1301"/>
                </a:lnTo>
                <a:cubicBezTo>
                  <a:pt x="541" y="1329"/>
                  <a:pt x="521" y="1357"/>
                  <a:pt x="499" y="1383"/>
                </a:cubicBezTo>
                <a:moveTo>
                  <a:pt x="358" y="1531"/>
                </a:moveTo>
                <a:lnTo>
                  <a:pt x="341" y="1512"/>
                </a:lnTo>
                <a:cubicBezTo>
                  <a:pt x="366" y="1490"/>
                  <a:pt x="390" y="1467"/>
                  <a:pt x="414" y="1443"/>
                </a:cubicBezTo>
                <a:lnTo>
                  <a:pt x="431" y="1460"/>
                </a:lnTo>
                <a:cubicBezTo>
                  <a:pt x="408" y="1485"/>
                  <a:pt x="383" y="1509"/>
                  <a:pt x="358" y="1531"/>
                </a:cubicBezTo>
                <a:moveTo>
                  <a:pt x="193" y="1652"/>
                </a:moveTo>
                <a:lnTo>
                  <a:pt x="180" y="1630"/>
                </a:lnTo>
                <a:cubicBezTo>
                  <a:pt x="208" y="1613"/>
                  <a:pt x="236" y="1594"/>
                  <a:pt x="263" y="1575"/>
                </a:cubicBezTo>
                <a:lnTo>
                  <a:pt x="278" y="1595"/>
                </a:lnTo>
                <a:cubicBezTo>
                  <a:pt x="251" y="1615"/>
                  <a:pt x="222" y="1635"/>
                  <a:pt x="193" y="1652"/>
                </a:cubicBezTo>
                <a:moveTo>
                  <a:pt x="9" y="1742"/>
                </a:moveTo>
                <a:lnTo>
                  <a:pt x="0" y="1718"/>
                </a:lnTo>
                <a:cubicBezTo>
                  <a:pt x="31" y="1706"/>
                  <a:pt x="62" y="1693"/>
                  <a:pt x="92" y="1678"/>
                </a:cubicBezTo>
                <a:lnTo>
                  <a:pt x="103" y="1701"/>
                </a:lnTo>
                <a:cubicBezTo>
                  <a:pt x="72" y="1716"/>
                  <a:pt x="40" y="1729"/>
                  <a:pt x="9" y="17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5" name="Google Shape;515;p26"/>
          <p:cNvSpPr/>
          <p:nvPr/>
        </p:nvSpPr>
        <p:spPr>
          <a:xfrm flipH="1">
            <a:off x="10478973" y="537450"/>
            <a:ext cx="142100" cy="142301"/>
          </a:xfrm>
          <a:custGeom>
            <a:avLst/>
            <a:gdLst/>
            <a:ahLst/>
            <a:cxnLst/>
            <a:rect l="l" t="t" r="r" b="b"/>
            <a:pathLst>
              <a:path w="647" h="648" extrusionOk="0">
                <a:moveTo>
                  <a:pt x="647" y="324"/>
                </a:moveTo>
                <a:cubicBezTo>
                  <a:pt x="647" y="503"/>
                  <a:pt x="502" y="648"/>
                  <a:pt x="323" y="648"/>
                </a:cubicBezTo>
                <a:cubicBezTo>
                  <a:pt x="145" y="648"/>
                  <a:pt x="0" y="503"/>
                  <a:pt x="0" y="324"/>
                </a:cubicBezTo>
                <a:cubicBezTo>
                  <a:pt x="0" y="145"/>
                  <a:pt x="145" y="0"/>
                  <a:pt x="323" y="0"/>
                </a:cubicBezTo>
                <a:cubicBezTo>
                  <a:pt x="502" y="0"/>
                  <a:pt x="647" y="145"/>
                  <a:pt x="647" y="3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0000" tIns="60000" rIns="120000" bIns="6000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strike="noStrik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0165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Heading and Body">
  <p:cSld name="V1 Heading and Body"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Google Shape;645;p31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6" name="Google Shape;646;p31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96740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" userDrawn="1">
  <p:cSld name="V1 Introduction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4" name="Google Shape;684;p4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9;p10">
            <a:extLst>
              <a:ext uri="{FF2B5EF4-FFF2-40B4-BE49-F238E27FC236}">
                <a16:creationId xmlns:a16="http://schemas.microsoft.com/office/drawing/2014/main" id="{E0E6B820-41FA-26FD-7DE7-6309BF30A091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599835" y="3685031"/>
            <a:ext cx="6992331" cy="41692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20;p9">
            <a:extLst>
              <a:ext uri="{FF2B5EF4-FFF2-40B4-BE49-F238E27FC236}">
                <a16:creationId xmlns:a16="http://schemas.microsoft.com/office/drawing/2014/main" id="{DB843516-B290-08A5-5228-9E6B5124E4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267857" y="4729026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Google Shape;435;p11">
            <a:extLst>
              <a:ext uri="{FF2B5EF4-FFF2-40B4-BE49-F238E27FC236}">
                <a16:creationId xmlns:a16="http://schemas.microsoft.com/office/drawing/2014/main" id="{079315E2-1AD0-095E-2F7D-82EF0B15ADA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3090582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94721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ver: Neutral + Picture">
  <p:cSld name="V2 Cover: Neutral + Picture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8"/>
          <p:cNvSpPr/>
          <p:nvPr/>
        </p:nvSpPr>
        <p:spPr>
          <a:xfrm>
            <a:off x="0" y="6416995"/>
            <a:ext cx="12192000" cy="4410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12" name="Google Shape;412;p8"/>
          <p:cNvSpPr/>
          <p:nvPr/>
        </p:nvSpPr>
        <p:spPr>
          <a:xfrm>
            <a:off x="550043" y="493986"/>
            <a:ext cx="6446344" cy="63640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13" name="Google Shape;413;p8"/>
          <p:cNvSpPr>
            <a:spLocks noGrp="1"/>
          </p:cNvSpPr>
          <p:nvPr>
            <p:ph type="pic" idx="2"/>
          </p:nvPr>
        </p:nvSpPr>
        <p:spPr>
          <a:xfrm>
            <a:off x="985837" y="874396"/>
            <a:ext cx="5592127" cy="5983604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14" name="Google Shape;414;p8"/>
          <p:cNvSpPr txBox="1">
            <a:spLocks noGrp="1"/>
          </p:cNvSpPr>
          <p:nvPr>
            <p:ph type="body" idx="1"/>
          </p:nvPr>
        </p:nvSpPr>
        <p:spPr>
          <a:xfrm>
            <a:off x="7644522" y="3637444"/>
            <a:ext cx="3678622" cy="871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5" name="Google Shape;415;p8"/>
          <p:cNvSpPr txBox="1">
            <a:spLocks noGrp="1"/>
          </p:cNvSpPr>
          <p:nvPr>
            <p:ph type="body" idx="3"/>
          </p:nvPr>
        </p:nvSpPr>
        <p:spPr>
          <a:xfrm>
            <a:off x="7644523" y="2203083"/>
            <a:ext cx="3678621" cy="513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6" name="Google Shape;416;p8"/>
          <p:cNvSpPr txBox="1">
            <a:spLocks noGrp="1"/>
          </p:cNvSpPr>
          <p:nvPr>
            <p:ph type="ctrTitle"/>
          </p:nvPr>
        </p:nvSpPr>
        <p:spPr>
          <a:xfrm>
            <a:off x="7644522" y="994965"/>
            <a:ext cx="3678622" cy="1030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dk2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417" name="Google Shape;417;p8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3368" y="6269049"/>
            <a:ext cx="1497955" cy="368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67534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ver: Without Picture" userDrawn="1">
  <p:cSld name="V2 Cover: Without Picture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9"/>
          <p:cNvSpPr/>
          <p:nvPr/>
        </p:nvSpPr>
        <p:spPr>
          <a:xfrm>
            <a:off x="540860" y="540327"/>
            <a:ext cx="11110280" cy="577734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27000" dist="190500" dir="7680000" algn="ctr" rotWithShape="0">
              <a:schemeClr val="dk2">
                <a:alpha val="22745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accent3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0" name="Google Shape;420;p9"/>
          <p:cNvSpPr txBox="1">
            <a:spLocks noGrp="1"/>
          </p:cNvSpPr>
          <p:nvPr>
            <p:ph type="body" idx="1"/>
          </p:nvPr>
        </p:nvSpPr>
        <p:spPr>
          <a:xfrm>
            <a:off x="1505168" y="4833549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1" name="Google Shape;421;p9"/>
          <p:cNvSpPr txBox="1">
            <a:spLocks noGrp="1"/>
          </p:cNvSpPr>
          <p:nvPr>
            <p:ph type="ctrTitle"/>
          </p:nvPr>
        </p:nvSpPr>
        <p:spPr>
          <a:xfrm>
            <a:off x="1505168" y="3182977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22" name="Google Shape;422;p9"/>
          <p:cNvSpPr txBox="1">
            <a:spLocks noGrp="1"/>
          </p:cNvSpPr>
          <p:nvPr>
            <p:ph type="body" idx="2"/>
          </p:nvPr>
        </p:nvSpPr>
        <p:spPr>
          <a:xfrm>
            <a:off x="1505168" y="3885410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23" name="Google Shape;423;p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6123" y="1005716"/>
            <a:ext cx="2319914" cy="5706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32571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Introduction" userDrawn="1">
  <p:cSld name="V2 Introduction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10"/>
          <p:cNvSpPr/>
          <p:nvPr/>
        </p:nvSpPr>
        <p:spPr>
          <a:xfrm>
            <a:off x="0" y="-1"/>
            <a:ext cx="12192000" cy="25610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26" name="Google Shape;426;p1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429;p10">
            <a:extLst>
              <a:ext uri="{FF2B5EF4-FFF2-40B4-BE49-F238E27FC236}">
                <a16:creationId xmlns:a16="http://schemas.microsoft.com/office/drawing/2014/main" id="{ABDFA2FC-E917-A664-CC99-717B75269ADA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599835" y="3685031"/>
            <a:ext cx="6992331" cy="41692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420;p9">
            <a:extLst>
              <a:ext uri="{FF2B5EF4-FFF2-40B4-BE49-F238E27FC236}">
                <a16:creationId xmlns:a16="http://schemas.microsoft.com/office/drawing/2014/main" id="{9404C8CE-AC06-7AF1-D77A-BAB348B6B807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267857" y="4729026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421;p9">
            <a:extLst>
              <a:ext uri="{FF2B5EF4-FFF2-40B4-BE49-F238E27FC236}">
                <a16:creationId xmlns:a16="http://schemas.microsoft.com/office/drawing/2014/main" id="{903D22C5-E621-2724-1D09-70CCB2A19829}"/>
              </a:ext>
            </a:extLst>
          </p:cNvPr>
          <p:cNvSpPr txBox="1">
            <a:spLocks/>
          </p:cNvSpPr>
          <p:nvPr userDrawn="1"/>
        </p:nvSpPr>
        <p:spPr>
          <a:xfrm>
            <a:off x="2266245" y="307845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200" b="1" i="0" u="none" strike="noStrike" cap="none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61861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BFDF4A0-5E02-787A-33A7-AD2CE86C5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2243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FDF4A0-5E02-787A-33A7-AD2CE86C5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C4E7594-4C37-935A-D638-6FD01545D361}"/>
              </a:ext>
            </a:extLst>
          </p:cNvPr>
          <p:cNvSpPr/>
          <p:nvPr userDrawn="1"/>
        </p:nvSpPr>
        <p:spPr>
          <a:xfrm rot="18000000">
            <a:off x="6841259" y="682952"/>
            <a:ext cx="4758065" cy="103005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B1CAE21-CEB3-32B4-6D1F-90C69AAE9A37}"/>
              </a:ext>
            </a:extLst>
          </p:cNvPr>
          <p:cNvSpPr/>
          <p:nvPr userDrawn="1"/>
        </p:nvSpPr>
        <p:spPr>
          <a:xfrm rot="18000000">
            <a:off x="8963558" y="449974"/>
            <a:ext cx="3830631" cy="103005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8CC91D3-7E2E-9251-36B9-48AB07354CC5}"/>
              </a:ext>
            </a:extLst>
          </p:cNvPr>
          <p:cNvSpPr/>
          <p:nvPr userDrawn="1"/>
        </p:nvSpPr>
        <p:spPr>
          <a:xfrm rot="18000000">
            <a:off x="7929935" y="3424403"/>
            <a:ext cx="2463438" cy="103005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F506D69-276C-B0E8-B24C-A16B58D08B41}"/>
              </a:ext>
            </a:extLst>
          </p:cNvPr>
          <p:cNvSpPr/>
          <p:nvPr userDrawn="1"/>
        </p:nvSpPr>
        <p:spPr>
          <a:xfrm rot="18000000">
            <a:off x="9011175" y="2018347"/>
            <a:ext cx="5033898" cy="103005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CB25800-B0FA-685D-0720-427957EF01A2}"/>
              </a:ext>
            </a:extLst>
          </p:cNvPr>
          <p:cNvSpPr/>
          <p:nvPr userDrawn="1"/>
        </p:nvSpPr>
        <p:spPr>
          <a:xfrm rot="18000000">
            <a:off x="6700307" y="-782766"/>
            <a:ext cx="3705631" cy="103005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456282" y="1597981"/>
            <a:ext cx="10515600" cy="4288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0515600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2B343A6-92BF-74A5-0C9E-47B619B89B5F}"/>
              </a:ext>
            </a:extLst>
          </p:cNvPr>
          <p:cNvSpPr/>
          <p:nvPr userDrawn="1"/>
        </p:nvSpPr>
        <p:spPr>
          <a:xfrm rot="18000000">
            <a:off x="10032079" y="4016416"/>
            <a:ext cx="3830631" cy="103005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4062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" preserve="1" userDrawn="1">
  <p:cSld name="V1 Introduction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4" name="Google Shape;684;p4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9;p10">
            <a:extLst>
              <a:ext uri="{FF2B5EF4-FFF2-40B4-BE49-F238E27FC236}">
                <a16:creationId xmlns:a16="http://schemas.microsoft.com/office/drawing/2014/main" id="{E0E6B820-41FA-26FD-7DE7-6309BF30A091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599835" y="3685031"/>
            <a:ext cx="6992331" cy="41692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20;p9">
            <a:extLst>
              <a:ext uri="{FF2B5EF4-FFF2-40B4-BE49-F238E27FC236}">
                <a16:creationId xmlns:a16="http://schemas.microsoft.com/office/drawing/2014/main" id="{DB843516-B290-08A5-5228-9E6B5124E4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267857" y="4729026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Google Shape;435;p11">
            <a:extLst>
              <a:ext uri="{FF2B5EF4-FFF2-40B4-BE49-F238E27FC236}">
                <a16:creationId xmlns:a16="http://schemas.microsoft.com/office/drawing/2014/main" id="{079315E2-1AD0-095E-2F7D-82EF0B15ADA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3090582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43131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 Speaker" preserve="1" userDrawn="1">
  <p:cSld name="V1 Introduction Speaker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9" name="Google Shape;689;p41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5254" y="1"/>
            <a:ext cx="2021493" cy="2021493"/>
          </a:xfrm>
          <a:prstGeom prst="rect">
            <a:avLst/>
          </a:prstGeom>
          <a:noFill/>
          <a:ln>
            <a:noFill/>
          </a:ln>
        </p:spPr>
      </p:pic>
      <p:sp>
        <p:nvSpPr>
          <p:cNvPr id="690" name="Google Shape;690;p41"/>
          <p:cNvSpPr>
            <a:spLocks noGrp="1"/>
          </p:cNvSpPr>
          <p:nvPr>
            <p:ph type="pic" idx="2"/>
          </p:nvPr>
        </p:nvSpPr>
        <p:spPr>
          <a:xfrm>
            <a:off x="5303035" y="3429000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Google Shape;434;p11">
            <a:extLst>
              <a:ext uri="{FF2B5EF4-FFF2-40B4-BE49-F238E27FC236}">
                <a16:creationId xmlns:a16="http://schemas.microsoft.com/office/drawing/2014/main" id="{6CF0A362-B420-C765-1798-67ECCCCF437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2275" y="5135236"/>
            <a:ext cx="11347451" cy="5315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35;p11">
            <a:extLst>
              <a:ext uri="{FF2B5EF4-FFF2-40B4-BE49-F238E27FC236}">
                <a16:creationId xmlns:a16="http://schemas.microsoft.com/office/drawing/2014/main" id="{B044BABF-CA62-DA80-7FEF-DC6DE73FCBCE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2050735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Google Shape;436;p11">
            <a:extLst>
              <a:ext uri="{FF2B5EF4-FFF2-40B4-BE49-F238E27FC236}">
                <a16:creationId xmlns:a16="http://schemas.microsoft.com/office/drawing/2014/main" id="{FEBEE11A-3355-A764-F7A3-86E1855886EC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2246919" y="2661529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8128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+ Subline">
  <p:cSld name="V2 Headline + Subline"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Google Shape;451;p13"/>
          <p:cNvSpPr txBox="1">
            <a:spLocks noGrp="1"/>
          </p:cNvSpPr>
          <p:nvPr>
            <p:ph type="ctrTitle"/>
          </p:nvPr>
        </p:nvSpPr>
        <p:spPr>
          <a:xfrm>
            <a:off x="1" y="2370996"/>
            <a:ext cx="12266022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34275" rIns="0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52" name="Google Shape;452;p13"/>
          <p:cNvSpPr txBox="1">
            <a:spLocks noGrp="1"/>
          </p:cNvSpPr>
          <p:nvPr>
            <p:ph type="body" idx="1"/>
          </p:nvPr>
        </p:nvSpPr>
        <p:spPr>
          <a:xfrm>
            <a:off x="652463" y="3070949"/>
            <a:ext cx="10887075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2400"/>
              <a:buNone/>
              <a:defRPr sz="2000" b="0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858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84881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D06AA93-3BF4-32B6-452A-553788B80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944511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Overview" userDrawn="1">
  <p:cSld name="V2 Overview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/>
          <p:nvPr/>
        </p:nvSpPr>
        <p:spPr>
          <a:xfrm>
            <a:off x="0" y="6388963"/>
            <a:ext cx="4051177" cy="469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27" name="Google Shape;27;p4"/>
          <p:cNvSpPr/>
          <p:nvPr/>
        </p:nvSpPr>
        <p:spPr>
          <a:xfrm>
            <a:off x="0" y="0"/>
            <a:ext cx="216912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" name="Google Shape;28;p4"/>
          <p:cNvSpPr/>
          <p:nvPr/>
        </p:nvSpPr>
        <p:spPr>
          <a:xfrm>
            <a:off x="1559705" y="759419"/>
            <a:ext cx="1432877" cy="1432877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dist="50800" dir="3480000" algn="ctr" rotWithShape="0">
              <a:schemeClr val="dk1">
                <a:alpha val="12941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1597025" y="879079"/>
            <a:ext cx="1355725" cy="118784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920"/>
              <a:buFont typeface="Open Sans SemiBold"/>
              <a:buNone/>
              <a:defRPr sz="6600">
                <a:solidFill>
                  <a:schemeClr val="dk2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600"/>
              <a:buFont typeface="Open Sans SemiBold"/>
              <a:buAutoNum type="arabicPeriod"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600"/>
              <a:buFont typeface="Open Sans SemiBold"/>
              <a:buAutoNum type="arabicPeriod"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280"/>
              <a:buFont typeface="Open Sans SemiBold"/>
              <a:buNone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endParaRPr lang="en-US"/>
          </a:p>
        </p:txBody>
      </p:sp>
      <p:sp>
        <p:nvSpPr>
          <p:cNvPr id="32" name="Google Shape;32;p4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  |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3" name="Google Shape;33;p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9;p3">
            <a:extLst>
              <a:ext uri="{FF2B5EF4-FFF2-40B4-BE49-F238E27FC236}">
                <a16:creationId xmlns:a16="http://schemas.microsoft.com/office/drawing/2014/main" id="{DD816823-9876-E11D-83EF-5FA676D082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643910" y="2263776"/>
            <a:ext cx="6627214" cy="3687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8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20;p3">
            <a:extLst>
              <a:ext uri="{FF2B5EF4-FFF2-40B4-BE49-F238E27FC236}">
                <a16:creationId xmlns:a16="http://schemas.microsoft.com/office/drawing/2014/main" id="{CBDCF93A-E55C-0A0B-7EB4-E1186AF3EC3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43910" y="1252152"/>
            <a:ext cx="6627215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959335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and Body">
  <p:cSld name="V2 Heading and Body"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17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3" name="Google Shape;463;p17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36000" bIns="36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6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D88E6302-C5D4-FD67-E2A9-608ABDF29485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21778" y="6089077"/>
            <a:ext cx="10515600" cy="340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8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703244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userDrawn="1">
  <p:cSld name="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1174064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36000" rIns="3600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6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Google Shape;462;p17">
            <a:extLst>
              <a:ext uri="{FF2B5EF4-FFF2-40B4-BE49-F238E27FC236}">
                <a16:creationId xmlns:a16="http://schemas.microsoft.com/office/drawing/2014/main" id="{5B5279A3-122A-2540-872F-8CFA85D00B5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456282" y="162250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45872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 preserve="1" userDrawn="1">
  <p:cSld name="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3010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Heritage Organisation Base" userDrawn="1">
  <p:cSld name="V2 Namirial Heritage Organisation Base"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p21"/>
          <p:cNvSpPr txBox="1"/>
          <p:nvPr/>
        </p:nvSpPr>
        <p:spPr>
          <a:xfrm>
            <a:off x="1312313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1" name="Google Shape;491;p21"/>
          <p:cNvSpPr>
            <a:spLocks noGrp="1"/>
          </p:cNvSpPr>
          <p:nvPr>
            <p:ph type="pic" idx="2"/>
          </p:nvPr>
        </p:nvSpPr>
        <p:spPr>
          <a:xfrm>
            <a:off x="1518085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92" name="Google Shape;492;p21"/>
          <p:cNvSpPr txBox="1"/>
          <p:nvPr/>
        </p:nvSpPr>
        <p:spPr>
          <a:xfrm>
            <a:off x="3709616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3" name="Google Shape;493;p21"/>
          <p:cNvSpPr>
            <a:spLocks noGrp="1"/>
          </p:cNvSpPr>
          <p:nvPr>
            <p:ph type="pic" idx="3"/>
          </p:nvPr>
        </p:nvSpPr>
        <p:spPr>
          <a:xfrm>
            <a:off x="3915388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94" name="Google Shape;494;p21"/>
          <p:cNvSpPr txBox="1"/>
          <p:nvPr/>
        </p:nvSpPr>
        <p:spPr>
          <a:xfrm>
            <a:off x="6106919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5" name="Google Shape;495;p21"/>
          <p:cNvSpPr>
            <a:spLocks noGrp="1"/>
          </p:cNvSpPr>
          <p:nvPr>
            <p:ph type="pic" idx="4"/>
          </p:nvPr>
        </p:nvSpPr>
        <p:spPr>
          <a:xfrm>
            <a:off x="6312691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96" name="Google Shape;496;p21"/>
          <p:cNvSpPr txBox="1"/>
          <p:nvPr/>
        </p:nvSpPr>
        <p:spPr>
          <a:xfrm>
            <a:off x="8709994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7" name="Google Shape;497;p21"/>
          <p:cNvSpPr>
            <a:spLocks noGrp="1"/>
          </p:cNvSpPr>
          <p:nvPr>
            <p:ph type="pic" idx="5"/>
          </p:nvPr>
        </p:nvSpPr>
        <p:spPr>
          <a:xfrm>
            <a:off x="8915766" y="1545912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98" name="Google Shape;498;p21"/>
          <p:cNvSpPr txBox="1"/>
          <p:nvPr/>
        </p:nvSpPr>
        <p:spPr>
          <a:xfrm>
            <a:off x="1312313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9" name="Google Shape;499;p21"/>
          <p:cNvSpPr>
            <a:spLocks noGrp="1"/>
          </p:cNvSpPr>
          <p:nvPr>
            <p:ph type="pic" idx="6"/>
          </p:nvPr>
        </p:nvSpPr>
        <p:spPr>
          <a:xfrm>
            <a:off x="1518085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500" name="Google Shape;500;p21"/>
          <p:cNvSpPr txBox="1"/>
          <p:nvPr/>
        </p:nvSpPr>
        <p:spPr>
          <a:xfrm>
            <a:off x="3709616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1" name="Google Shape;501;p21"/>
          <p:cNvSpPr>
            <a:spLocks noGrp="1"/>
          </p:cNvSpPr>
          <p:nvPr>
            <p:ph type="pic" idx="7"/>
          </p:nvPr>
        </p:nvSpPr>
        <p:spPr>
          <a:xfrm>
            <a:off x="3915388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502" name="Google Shape;502;p21"/>
          <p:cNvSpPr txBox="1"/>
          <p:nvPr/>
        </p:nvSpPr>
        <p:spPr>
          <a:xfrm>
            <a:off x="6106919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3" name="Google Shape;503;p21"/>
          <p:cNvSpPr>
            <a:spLocks noGrp="1"/>
          </p:cNvSpPr>
          <p:nvPr>
            <p:ph type="pic" idx="8"/>
          </p:nvPr>
        </p:nvSpPr>
        <p:spPr>
          <a:xfrm>
            <a:off x="6312691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504" name="Google Shape;504;p21"/>
          <p:cNvSpPr txBox="1"/>
          <p:nvPr/>
        </p:nvSpPr>
        <p:spPr>
          <a:xfrm>
            <a:off x="8709994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5" name="Google Shape;505;p21"/>
          <p:cNvSpPr>
            <a:spLocks noGrp="1"/>
          </p:cNvSpPr>
          <p:nvPr>
            <p:ph type="pic" idx="9"/>
          </p:nvPr>
        </p:nvSpPr>
        <p:spPr>
          <a:xfrm>
            <a:off x="8915766" y="3979175"/>
            <a:ext cx="1593001" cy="1593001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Google Shape;36;p5">
            <a:extLst>
              <a:ext uri="{FF2B5EF4-FFF2-40B4-BE49-F238E27FC236}">
                <a16:creationId xmlns:a16="http://schemas.microsoft.com/office/drawing/2014/main" id="{45FFA809-A4D0-576E-AE03-2BA10F06F01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456282" y="861713"/>
            <a:ext cx="11174064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0000" tIns="45700" rIns="108000" bIns="45700" anchor="t" anchorCtr="0">
            <a:no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37;p5">
            <a:extLst>
              <a:ext uri="{FF2B5EF4-FFF2-40B4-BE49-F238E27FC236}">
                <a16:creationId xmlns:a16="http://schemas.microsoft.com/office/drawing/2014/main" id="{DCFCC39A-86F1-C0E5-74C9-D7A08E9030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350388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661F7B-C48B-AD34-7587-EB463AA557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7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661F7B-C48B-AD34-7587-EB463AA55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BE4A1DEA-6DD0-538D-6474-3FAC835AEA99}"/>
              </a:ext>
            </a:extLst>
          </p:cNvPr>
          <p:cNvSpPr/>
          <p:nvPr userDrawn="1"/>
        </p:nvSpPr>
        <p:spPr>
          <a:xfrm>
            <a:off x="-662259" y="3429000"/>
            <a:ext cx="2745746" cy="2745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4" name="Google Shape;703;p42">
            <a:extLst>
              <a:ext uri="{FF2B5EF4-FFF2-40B4-BE49-F238E27FC236}">
                <a16:creationId xmlns:a16="http://schemas.microsoft.com/office/drawing/2014/main" id="{2A7461F1-21CE-A367-381B-026B130925BF}"/>
              </a:ext>
            </a:extLst>
          </p:cNvPr>
          <p:cNvSpPr>
            <a:spLocks noGrp="1"/>
          </p:cNvSpPr>
          <p:nvPr>
            <p:ph type="pic" idx="6"/>
          </p:nvPr>
        </p:nvSpPr>
        <p:spPr>
          <a:xfrm>
            <a:off x="-662257" y="-448341"/>
            <a:ext cx="4242127" cy="4242127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330200" dist="342900" dir="6000000" sx="97000" sy="97000" algn="tl" rotWithShape="0">
              <a:schemeClr val="bg2">
                <a:alpha val="18000"/>
              </a:schemeClr>
            </a:outerShdw>
          </a:effectLst>
        </p:spPr>
        <p:txBody>
          <a:bodyPr/>
          <a:lstStyle/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3579870" y="2901486"/>
            <a:ext cx="8050473" cy="3337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3579871" y="2165219"/>
            <a:ext cx="8050472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3579872" y="1713840"/>
            <a:ext cx="8050473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DB87E2A-2450-5A2A-34B7-7E2DDD2DDA63}"/>
              </a:ext>
            </a:extLst>
          </p:cNvPr>
          <p:cNvSpPr/>
          <p:nvPr userDrawn="1"/>
        </p:nvSpPr>
        <p:spPr>
          <a:xfrm>
            <a:off x="3667956" y="-771607"/>
            <a:ext cx="2140085" cy="21400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3035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Desktop" userDrawn="1">
  <p:cSld name="V2 Content and Desktop"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25"/>
          <p:cNvSpPr>
            <a:spLocks noGrp="1"/>
          </p:cNvSpPr>
          <p:nvPr>
            <p:ph type="pic" idx="2"/>
          </p:nvPr>
        </p:nvSpPr>
        <p:spPr>
          <a:xfrm>
            <a:off x="5073678" y="1638276"/>
            <a:ext cx="6026311" cy="370718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605" name="Google Shape;605;p25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06" name="Google Shape;606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28840" y="1273377"/>
            <a:ext cx="6679422" cy="5323365"/>
          </a:xfrm>
          <a:prstGeom prst="rect">
            <a:avLst/>
          </a:prstGeom>
          <a:noFill/>
          <a:ln>
            <a:noFill/>
          </a:ln>
        </p:spPr>
      </p:pic>
      <p:sp>
        <p:nvSpPr>
          <p:cNvPr id="607" name="Google Shape;607;p2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96027DE6-A5F2-5530-B517-F62FA66CDC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4056961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836274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Laptop" userDrawn="1">
  <p:cSld name="V2 Content and Laptop"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0" name="Google Shape;610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83827" y="1605034"/>
            <a:ext cx="7461607" cy="4665138"/>
          </a:xfrm>
          <a:prstGeom prst="rect">
            <a:avLst/>
          </a:prstGeom>
          <a:noFill/>
          <a:ln>
            <a:noFill/>
          </a:ln>
        </p:spPr>
      </p:pic>
      <p:sp>
        <p:nvSpPr>
          <p:cNvPr id="611" name="Google Shape;611;p26"/>
          <p:cNvSpPr>
            <a:spLocks noGrp="1"/>
          </p:cNvSpPr>
          <p:nvPr>
            <p:ph type="pic" idx="2"/>
          </p:nvPr>
        </p:nvSpPr>
        <p:spPr>
          <a:xfrm>
            <a:off x="5259519" y="1911302"/>
            <a:ext cx="5740782" cy="341696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613" name="Google Shape;613;p26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4" name="Google Shape;614;p26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Google Shape;462;p17">
            <a:extLst>
              <a:ext uri="{FF2B5EF4-FFF2-40B4-BE49-F238E27FC236}">
                <a16:creationId xmlns:a16="http://schemas.microsoft.com/office/drawing/2014/main" id="{64B8125B-4329-1FB3-B757-028984731D7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4056961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24206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Tablet" userDrawn="1">
  <p:cSld name="V2 Content and Tablet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27"/>
          <p:cNvSpPr>
            <a:spLocks noGrp="1"/>
          </p:cNvSpPr>
          <p:nvPr>
            <p:ph type="pic" idx="2"/>
          </p:nvPr>
        </p:nvSpPr>
        <p:spPr>
          <a:xfrm>
            <a:off x="7351366" y="1266971"/>
            <a:ext cx="3641008" cy="477727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619" name="Google Shape;619;p27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20" name="Google Shape;620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48666" y="790575"/>
            <a:ext cx="4058939" cy="6352240"/>
          </a:xfrm>
          <a:prstGeom prst="rect">
            <a:avLst/>
          </a:prstGeom>
          <a:noFill/>
          <a:ln>
            <a:noFill/>
          </a:ln>
        </p:spPr>
      </p:pic>
      <p:sp>
        <p:nvSpPr>
          <p:cNvPr id="621" name="Google Shape;621;p27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09358056-9E71-7CFE-3914-D04280A475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6425588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709634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hone" userDrawn="1">
  <p:cSld name="V2 Content and Phone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" name="Google Shape;624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563583" y="1001281"/>
            <a:ext cx="2859726" cy="5856719"/>
          </a:xfrm>
          <a:prstGeom prst="rect">
            <a:avLst/>
          </a:prstGeom>
          <a:noFill/>
          <a:ln>
            <a:noFill/>
          </a:ln>
        </p:spPr>
      </p:pic>
      <p:sp>
        <p:nvSpPr>
          <p:cNvPr id="625" name="Google Shape;625;p28"/>
          <p:cNvSpPr>
            <a:spLocks noGrp="1"/>
          </p:cNvSpPr>
          <p:nvPr>
            <p:ph type="pic" idx="2"/>
          </p:nvPr>
        </p:nvSpPr>
        <p:spPr>
          <a:xfrm>
            <a:off x="8834615" y="1329349"/>
            <a:ext cx="2303188" cy="4579875"/>
          </a:xfrm>
          <a:prstGeom prst="roundRect">
            <a:avLst>
              <a:gd name="adj" fmla="val 6970"/>
            </a:avLst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627" name="Google Shape;627;p28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8" name="Google Shape;628;p28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CC82448F-5431-FD81-EA4B-342E0834742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8092827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20198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" userDrawn="1">
  <p:cSld name="V2 Conclus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29"/>
          <p:cNvSpPr/>
          <p:nvPr/>
        </p:nvSpPr>
        <p:spPr>
          <a:xfrm>
            <a:off x="0" y="0"/>
            <a:ext cx="12192000" cy="21786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1" name="Google Shape;631;p29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Font typeface="Open Sans SemiBold"/>
              <a:buNone/>
              <a:defRPr sz="30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32" name="Google Shape;632;p29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Namirial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3" name="Google Shape;633;p29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34" name="Google Shape;634;p2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266;p59">
            <a:extLst>
              <a:ext uri="{FF2B5EF4-FFF2-40B4-BE49-F238E27FC236}">
                <a16:creationId xmlns:a16="http://schemas.microsoft.com/office/drawing/2014/main" id="{261C12FF-CD69-B205-C8E9-14F3796FE29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0" lv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07091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clusion" preserve="1">
  <p:cSld name="V1 Conclusion">
    <p:spTree>
      <p:nvGrpSpPr>
        <p:cNvPr id="1" name="Shape 1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2" name="Google Shape;1262;p59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63" name="Google Shape;1263;p59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Namirial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4" name="Google Shape;1264;p59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265" name="Google Shape;1265;p5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1266" name="Google Shape;1266;p59"/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0" lv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466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tact" preserve="1" userDrawn="1">
  <p:cSld name="V1 Contact"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2" name="Google Shape;702;p42" descr="Unterhaltu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07833" y="-448238"/>
            <a:ext cx="4530931" cy="4530931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42"/>
          <p:cNvSpPr txBox="1"/>
          <p:nvPr/>
        </p:nvSpPr>
        <p:spPr>
          <a:xfrm>
            <a:off x="698937" y="789582"/>
            <a:ext cx="3917513" cy="487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0" i="0">
                <a:solidFill>
                  <a:schemeClr val="dk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Open Sans"/>
              </a:rPr>
              <a:t>Get in contact!</a:t>
            </a:r>
            <a:endParaRPr b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08702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 1" userDrawn="1">
  <p:cSld name="V2 Conclusion 1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p30"/>
          <p:cNvSpPr/>
          <p:nvPr/>
        </p:nvSpPr>
        <p:spPr>
          <a:xfrm>
            <a:off x="-6275" y="4848400"/>
            <a:ext cx="12198300" cy="20097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40" name="Google Shape;640;p30"/>
          <p:cNvSpPr txBox="1"/>
          <p:nvPr/>
        </p:nvSpPr>
        <p:spPr>
          <a:xfrm>
            <a:off x="11246152" y="6538912"/>
            <a:ext cx="706200" cy="2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42" name="Google Shape;642;p30"/>
          <p:cNvSpPr>
            <a:spLocks noGrp="1"/>
          </p:cNvSpPr>
          <p:nvPr>
            <p:ph type="pic" idx="2"/>
          </p:nvPr>
        </p:nvSpPr>
        <p:spPr>
          <a:xfrm>
            <a:off x="-14100" y="-9400"/>
            <a:ext cx="12198300" cy="48594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pic>
        <p:nvPicPr>
          <p:cNvPr id="643" name="Google Shape;643;p3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065" y="6120901"/>
            <a:ext cx="2100263" cy="5166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36;p5">
            <a:extLst>
              <a:ext uri="{FF2B5EF4-FFF2-40B4-BE49-F238E27FC236}">
                <a16:creationId xmlns:a16="http://schemas.microsoft.com/office/drawing/2014/main" id="{991A2ACC-5DC1-8CD5-56E2-6B504C653F03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456282" y="5499364"/>
            <a:ext cx="8884568" cy="1063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Google Shape;628;p28">
            <a:extLst>
              <a:ext uri="{FF2B5EF4-FFF2-40B4-BE49-F238E27FC236}">
                <a16:creationId xmlns:a16="http://schemas.microsoft.com/office/drawing/2014/main" id="{39FE5F37-DD50-AD30-250E-1F2FFC3CAD0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5057665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05027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and Body" userDrawn="1">
  <p:cSld name="1_V2 Heading and Body"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p17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260922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>
  <p:cSld name="1_V2 Heading, Subline and Body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1"/>
          <p:cNvSpPr txBox="1">
            <a:spLocks noGrp="1"/>
          </p:cNvSpPr>
          <p:nvPr>
            <p:ph type="body" idx="1"/>
          </p:nvPr>
        </p:nvSpPr>
        <p:spPr>
          <a:xfrm>
            <a:off x="456282" y="1597981"/>
            <a:ext cx="10515600" cy="4288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1"/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0515600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21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56330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0DA8AB-742D-10D3-81B8-101EBCF9F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600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0DA8AB-742D-10D3-81B8-101EBCF9F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6C6EA76-AE7D-4F66-918A-A1A04B68C888}"/>
              </a:ext>
            </a:extLst>
          </p:cNvPr>
          <p:cNvSpPr/>
          <p:nvPr userDrawn="1"/>
        </p:nvSpPr>
        <p:spPr>
          <a:xfrm>
            <a:off x="494030" y="1407268"/>
            <a:ext cx="11203939" cy="4753583"/>
          </a:xfrm>
          <a:prstGeom prst="roundRect">
            <a:avLst>
              <a:gd name="adj" fmla="val 213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963038" y="1866128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11174064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35;p5">
            <a:extLst>
              <a:ext uri="{FF2B5EF4-FFF2-40B4-BE49-F238E27FC236}">
                <a16:creationId xmlns:a16="http://schemas.microsoft.com/office/drawing/2014/main" id="{8AF2E3A7-60D0-E282-F4C5-D97E9CDAFB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337569" y="1836945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95201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icture 1">
  <p:cSld name="V2 Content and Picture 1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7310438" y="1335088"/>
            <a:ext cx="3824287" cy="2236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" name="Google Shape;19;p3"/>
          <p:cNvSpPr txBox="1">
            <a:spLocks noGrp="1"/>
          </p:cNvSpPr>
          <p:nvPr>
            <p:ph type="body" idx="1"/>
          </p:nvPr>
        </p:nvSpPr>
        <p:spPr>
          <a:xfrm>
            <a:off x="4678960" y="1146251"/>
            <a:ext cx="576457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4678960" y="410334"/>
            <a:ext cx="7088695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/>
          <p:nvPr/>
        </p:nvSpPr>
        <p:spPr>
          <a:xfrm>
            <a:off x="0" y="1"/>
            <a:ext cx="438192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2" name="Google Shape;22;p3"/>
          <p:cNvSpPr>
            <a:spLocks noGrp="1"/>
          </p:cNvSpPr>
          <p:nvPr>
            <p:ph type="pic" idx="2"/>
          </p:nvPr>
        </p:nvSpPr>
        <p:spPr>
          <a:xfrm>
            <a:off x="0" y="0"/>
            <a:ext cx="4381928" cy="6857999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3" name="Google Shape;23;p3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</a:t>
            </a:r>
            <a:r>
              <a:rPr lang="en-US" sz="1050" b="0" i="0" u="none" strike="noStrike" cap="none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irial</a:t>
            </a: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– All rights reserved  |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4" name="Google Shape;24;p3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13597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T - SLIDE IMMAGIN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94789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7CBF913-D8EB-0F39-AF02-C26429EAC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0B693-1AFA-4E2C-B94F-E1AFCCA5060B}" type="datetimeFigureOut">
              <a:rPr lang="it-IT" smtClean="0"/>
              <a:t>27/04/26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8199E831-3C30-9E4C-A80A-3A0E397BD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DFDE17C-0EFF-F093-6F53-1BA366CBD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BD7ECC-FBE4-449C-AFF0-568DBCAD13E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215201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1829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userDrawn="1">
  <p:cSld name="1_V2 Heading, Subline and Body">
    <p:bg>
      <p:bgPr>
        <a:solidFill>
          <a:schemeClr val="bg1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8CD4F7-1232-F31C-EE4B-5717C037FA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8440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8CD4F7-1232-F31C-EE4B-5717C037F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79;p20">
            <a:extLst>
              <a:ext uri="{FF2B5EF4-FFF2-40B4-BE49-F238E27FC236}">
                <a16:creationId xmlns:a16="http://schemas.microsoft.com/office/drawing/2014/main" id="{121368CC-EFD8-1937-35FA-FF485CD66FB0}"/>
              </a:ext>
            </a:extLst>
          </p:cNvPr>
          <p:cNvSpPr/>
          <p:nvPr userDrawn="1"/>
        </p:nvSpPr>
        <p:spPr>
          <a:xfrm flipH="1">
            <a:off x="0" y="1"/>
            <a:ext cx="5854432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574418" y="1866128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1" y="861713"/>
            <a:ext cx="5079649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5052978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35;p5">
            <a:extLst>
              <a:ext uri="{FF2B5EF4-FFF2-40B4-BE49-F238E27FC236}">
                <a16:creationId xmlns:a16="http://schemas.microsoft.com/office/drawing/2014/main" id="{8AF2E3A7-60D0-E282-F4C5-D97E9CDAFB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337569" y="1836945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" name="Google Shape;12;p1">
            <a:extLst>
              <a:ext uri="{FF2B5EF4-FFF2-40B4-BE49-F238E27FC236}">
                <a16:creationId xmlns:a16="http://schemas.microsoft.com/office/drawing/2014/main" id="{4DFA2506-A188-2465-ACB4-CD86D4AB20BC}"/>
              </a:ext>
            </a:extLst>
          </p:cNvPr>
          <p:cNvSpPr txBox="1"/>
          <p:nvPr userDrawn="1"/>
        </p:nvSpPr>
        <p:spPr>
          <a:xfrm>
            <a:off x="1352365" y="6558415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Google Shape;14;p1">
            <a:extLst>
              <a:ext uri="{FF2B5EF4-FFF2-40B4-BE49-F238E27FC236}">
                <a16:creationId xmlns:a16="http://schemas.microsoft.com/office/drawing/2014/main" id="{7D4C52F8-B945-481F-DB2E-0749F6E2A353}"/>
              </a:ext>
            </a:extLst>
          </p:cNvPr>
          <p:cNvPicPr preferRelativeResize="0"/>
          <p:nvPr userDrawn="1"/>
        </p:nvPicPr>
        <p:blipFill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576" y="651894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656298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Heading and Body">
  <p:cSld name="V1 Heading and Body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95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2" name="Google Shape;672;p9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14042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Neutral">
  <p:cSld name="V2 Headline Neutral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4"/>
          <p:cNvSpPr txBox="1">
            <a:spLocks noGrp="1"/>
          </p:cNvSpPr>
          <p:nvPr>
            <p:ph type="ctrTitle"/>
          </p:nvPr>
        </p:nvSpPr>
        <p:spPr>
          <a:xfrm>
            <a:off x="0" y="2834552"/>
            <a:ext cx="12192000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7762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Overview" userDrawn="1">
  <p:cSld name="1_V2 Overview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/>
          <p:nvPr/>
        </p:nvSpPr>
        <p:spPr>
          <a:xfrm>
            <a:off x="0" y="6388963"/>
            <a:ext cx="4051177" cy="469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32" name="Google Shape;32;p4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  |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3" name="Google Shape;33;p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9;p3">
            <a:extLst>
              <a:ext uri="{FF2B5EF4-FFF2-40B4-BE49-F238E27FC236}">
                <a16:creationId xmlns:a16="http://schemas.microsoft.com/office/drawing/2014/main" id="{DD816823-9876-E11D-83EF-5FA676D082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643910" y="2263776"/>
            <a:ext cx="6627214" cy="3687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8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20;p3">
            <a:extLst>
              <a:ext uri="{FF2B5EF4-FFF2-40B4-BE49-F238E27FC236}">
                <a16:creationId xmlns:a16="http://schemas.microsoft.com/office/drawing/2014/main" id="{CBDCF93A-E55C-0A0B-7EB4-E1186AF3EC3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43910" y="1252152"/>
            <a:ext cx="6627215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574941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and Body">
  <p:cSld name="1_V2 Heading and Body"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17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3" name="Google Shape;463;p17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365260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1491F2-0CE3-DCDE-8AA8-5A6DE4243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728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491F2-0CE3-DCDE-8AA8-5A6DE4243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88C6FA-3240-9F0B-EFD7-EB9FECB2A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9369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6600000" scaled="0"/>
        </a:gra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F3E8A3A-FB4D-E1E6-E8AC-37324E15EB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31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3E8A3A-FB4D-E1E6-E8AC-37324E15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2D9E81E-997B-6877-70F1-BADCB26DAC41}"/>
              </a:ext>
            </a:extLst>
          </p:cNvPr>
          <p:cNvSpPr/>
          <p:nvPr userDrawn="1"/>
        </p:nvSpPr>
        <p:spPr>
          <a:xfrm>
            <a:off x="494030" y="1407268"/>
            <a:ext cx="11203939" cy="4753583"/>
          </a:xfrm>
          <a:prstGeom prst="roundRect">
            <a:avLst>
              <a:gd name="adj" fmla="val 21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963038" y="1866128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1" y="861713"/>
            <a:ext cx="11203939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35;p5">
            <a:extLst>
              <a:ext uri="{FF2B5EF4-FFF2-40B4-BE49-F238E27FC236}">
                <a16:creationId xmlns:a16="http://schemas.microsoft.com/office/drawing/2014/main" id="{8AF2E3A7-60D0-E282-F4C5-D97E9CDAFB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337569" y="1836945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1208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ver: Green + Picture" userDrawn="1">
  <p:cSld name="V2 Cover: Green + Picture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7"/>
          <p:cNvSpPr>
            <a:spLocks noGrp="1"/>
          </p:cNvSpPr>
          <p:nvPr>
            <p:ph type="pic" idx="2"/>
          </p:nvPr>
        </p:nvSpPr>
        <p:spPr>
          <a:xfrm>
            <a:off x="-1" y="0"/>
            <a:ext cx="12191999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404" name="Google Shape;404;p7"/>
          <p:cNvSpPr/>
          <p:nvPr/>
        </p:nvSpPr>
        <p:spPr>
          <a:xfrm>
            <a:off x="0" y="6416995"/>
            <a:ext cx="12192000" cy="4410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05" name="Google Shape;405;p7"/>
          <p:cNvSpPr/>
          <p:nvPr/>
        </p:nvSpPr>
        <p:spPr>
          <a:xfrm>
            <a:off x="1483043" y="0"/>
            <a:ext cx="551334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06" name="Google Shape;406;p7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6828" y="6232729"/>
            <a:ext cx="1498294" cy="36853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414;p8">
            <a:extLst>
              <a:ext uri="{FF2B5EF4-FFF2-40B4-BE49-F238E27FC236}">
                <a16:creationId xmlns:a16="http://schemas.microsoft.com/office/drawing/2014/main" id="{3610DF32-FFC5-EA76-5D0F-9D2BFF9CC39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116847" y="3637444"/>
            <a:ext cx="3678622" cy="871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415;p8">
            <a:extLst>
              <a:ext uri="{FF2B5EF4-FFF2-40B4-BE49-F238E27FC236}">
                <a16:creationId xmlns:a16="http://schemas.microsoft.com/office/drawing/2014/main" id="{A7661278-D066-3241-D1F8-30EB2D16F9D5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2116848" y="2203083"/>
            <a:ext cx="3678621" cy="513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416;p8">
            <a:extLst>
              <a:ext uri="{FF2B5EF4-FFF2-40B4-BE49-F238E27FC236}">
                <a16:creationId xmlns:a16="http://schemas.microsoft.com/office/drawing/2014/main" id="{0BDA6AC9-4BF2-E95D-6B13-82DD2FC47F63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116847" y="994965"/>
            <a:ext cx="3678622" cy="1030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99012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ver: Neutral + Picture">
  <p:cSld name="V2 Cover: Neutral + Picture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8"/>
          <p:cNvSpPr/>
          <p:nvPr/>
        </p:nvSpPr>
        <p:spPr>
          <a:xfrm>
            <a:off x="0" y="6416995"/>
            <a:ext cx="12192000" cy="4410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12" name="Google Shape;412;p8"/>
          <p:cNvSpPr/>
          <p:nvPr/>
        </p:nvSpPr>
        <p:spPr>
          <a:xfrm>
            <a:off x="550043" y="493986"/>
            <a:ext cx="6446344" cy="63640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13" name="Google Shape;413;p8"/>
          <p:cNvSpPr>
            <a:spLocks noGrp="1"/>
          </p:cNvSpPr>
          <p:nvPr>
            <p:ph type="pic" idx="2"/>
          </p:nvPr>
        </p:nvSpPr>
        <p:spPr>
          <a:xfrm>
            <a:off x="985837" y="874396"/>
            <a:ext cx="5592127" cy="5983604"/>
          </a:xfrm>
          <a:prstGeom prst="rect">
            <a:avLst/>
          </a:prstGeom>
          <a:noFill/>
          <a:ln>
            <a:noFill/>
          </a:ln>
        </p:spPr>
      </p:sp>
      <p:sp>
        <p:nvSpPr>
          <p:cNvPr id="414" name="Google Shape;414;p8"/>
          <p:cNvSpPr txBox="1">
            <a:spLocks noGrp="1"/>
          </p:cNvSpPr>
          <p:nvPr>
            <p:ph type="body" idx="1"/>
          </p:nvPr>
        </p:nvSpPr>
        <p:spPr>
          <a:xfrm>
            <a:off x="7644522" y="3637444"/>
            <a:ext cx="3678622" cy="871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5" name="Google Shape;415;p8"/>
          <p:cNvSpPr txBox="1">
            <a:spLocks noGrp="1"/>
          </p:cNvSpPr>
          <p:nvPr>
            <p:ph type="body" idx="3"/>
          </p:nvPr>
        </p:nvSpPr>
        <p:spPr>
          <a:xfrm>
            <a:off x="7644523" y="2203083"/>
            <a:ext cx="3678621" cy="513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6" name="Google Shape;416;p8"/>
          <p:cNvSpPr txBox="1">
            <a:spLocks noGrp="1"/>
          </p:cNvSpPr>
          <p:nvPr>
            <p:ph type="ctrTitle"/>
          </p:nvPr>
        </p:nvSpPr>
        <p:spPr>
          <a:xfrm>
            <a:off x="7644522" y="994965"/>
            <a:ext cx="3678622" cy="1030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dk2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417" name="Google Shape;417;p8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3368" y="6269049"/>
            <a:ext cx="1497955" cy="368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56483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ver: Without Picture" userDrawn="1">
  <p:cSld name="V2 Cover: Without Picture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9"/>
          <p:cNvSpPr/>
          <p:nvPr/>
        </p:nvSpPr>
        <p:spPr>
          <a:xfrm>
            <a:off x="540860" y="540327"/>
            <a:ext cx="11110280" cy="577734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27000" dist="190500" dir="7680000" algn="ctr" rotWithShape="0">
              <a:schemeClr val="dk2">
                <a:alpha val="22745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accent3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0" name="Google Shape;420;p9"/>
          <p:cNvSpPr txBox="1">
            <a:spLocks noGrp="1"/>
          </p:cNvSpPr>
          <p:nvPr>
            <p:ph type="body" idx="1"/>
          </p:nvPr>
        </p:nvSpPr>
        <p:spPr>
          <a:xfrm>
            <a:off x="1505168" y="4833549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1" name="Google Shape;421;p9"/>
          <p:cNvSpPr txBox="1">
            <a:spLocks noGrp="1"/>
          </p:cNvSpPr>
          <p:nvPr>
            <p:ph type="ctrTitle"/>
          </p:nvPr>
        </p:nvSpPr>
        <p:spPr>
          <a:xfrm>
            <a:off x="1505168" y="3182977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22" name="Google Shape;422;p9"/>
          <p:cNvSpPr txBox="1">
            <a:spLocks noGrp="1"/>
          </p:cNvSpPr>
          <p:nvPr>
            <p:ph type="body" idx="2"/>
          </p:nvPr>
        </p:nvSpPr>
        <p:spPr>
          <a:xfrm>
            <a:off x="1505168" y="3885410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23" name="Google Shape;423;p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6123" y="1005716"/>
            <a:ext cx="2319914" cy="5706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79089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Introduction" userDrawn="1">
  <p:cSld name="V2 Introduction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10"/>
          <p:cNvSpPr/>
          <p:nvPr/>
        </p:nvSpPr>
        <p:spPr>
          <a:xfrm>
            <a:off x="0" y="-1"/>
            <a:ext cx="12192000" cy="25610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26" name="Google Shape;426;p1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429;p10">
            <a:extLst>
              <a:ext uri="{FF2B5EF4-FFF2-40B4-BE49-F238E27FC236}">
                <a16:creationId xmlns:a16="http://schemas.microsoft.com/office/drawing/2014/main" id="{ABDFA2FC-E917-A664-CC99-717B75269ADA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599835" y="3685031"/>
            <a:ext cx="6992331" cy="41692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Google Shape;420;p9">
            <a:extLst>
              <a:ext uri="{FF2B5EF4-FFF2-40B4-BE49-F238E27FC236}">
                <a16:creationId xmlns:a16="http://schemas.microsoft.com/office/drawing/2014/main" id="{9404C8CE-AC06-7AF1-D77A-BAB348B6B807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267857" y="4729026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421;p9">
            <a:extLst>
              <a:ext uri="{FF2B5EF4-FFF2-40B4-BE49-F238E27FC236}">
                <a16:creationId xmlns:a16="http://schemas.microsoft.com/office/drawing/2014/main" id="{903D22C5-E621-2724-1D09-70CCB2A19829}"/>
              </a:ext>
            </a:extLst>
          </p:cNvPr>
          <p:cNvSpPr txBox="1">
            <a:spLocks/>
          </p:cNvSpPr>
          <p:nvPr userDrawn="1"/>
        </p:nvSpPr>
        <p:spPr>
          <a:xfrm>
            <a:off x="2266245" y="307845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200" b="1" i="0" u="none" strike="noStrike" cap="none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48432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" preserve="1" userDrawn="1">
  <p:cSld name="V1 Introduction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4" name="Google Shape;684;p4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560" y="1"/>
            <a:ext cx="2484880" cy="24848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9;p10">
            <a:extLst>
              <a:ext uri="{FF2B5EF4-FFF2-40B4-BE49-F238E27FC236}">
                <a16:creationId xmlns:a16="http://schemas.microsoft.com/office/drawing/2014/main" id="{E0E6B820-41FA-26FD-7DE7-6309BF30A091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599835" y="3685031"/>
            <a:ext cx="6992331" cy="41692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20;p9">
            <a:extLst>
              <a:ext uri="{FF2B5EF4-FFF2-40B4-BE49-F238E27FC236}">
                <a16:creationId xmlns:a16="http://schemas.microsoft.com/office/drawing/2014/main" id="{DB843516-B290-08A5-5228-9E6B5124E4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267857" y="4729026"/>
            <a:ext cx="565628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Google Shape;435;p11">
            <a:extLst>
              <a:ext uri="{FF2B5EF4-FFF2-40B4-BE49-F238E27FC236}">
                <a16:creationId xmlns:a16="http://schemas.microsoft.com/office/drawing/2014/main" id="{079315E2-1AD0-095E-2F7D-82EF0B15ADA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3090582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795906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Introduction Speaker" preserve="1" userDrawn="1">
  <p:cSld name="V1 Introduction Speaker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9" name="Google Shape;689;p41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5254" y="1"/>
            <a:ext cx="2021493" cy="2021493"/>
          </a:xfrm>
          <a:prstGeom prst="rect">
            <a:avLst/>
          </a:prstGeom>
          <a:noFill/>
          <a:ln>
            <a:noFill/>
          </a:ln>
        </p:spPr>
      </p:pic>
      <p:sp>
        <p:nvSpPr>
          <p:cNvPr id="690" name="Google Shape;690;p41"/>
          <p:cNvSpPr>
            <a:spLocks noGrp="1"/>
          </p:cNvSpPr>
          <p:nvPr>
            <p:ph type="pic" idx="2"/>
          </p:nvPr>
        </p:nvSpPr>
        <p:spPr>
          <a:xfrm>
            <a:off x="5303035" y="3429000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" name="Google Shape;434;p11">
            <a:extLst>
              <a:ext uri="{FF2B5EF4-FFF2-40B4-BE49-F238E27FC236}">
                <a16:creationId xmlns:a16="http://schemas.microsoft.com/office/drawing/2014/main" id="{6CF0A362-B420-C765-1798-67ECCCCF437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2275" y="5135236"/>
            <a:ext cx="11347451" cy="5315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435;p11">
            <a:extLst>
              <a:ext uri="{FF2B5EF4-FFF2-40B4-BE49-F238E27FC236}">
                <a16:creationId xmlns:a16="http://schemas.microsoft.com/office/drawing/2014/main" id="{B044BABF-CA62-DA80-7FEF-DC6DE73FCBCE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266245" y="2050735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lvl="0" indent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Google Shape;436;p11">
            <a:extLst>
              <a:ext uri="{FF2B5EF4-FFF2-40B4-BE49-F238E27FC236}">
                <a16:creationId xmlns:a16="http://schemas.microsoft.com/office/drawing/2014/main" id="{FEBEE11A-3355-A764-F7A3-86E1855886EC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2246919" y="2661529"/>
            <a:ext cx="769816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1995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line + Subline">
  <p:cSld name="V2 Headline + Subline"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Google Shape;451;p13"/>
          <p:cNvSpPr txBox="1">
            <a:spLocks noGrp="1"/>
          </p:cNvSpPr>
          <p:nvPr>
            <p:ph type="ctrTitle"/>
          </p:nvPr>
        </p:nvSpPr>
        <p:spPr>
          <a:xfrm>
            <a:off x="1" y="2370996"/>
            <a:ext cx="12266022" cy="53661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34275" rIns="0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1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52" name="Google Shape;452;p13"/>
          <p:cNvSpPr txBox="1">
            <a:spLocks noGrp="1"/>
          </p:cNvSpPr>
          <p:nvPr>
            <p:ph type="body" idx="1"/>
          </p:nvPr>
        </p:nvSpPr>
        <p:spPr>
          <a:xfrm>
            <a:off x="652463" y="3070949"/>
            <a:ext cx="10887075" cy="2640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2400"/>
              <a:buNone/>
              <a:defRPr sz="2000" b="0">
                <a:solidFill>
                  <a:schemeClr val="accent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8636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 preserve="1" userDrawn="1">
  <p:cSld name="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061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Namirial Heritage Organisation Base" userDrawn="1">
  <p:cSld name="V2 Namirial Heritage Organisation Base"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p21"/>
          <p:cNvSpPr txBox="1"/>
          <p:nvPr/>
        </p:nvSpPr>
        <p:spPr>
          <a:xfrm>
            <a:off x="1312313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1" name="Google Shape;491;p21"/>
          <p:cNvSpPr>
            <a:spLocks noGrp="1"/>
          </p:cNvSpPr>
          <p:nvPr>
            <p:ph type="pic" idx="2"/>
          </p:nvPr>
        </p:nvSpPr>
        <p:spPr>
          <a:xfrm>
            <a:off x="1518085" y="1545912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492" name="Google Shape;492;p21"/>
          <p:cNvSpPr txBox="1"/>
          <p:nvPr/>
        </p:nvSpPr>
        <p:spPr>
          <a:xfrm>
            <a:off x="3709616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3" name="Google Shape;493;p21"/>
          <p:cNvSpPr>
            <a:spLocks noGrp="1"/>
          </p:cNvSpPr>
          <p:nvPr>
            <p:ph type="pic" idx="3"/>
          </p:nvPr>
        </p:nvSpPr>
        <p:spPr>
          <a:xfrm>
            <a:off x="3915388" y="1545912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494" name="Google Shape;494;p21"/>
          <p:cNvSpPr txBox="1"/>
          <p:nvPr/>
        </p:nvSpPr>
        <p:spPr>
          <a:xfrm>
            <a:off x="6106919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5" name="Google Shape;495;p21"/>
          <p:cNvSpPr>
            <a:spLocks noGrp="1"/>
          </p:cNvSpPr>
          <p:nvPr>
            <p:ph type="pic" idx="4"/>
          </p:nvPr>
        </p:nvSpPr>
        <p:spPr>
          <a:xfrm>
            <a:off x="6312691" y="1545912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496" name="Google Shape;496;p21"/>
          <p:cNvSpPr txBox="1"/>
          <p:nvPr/>
        </p:nvSpPr>
        <p:spPr>
          <a:xfrm>
            <a:off x="8709994" y="3233516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7" name="Google Shape;497;p21"/>
          <p:cNvSpPr>
            <a:spLocks noGrp="1"/>
          </p:cNvSpPr>
          <p:nvPr>
            <p:ph type="pic" idx="5"/>
          </p:nvPr>
        </p:nvSpPr>
        <p:spPr>
          <a:xfrm>
            <a:off x="8915766" y="1545912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498" name="Google Shape;498;p21"/>
          <p:cNvSpPr txBox="1"/>
          <p:nvPr/>
        </p:nvSpPr>
        <p:spPr>
          <a:xfrm>
            <a:off x="1312313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9" name="Google Shape;499;p21"/>
          <p:cNvSpPr>
            <a:spLocks noGrp="1"/>
          </p:cNvSpPr>
          <p:nvPr>
            <p:ph type="pic" idx="6"/>
          </p:nvPr>
        </p:nvSpPr>
        <p:spPr>
          <a:xfrm>
            <a:off x="1518085" y="3979175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500" name="Google Shape;500;p21"/>
          <p:cNvSpPr txBox="1"/>
          <p:nvPr/>
        </p:nvSpPr>
        <p:spPr>
          <a:xfrm>
            <a:off x="3709616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1" name="Google Shape;501;p21"/>
          <p:cNvSpPr>
            <a:spLocks noGrp="1"/>
          </p:cNvSpPr>
          <p:nvPr>
            <p:ph type="pic" idx="7"/>
          </p:nvPr>
        </p:nvSpPr>
        <p:spPr>
          <a:xfrm>
            <a:off x="3915388" y="3979175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502" name="Google Shape;502;p21"/>
          <p:cNvSpPr txBox="1"/>
          <p:nvPr/>
        </p:nvSpPr>
        <p:spPr>
          <a:xfrm>
            <a:off x="6106919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3" name="Google Shape;503;p21"/>
          <p:cNvSpPr>
            <a:spLocks noGrp="1"/>
          </p:cNvSpPr>
          <p:nvPr>
            <p:ph type="pic" idx="8"/>
          </p:nvPr>
        </p:nvSpPr>
        <p:spPr>
          <a:xfrm>
            <a:off x="6312691" y="3979175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504" name="Google Shape;504;p21"/>
          <p:cNvSpPr txBox="1"/>
          <p:nvPr/>
        </p:nvSpPr>
        <p:spPr>
          <a:xfrm>
            <a:off x="8709994" y="5666779"/>
            <a:ext cx="2004545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e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Job title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5" name="Google Shape;505;p21"/>
          <p:cNvSpPr>
            <a:spLocks noGrp="1"/>
          </p:cNvSpPr>
          <p:nvPr>
            <p:ph type="pic" idx="9"/>
          </p:nvPr>
        </p:nvSpPr>
        <p:spPr>
          <a:xfrm>
            <a:off x="8915766" y="3979175"/>
            <a:ext cx="1593001" cy="1593001"/>
          </a:xfrm>
          <a:prstGeom prst="ellipse">
            <a:avLst/>
          </a:prstGeom>
          <a:noFill/>
          <a:ln>
            <a:noFill/>
          </a:ln>
        </p:spPr>
      </p:sp>
      <p:sp>
        <p:nvSpPr>
          <p:cNvPr id="2" name="Google Shape;36;p5">
            <a:extLst>
              <a:ext uri="{FF2B5EF4-FFF2-40B4-BE49-F238E27FC236}">
                <a16:creationId xmlns:a16="http://schemas.microsoft.com/office/drawing/2014/main" id="{45FFA809-A4D0-576E-AE03-2BA10F06F01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456282" y="861713"/>
            <a:ext cx="11174064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0000" tIns="45700" rIns="108000" bIns="45700" anchor="t" anchorCtr="0">
            <a:no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Google Shape;37;p5">
            <a:extLst>
              <a:ext uri="{FF2B5EF4-FFF2-40B4-BE49-F238E27FC236}">
                <a16:creationId xmlns:a16="http://schemas.microsoft.com/office/drawing/2014/main" id="{DCFCC39A-86F1-C0E5-74C9-D7A08E9030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1140898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Desktop" userDrawn="1">
  <p:cSld name="V2 Content and Desktop"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25"/>
          <p:cNvSpPr>
            <a:spLocks noGrp="1"/>
          </p:cNvSpPr>
          <p:nvPr>
            <p:ph type="pic" idx="2"/>
          </p:nvPr>
        </p:nvSpPr>
        <p:spPr>
          <a:xfrm>
            <a:off x="5073678" y="1638276"/>
            <a:ext cx="6026311" cy="3707183"/>
          </a:xfrm>
          <a:prstGeom prst="rect">
            <a:avLst/>
          </a:prstGeom>
          <a:noFill/>
          <a:ln>
            <a:noFill/>
          </a:ln>
        </p:spPr>
      </p:sp>
      <p:sp>
        <p:nvSpPr>
          <p:cNvPr id="605" name="Google Shape;605;p25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06" name="Google Shape;606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28840" y="1273377"/>
            <a:ext cx="6679422" cy="5323365"/>
          </a:xfrm>
          <a:prstGeom prst="rect">
            <a:avLst/>
          </a:prstGeom>
          <a:noFill/>
          <a:ln>
            <a:noFill/>
          </a:ln>
        </p:spPr>
      </p:pic>
      <p:sp>
        <p:nvSpPr>
          <p:cNvPr id="607" name="Google Shape;607;p2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96027DE6-A5F2-5530-B517-F62FA66CDC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4056961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4695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bg>
      <p:bgPr>
        <a:solidFill>
          <a:schemeClr val="bg1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8CD4F7-1232-F31C-EE4B-5717C037FA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8440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8CD4F7-1232-F31C-EE4B-5717C037F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79;p20">
            <a:extLst>
              <a:ext uri="{FF2B5EF4-FFF2-40B4-BE49-F238E27FC236}">
                <a16:creationId xmlns:a16="http://schemas.microsoft.com/office/drawing/2014/main" id="{121368CC-EFD8-1937-35FA-FF485CD66FB0}"/>
              </a:ext>
            </a:extLst>
          </p:cNvPr>
          <p:cNvSpPr/>
          <p:nvPr userDrawn="1"/>
        </p:nvSpPr>
        <p:spPr>
          <a:xfrm flipH="1">
            <a:off x="0" y="1"/>
            <a:ext cx="5854432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574418" y="1866128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body" idx="2"/>
          </p:nvPr>
        </p:nvSpPr>
        <p:spPr>
          <a:xfrm>
            <a:off x="456281" y="861713"/>
            <a:ext cx="5079649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tx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5052978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35;p5">
            <a:extLst>
              <a:ext uri="{FF2B5EF4-FFF2-40B4-BE49-F238E27FC236}">
                <a16:creationId xmlns:a16="http://schemas.microsoft.com/office/drawing/2014/main" id="{8AF2E3A7-60D0-E282-F4C5-D97E9CDAFB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337569" y="1836945"/>
            <a:ext cx="4860587" cy="389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" name="Google Shape;12;p1">
            <a:extLst>
              <a:ext uri="{FF2B5EF4-FFF2-40B4-BE49-F238E27FC236}">
                <a16:creationId xmlns:a16="http://schemas.microsoft.com/office/drawing/2014/main" id="{4DFA2506-A188-2465-ACB4-CD86D4AB20BC}"/>
              </a:ext>
            </a:extLst>
          </p:cNvPr>
          <p:cNvSpPr txBox="1"/>
          <p:nvPr userDrawn="1"/>
        </p:nvSpPr>
        <p:spPr>
          <a:xfrm>
            <a:off x="1352365" y="6558415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Google Shape;14;p1">
            <a:extLst>
              <a:ext uri="{FF2B5EF4-FFF2-40B4-BE49-F238E27FC236}">
                <a16:creationId xmlns:a16="http://schemas.microsoft.com/office/drawing/2014/main" id="{7D4C52F8-B945-481F-DB2E-0749F6E2A353}"/>
              </a:ext>
            </a:extLst>
          </p:cNvPr>
          <p:cNvPicPr preferRelativeResize="0"/>
          <p:nvPr userDrawn="1"/>
        </p:nvPicPr>
        <p:blipFill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576" y="651894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27170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Laptop" userDrawn="1">
  <p:cSld name="V2 Content and Laptop"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0" name="Google Shape;610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83827" y="1605034"/>
            <a:ext cx="7461607" cy="4665138"/>
          </a:xfrm>
          <a:prstGeom prst="rect">
            <a:avLst/>
          </a:prstGeom>
          <a:noFill/>
          <a:ln>
            <a:noFill/>
          </a:ln>
        </p:spPr>
      </p:pic>
      <p:sp>
        <p:nvSpPr>
          <p:cNvPr id="611" name="Google Shape;611;p26"/>
          <p:cNvSpPr>
            <a:spLocks noGrp="1"/>
          </p:cNvSpPr>
          <p:nvPr>
            <p:ph type="pic" idx="2"/>
          </p:nvPr>
        </p:nvSpPr>
        <p:spPr>
          <a:xfrm>
            <a:off x="5259519" y="1911302"/>
            <a:ext cx="5740782" cy="3416969"/>
          </a:xfrm>
          <a:prstGeom prst="rect">
            <a:avLst/>
          </a:prstGeom>
          <a:noFill/>
          <a:ln>
            <a:noFill/>
          </a:ln>
        </p:spPr>
      </p:sp>
      <p:sp>
        <p:nvSpPr>
          <p:cNvPr id="613" name="Google Shape;613;p26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4" name="Google Shape;614;p26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Google Shape;462;p17">
            <a:extLst>
              <a:ext uri="{FF2B5EF4-FFF2-40B4-BE49-F238E27FC236}">
                <a16:creationId xmlns:a16="http://schemas.microsoft.com/office/drawing/2014/main" id="{64B8125B-4329-1FB3-B757-028984731D7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4056961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16712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Tablet" userDrawn="1">
  <p:cSld name="V2 Content and Tablet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27"/>
          <p:cNvSpPr>
            <a:spLocks noGrp="1"/>
          </p:cNvSpPr>
          <p:nvPr>
            <p:ph type="pic" idx="2"/>
          </p:nvPr>
        </p:nvSpPr>
        <p:spPr>
          <a:xfrm>
            <a:off x="7351366" y="1266971"/>
            <a:ext cx="3641008" cy="4777270"/>
          </a:xfrm>
          <a:prstGeom prst="rect">
            <a:avLst/>
          </a:prstGeom>
          <a:noFill/>
          <a:ln>
            <a:noFill/>
          </a:ln>
        </p:spPr>
      </p:sp>
      <p:sp>
        <p:nvSpPr>
          <p:cNvPr id="619" name="Google Shape;619;p27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20" name="Google Shape;620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48666" y="790575"/>
            <a:ext cx="4058939" cy="6352240"/>
          </a:xfrm>
          <a:prstGeom prst="rect">
            <a:avLst/>
          </a:prstGeom>
          <a:noFill/>
          <a:ln>
            <a:noFill/>
          </a:ln>
        </p:spPr>
      </p:pic>
      <p:sp>
        <p:nvSpPr>
          <p:cNvPr id="621" name="Google Shape;621;p27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09358056-9E71-7CFE-3914-D04280A475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6425588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67477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tent and Phone" userDrawn="1">
  <p:cSld name="V2 Content and Phone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" name="Google Shape;624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563583" y="1001281"/>
            <a:ext cx="2859726" cy="5856719"/>
          </a:xfrm>
          <a:prstGeom prst="rect">
            <a:avLst/>
          </a:prstGeom>
          <a:noFill/>
          <a:ln>
            <a:noFill/>
          </a:ln>
        </p:spPr>
      </p:pic>
      <p:sp>
        <p:nvSpPr>
          <p:cNvPr id="625" name="Google Shape;625;p28"/>
          <p:cNvSpPr>
            <a:spLocks noGrp="1"/>
          </p:cNvSpPr>
          <p:nvPr>
            <p:ph type="pic" idx="2"/>
          </p:nvPr>
        </p:nvSpPr>
        <p:spPr>
          <a:xfrm>
            <a:off x="8834615" y="1329349"/>
            <a:ext cx="2303188" cy="4579875"/>
          </a:xfrm>
          <a:prstGeom prst="roundRect">
            <a:avLst>
              <a:gd name="adj" fmla="val 6970"/>
            </a:avLst>
          </a:prstGeom>
          <a:noFill/>
          <a:ln>
            <a:noFill/>
          </a:ln>
        </p:spPr>
      </p:sp>
      <p:sp>
        <p:nvSpPr>
          <p:cNvPr id="627" name="Google Shape;627;p28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8" name="Google Shape;628;p28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Google Shape;462;p17">
            <a:extLst>
              <a:ext uri="{FF2B5EF4-FFF2-40B4-BE49-F238E27FC236}">
                <a16:creationId xmlns:a16="http://schemas.microsoft.com/office/drawing/2014/main" id="{CC82448F-5431-FD81-EA4B-342E0834742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8092827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marL="0" lvl="0" indent="0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75687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" userDrawn="1">
  <p:cSld name="V2 Conclus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29"/>
          <p:cNvSpPr/>
          <p:nvPr/>
        </p:nvSpPr>
        <p:spPr>
          <a:xfrm>
            <a:off x="0" y="0"/>
            <a:ext cx="12192000" cy="21786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1" name="Google Shape;631;p29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Font typeface="Open Sans SemiBold"/>
              <a:buNone/>
              <a:defRPr sz="30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32" name="Google Shape;632;p29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lang="en-US" sz="1050" b="0" err="1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Namirial</a:t>
            </a: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3" name="Google Shape;633;p29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34" name="Google Shape;634;p2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266;p59">
            <a:extLst>
              <a:ext uri="{FF2B5EF4-FFF2-40B4-BE49-F238E27FC236}">
                <a16:creationId xmlns:a16="http://schemas.microsoft.com/office/drawing/2014/main" id="{261C12FF-CD69-B205-C8E9-14F3796FE29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0" lv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687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clusion" preserve="1">
  <p:cSld name="V1 Conclusion">
    <p:spTree>
      <p:nvGrpSpPr>
        <p:cNvPr id="1" name="Shape 1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2" name="Google Shape;1262;p59"/>
          <p:cNvSpPr txBox="1">
            <a:spLocks noGrp="1"/>
          </p:cNvSpPr>
          <p:nvPr>
            <p:ph type="ctrTitle"/>
          </p:nvPr>
        </p:nvSpPr>
        <p:spPr>
          <a:xfrm>
            <a:off x="2266245" y="3022704"/>
            <a:ext cx="7659511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3000" b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63" name="Google Shape;1263;p59"/>
          <p:cNvSpPr txBox="1"/>
          <p:nvPr/>
        </p:nvSpPr>
        <p:spPr>
          <a:xfrm>
            <a:off x="3048000" y="6592270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0"/>
              <a:buFont typeface="Open Sans"/>
              <a:buNone/>
            </a:pP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© </a:t>
            </a:r>
            <a:r>
              <a:rPr lang="en-US" sz="1050" b="0" err="1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Namirial</a:t>
            </a:r>
            <a:r>
              <a:rPr lang="en-US" sz="105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4" name="Google Shape;1264;p59"/>
          <p:cNvSpPr txBox="1"/>
          <p:nvPr/>
        </p:nvSpPr>
        <p:spPr>
          <a:xfrm>
            <a:off x="11246152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265" name="Google Shape;1265;p5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1032" y="0"/>
            <a:ext cx="2114157" cy="2114157"/>
          </a:xfrm>
          <a:prstGeom prst="rect">
            <a:avLst/>
          </a:prstGeom>
          <a:noFill/>
          <a:ln>
            <a:noFill/>
          </a:ln>
        </p:spPr>
      </p:pic>
      <p:sp>
        <p:nvSpPr>
          <p:cNvPr id="1266" name="Google Shape;1266;p59"/>
          <p:cNvSpPr txBox="1">
            <a:spLocks noGrp="1"/>
          </p:cNvSpPr>
          <p:nvPr>
            <p:ph type="body" idx="1"/>
          </p:nvPr>
        </p:nvSpPr>
        <p:spPr>
          <a:xfrm>
            <a:off x="422275" y="3897710"/>
            <a:ext cx="11347451" cy="516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0" lv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2400"/>
              <a:buNone/>
              <a:defRPr sz="2000" b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554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ntact" preserve="1" userDrawn="1">
  <p:cSld name="V1 Contact"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2" name="Google Shape;702;p42" descr="Unterhaltu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07833" y="-448238"/>
            <a:ext cx="4530931" cy="4530931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42"/>
          <p:cNvSpPr txBox="1"/>
          <p:nvPr/>
        </p:nvSpPr>
        <p:spPr>
          <a:xfrm>
            <a:off x="698937" y="789582"/>
            <a:ext cx="3917513" cy="487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0" i="0">
                <a:solidFill>
                  <a:schemeClr val="dk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  <a:sym typeface="Open Sans"/>
              </a:rPr>
              <a:t>Get in contact!</a:t>
            </a:r>
            <a:endParaRPr b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05148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Conclusion 1" userDrawn="1">
  <p:cSld name="V2 Conclusion 1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p30"/>
          <p:cNvSpPr/>
          <p:nvPr/>
        </p:nvSpPr>
        <p:spPr>
          <a:xfrm>
            <a:off x="-6275" y="4848400"/>
            <a:ext cx="12198300" cy="20097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40" name="Google Shape;640;p30"/>
          <p:cNvSpPr txBox="1"/>
          <p:nvPr/>
        </p:nvSpPr>
        <p:spPr>
          <a:xfrm>
            <a:off x="11246152" y="6538912"/>
            <a:ext cx="706200" cy="2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42" name="Google Shape;642;p30"/>
          <p:cNvSpPr>
            <a:spLocks noGrp="1"/>
          </p:cNvSpPr>
          <p:nvPr>
            <p:ph type="pic" idx="2"/>
          </p:nvPr>
        </p:nvSpPr>
        <p:spPr>
          <a:xfrm>
            <a:off x="-14100" y="-9400"/>
            <a:ext cx="12198300" cy="4859400"/>
          </a:xfrm>
          <a:prstGeom prst="rect">
            <a:avLst/>
          </a:prstGeom>
          <a:noFill/>
          <a:ln>
            <a:noFill/>
          </a:ln>
        </p:spPr>
      </p:sp>
      <p:pic>
        <p:nvPicPr>
          <p:cNvPr id="643" name="Google Shape;643;p30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065" y="6120901"/>
            <a:ext cx="2100263" cy="5166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36;p5">
            <a:extLst>
              <a:ext uri="{FF2B5EF4-FFF2-40B4-BE49-F238E27FC236}">
                <a16:creationId xmlns:a16="http://schemas.microsoft.com/office/drawing/2014/main" id="{991A2ACC-5DC1-8CD5-56E2-6B504C653F03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456282" y="5499364"/>
            <a:ext cx="8884568" cy="1063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Autofit/>
          </a:bodyPr>
          <a:lstStyle>
            <a:lvl1pPr marL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20"/>
              <a:buNone/>
              <a:defRPr sz="16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Google Shape;628;p28">
            <a:extLst>
              <a:ext uri="{FF2B5EF4-FFF2-40B4-BE49-F238E27FC236}">
                <a16:creationId xmlns:a16="http://schemas.microsoft.com/office/drawing/2014/main" id="{39FE5F37-DD50-AD30-250E-1F2FFC3CAD0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5057665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629009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only">
  <p:cSld name="1_V2 Heading only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Google Shape;454;p14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62079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Overview" userDrawn="1">
  <p:cSld name="V2 Overview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/>
          <p:nvPr/>
        </p:nvSpPr>
        <p:spPr>
          <a:xfrm>
            <a:off x="0" y="6388963"/>
            <a:ext cx="4051177" cy="469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27" name="Google Shape;27;p4"/>
          <p:cNvSpPr/>
          <p:nvPr/>
        </p:nvSpPr>
        <p:spPr>
          <a:xfrm>
            <a:off x="0" y="0"/>
            <a:ext cx="216912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" name="Google Shape;28;p4"/>
          <p:cNvSpPr/>
          <p:nvPr/>
        </p:nvSpPr>
        <p:spPr>
          <a:xfrm>
            <a:off x="1559705" y="759419"/>
            <a:ext cx="1432877" cy="1432877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dist="50800" dir="3480000" algn="ctr" rotWithShape="0">
              <a:schemeClr val="dk1">
                <a:alpha val="12941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1597025" y="879079"/>
            <a:ext cx="1355725" cy="118784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920"/>
              <a:buFont typeface="Open Sans SemiBold"/>
              <a:buNone/>
              <a:defRPr sz="6600">
                <a:solidFill>
                  <a:schemeClr val="dk2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600"/>
              <a:buFont typeface="Open Sans SemiBold"/>
              <a:buAutoNum type="arabicPeriod"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600"/>
              <a:buFont typeface="Open Sans SemiBold"/>
              <a:buAutoNum type="arabicPeriod"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lvl="3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lt1"/>
              </a:buClr>
              <a:buSzPts val="1280"/>
              <a:buFont typeface="Open Sans SemiBold"/>
              <a:buNone/>
              <a:defRPr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endParaRPr lang="en-US"/>
          </a:p>
        </p:txBody>
      </p:sp>
      <p:sp>
        <p:nvSpPr>
          <p:cNvPr id="32" name="Google Shape;32;p4"/>
          <p:cNvSpPr txBox="1"/>
          <p:nvPr/>
        </p:nvSpPr>
        <p:spPr>
          <a:xfrm>
            <a:off x="9612445" y="6573655"/>
            <a:ext cx="2227407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</a:t>
            </a:r>
            <a:r>
              <a:rPr lang="en-US" sz="1050" b="0" i="0" u="none" strike="noStrike" cap="none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irial</a:t>
            </a: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– All rights reserved  | 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3" name="Google Shape;33;p4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86" y="6534181"/>
            <a:ext cx="1009970" cy="24842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9;p3">
            <a:extLst>
              <a:ext uri="{FF2B5EF4-FFF2-40B4-BE49-F238E27FC236}">
                <a16:creationId xmlns:a16="http://schemas.microsoft.com/office/drawing/2014/main" id="{DD816823-9876-E11D-83EF-5FA676D082AA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643910" y="2263776"/>
            <a:ext cx="6627214" cy="3687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>
            <a:lvl1pPr marL="0" lvl="0" indent="0" algn="l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SzPts val="1920"/>
              <a:buNone/>
              <a:defRPr sz="18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Google Shape;20;p3">
            <a:extLst>
              <a:ext uri="{FF2B5EF4-FFF2-40B4-BE49-F238E27FC236}">
                <a16:creationId xmlns:a16="http://schemas.microsoft.com/office/drawing/2014/main" id="{CBDCF93A-E55C-0A0B-7EB4-E1186AF3EC3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43910" y="1252152"/>
            <a:ext cx="6627215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78055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 and Body">
  <p:cSld name="V2 Heading and 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89"/>
          <p:cNvSpPr txBox="1">
            <a:spLocks noGrp="1"/>
          </p:cNvSpPr>
          <p:nvPr>
            <p:ph type="body" idx="1"/>
          </p:nvPr>
        </p:nvSpPr>
        <p:spPr>
          <a:xfrm>
            <a:off x="456282" y="1146251"/>
            <a:ext cx="10515600" cy="473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052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Char char="•"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89"/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62267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2BF923-BC18-2FBB-54C8-2C9C090BC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9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2BF923-BC18-2FBB-54C8-2C9C090BC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79;p20">
            <a:extLst>
              <a:ext uri="{FF2B5EF4-FFF2-40B4-BE49-F238E27FC236}">
                <a16:creationId xmlns:a16="http://schemas.microsoft.com/office/drawing/2014/main" id="{5595F372-BAD0-9DA4-FD0F-511E01DB0272}"/>
              </a:ext>
            </a:extLst>
          </p:cNvPr>
          <p:cNvSpPr/>
          <p:nvPr userDrawn="1"/>
        </p:nvSpPr>
        <p:spPr>
          <a:xfrm>
            <a:off x="-1018162" y="297793"/>
            <a:ext cx="12192000" cy="2021457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456282" y="2671865"/>
            <a:ext cx="10515600" cy="32142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title"/>
          </p:nvPr>
        </p:nvSpPr>
        <p:spPr>
          <a:xfrm>
            <a:off x="456282" y="1308522"/>
            <a:ext cx="9780458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32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90716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Two Speakers">
  <p:cSld name="V1 Two Speakers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93"/>
          <p:cNvSpPr/>
          <p:nvPr/>
        </p:nvSpPr>
        <p:spPr>
          <a:xfrm>
            <a:off x="0" y="-60385"/>
            <a:ext cx="12192000" cy="202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57" name="Google Shape;157;p93"/>
          <p:cNvSpPr txBox="1">
            <a:spLocks noGrp="1"/>
          </p:cNvSpPr>
          <p:nvPr>
            <p:ph type="body" idx="1"/>
          </p:nvPr>
        </p:nvSpPr>
        <p:spPr>
          <a:xfrm>
            <a:off x="2456997" y="2898030"/>
            <a:ext cx="2783514" cy="419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1" i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93"/>
          <p:cNvSpPr txBox="1">
            <a:spLocks noGrp="1"/>
          </p:cNvSpPr>
          <p:nvPr>
            <p:ph type="body" idx="2"/>
          </p:nvPr>
        </p:nvSpPr>
        <p:spPr>
          <a:xfrm>
            <a:off x="2456997" y="3394621"/>
            <a:ext cx="2783514" cy="236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93"/>
          <p:cNvSpPr txBox="1">
            <a:spLocks noGrp="1"/>
          </p:cNvSpPr>
          <p:nvPr>
            <p:ph type="body" idx="3"/>
          </p:nvPr>
        </p:nvSpPr>
        <p:spPr>
          <a:xfrm>
            <a:off x="2456997" y="3906851"/>
            <a:ext cx="2783514" cy="83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93"/>
          <p:cNvSpPr>
            <a:spLocks noGrp="1"/>
          </p:cNvSpPr>
          <p:nvPr>
            <p:ph type="pic" idx="4"/>
          </p:nvPr>
        </p:nvSpPr>
        <p:spPr>
          <a:xfrm>
            <a:off x="3055790" y="1117284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61" name="Google Shape;161;p93"/>
          <p:cNvSpPr txBox="1">
            <a:spLocks noGrp="1"/>
          </p:cNvSpPr>
          <p:nvPr>
            <p:ph type="body" idx="5"/>
          </p:nvPr>
        </p:nvSpPr>
        <p:spPr>
          <a:xfrm>
            <a:off x="6951489" y="2898030"/>
            <a:ext cx="2783514" cy="419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920"/>
              <a:buNone/>
              <a:defRPr sz="1600" b="1" i="0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93"/>
          <p:cNvSpPr txBox="1">
            <a:spLocks noGrp="1"/>
          </p:cNvSpPr>
          <p:nvPr>
            <p:ph type="body" idx="6"/>
          </p:nvPr>
        </p:nvSpPr>
        <p:spPr>
          <a:xfrm>
            <a:off x="6951489" y="3394621"/>
            <a:ext cx="2783514" cy="236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b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93"/>
          <p:cNvSpPr txBox="1">
            <a:spLocks noGrp="1"/>
          </p:cNvSpPr>
          <p:nvPr>
            <p:ph type="body" idx="7"/>
          </p:nvPr>
        </p:nvSpPr>
        <p:spPr>
          <a:xfrm>
            <a:off x="6951489" y="3906851"/>
            <a:ext cx="2783514" cy="836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45700" rIns="3427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0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93"/>
          <p:cNvSpPr>
            <a:spLocks noGrp="1"/>
          </p:cNvSpPr>
          <p:nvPr>
            <p:ph type="pic" idx="8"/>
          </p:nvPr>
        </p:nvSpPr>
        <p:spPr>
          <a:xfrm>
            <a:off x="7550282" y="1117284"/>
            <a:ext cx="1585929" cy="1585929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640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7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58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5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6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62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163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1 Cover: Dark + Picture">
  <p:cSld name="V1 Cover: Dark + Picture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9"/>
          <p:cNvSpPr>
            <a:spLocks noGrp="1"/>
          </p:cNvSpPr>
          <p:nvPr>
            <p:ph type="pic" idx="2"/>
          </p:nvPr>
        </p:nvSpPr>
        <p:spPr>
          <a:xfrm>
            <a:off x="-1" y="0"/>
            <a:ext cx="12191999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73" name="Google Shape;173;p79"/>
          <p:cNvSpPr/>
          <p:nvPr/>
        </p:nvSpPr>
        <p:spPr>
          <a:xfrm>
            <a:off x="0" y="6416995"/>
            <a:ext cx="12192000" cy="441005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4" name="Google Shape;174;p79"/>
          <p:cNvSpPr/>
          <p:nvPr/>
        </p:nvSpPr>
        <p:spPr>
          <a:xfrm>
            <a:off x="1483043" y="0"/>
            <a:ext cx="5513344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Open Sans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5" name="Google Shape;175;p79"/>
          <p:cNvSpPr txBox="1">
            <a:spLocks noGrp="1"/>
          </p:cNvSpPr>
          <p:nvPr>
            <p:ph type="body" idx="1"/>
          </p:nvPr>
        </p:nvSpPr>
        <p:spPr>
          <a:xfrm>
            <a:off x="2088581" y="3554577"/>
            <a:ext cx="3678622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15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 b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" name="Google Shape;176;p79"/>
          <p:cNvPicPr preferRelativeResize="0"/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7167" y="6232729"/>
            <a:ext cx="1497955" cy="368532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79"/>
          <p:cNvSpPr txBox="1">
            <a:spLocks noGrp="1"/>
          </p:cNvSpPr>
          <p:nvPr>
            <p:ph type="body" idx="3"/>
          </p:nvPr>
        </p:nvSpPr>
        <p:spPr>
          <a:xfrm>
            <a:off x="2088581" y="1690813"/>
            <a:ext cx="4653413" cy="44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79"/>
          <p:cNvSpPr txBox="1">
            <a:spLocks noGrp="1"/>
          </p:cNvSpPr>
          <p:nvPr>
            <p:ph type="ctrTitle"/>
          </p:nvPr>
        </p:nvSpPr>
        <p:spPr>
          <a:xfrm>
            <a:off x="2088582" y="912098"/>
            <a:ext cx="3369244" cy="594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solidFill>
                  <a:schemeClr val="lt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36503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vice tavola">
  <p:cSld name="device tavola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g24bb22cb5cf_0_1159"/>
          <p:cNvSpPr txBox="1">
            <a:spLocks noGrp="1"/>
          </p:cNvSpPr>
          <p:nvPr>
            <p:ph type="title"/>
          </p:nvPr>
        </p:nvSpPr>
        <p:spPr>
          <a:xfrm>
            <a:off x="478368" y="853416"/>
            <a:ext cx="112353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pen Sans"/>
              <a:buNone/>
              <a:defRPr sz="2400" b="1" i="0" u="none" strike="noStrike" cap="none">
                <a:latin typeface="Open Sans"/>
                <a:ea typeface="Open Sans"/>
                <a:cs typeface="Open Sans"/>
                <a:sym typeface="Open San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g24bb22cb5cf_0_1159"/>
          <p:cNvSpPr txBox="1">
            <a:spLocks noGrp="1"/>
          </p:cNvSpPr>
          <p:nvPr>
            <p:ph type="body" idx="1"/>
          </p:nvPr>
        </p:nvSpPr>
        <p:spPr>
          <a:xfrm>
            <a:off x="478368" y="1389206"/>
            <a:ext cx="11235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i="0">
                <a:solidFill>
                  <a:srgbClr val="658BB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•"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00"/>
              <a:buChar char="o"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Char char="o"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960"/>
              <a:buChar char="⬥"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g24bb22cb5cf_0_1159"/>
          <p:cNvSpPr txBox="1">
            <a:spLocks noGrp="1"/>
          </p:cNvSpPr>
          <p:nvPr>
            <p:ph type="body" idx="2"/>
          </p:nvPr>
        </p:nvSpPr>
        <p:spPr>
          <a:xfrm>
            <a:off x="1991885" y="2033576"/>
            <a:ext cx="1758000" cy="3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1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g24bb22cb5cf_0_1159"/>
          <p:cNvSpPr txBox="1">
            <a:spLocks noGrp="1"/>
          </p:cNvSpPr>
          <p:nvPr>
            <p:ph type="body" idx="3"/>
          </p:nvPr>
        </p:nvSpPr>
        <p:spPr>
          <a:xfrm>
            <a:off x="1991885" y="2395082"/>
            <a:ext cx="1758000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 sz="1067" b="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g24bb22cb5cf_0_1159"/>
          <p:cNvSpPr>
            <a:spLocks noGrp="1"/>
          </p:cNvSpPr>
          <p:nvPr>
            <p:ph type="pic" idx="4"/>
          </p:nvPr>
        </p:nvSpPr>
        <p:spPr>
          <a:xfrm>
            <a:off x="478367" y="2033773"/>
            <a:ext cx="1418100" cy="14181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88" name="Google Shape;188;g24bb22cb5cf_0_1159"/>
          <p:cNvSpPr txBox="1">
            <a:spLocks noGrp="1"/>
          </p:cNvSpPr>
          <p:nvPr>
            <p:ph type="body" idx="5"/>
          </p:nvPr>
        </p:nvSpPr>
        <p:spPr>
          <a:xfrm>
            <a:off x="5879950" y="2033576"/>
            <a:ext cx="1758000" cy="3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1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g24bb22cb5cf_0_1159"/>
          <p:cNvSpPr txBox="1">
            <a:spLocks noGrp="1"/>
          </p:cNvSpPr>
          <p:nvPr>
            <p:ph type="body" idx="6"/>
          </p:nvPr>
        </p:nvSpPr>
        <p:spPr>
          <a:xfrm>
            <a:off x="5879950" y="2395082"/>
            <a:ext cx="1758000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 sz="1067" b="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g24bb22cb5cf_0_1159"/>
          <p:cNvSpPr>
            <a:spLocks noGrp="1"/>
          </p:cNvSpPr>
          <p:nvPr>
            <p:ph type="pic" idx="7"/>
          </p:nvPr>
        </p:nvSpPr>
        <p:spPr>
          <a:xfrm>
            <a:off x="4366433" y="2033773"/>
            <a:ext cx="1418100" cy="14181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1" name="Google Shape;191;g24bb22cb5cf_0_1159"/>
          <p:cNvSpPr txBox="1">
            <a:spLocks noGrp="1"/>
          </p:cNvSpPr>
          <p:nvPr>
            <p:ph type="body" idx="8"/>
          </p:nvPr>
        </p:nvSpPr>
        <p:spPr>
          <a:xfrm>
            <a:off x="9955768" y="2033576"/>
            <a:ext cx="1758000" cy="3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1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g24bb22cb5cf_0_1159"/>
          <p:cNvSpPr txBox="1">
            <a:spLocks noGrp="1"/>
          </p:cNvSpPr>
          <p:nvPr>
            <p:ph type="body" idx="9"/>
          </p:nvPr>
        </p:nvSpPr>
        <p:spPr>
          <a:xfrm>
            <a:off x="9955768" y="2395082"/>
            <a:ext cx="1758000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 sz="1067" b="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g24bb22cb5cf_0_1159"/>
          <p:cNvSpPr>
            <a:spLocks noGrp="1"/>
          </p:cNvSpPr>
          <p:nvPr>
            <p:ph type="pic" idx="13"/>
          </p:nvPr>
        </p:nvSpPr>
        <p:spPr>
          <a:xfrm>
            <a:off x="8442250" y="2033773"/>
            <a:ext cx="1418100" cy="14181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4" name="Google Shape;194;g24bb22cb5cf_0_1159"/>
          <p:cNvSpPr txBox="1">
            <a:spLocks noGrp="1"/>
          </p:cNvSpPr>
          <p:nvPr>
            <p:ph type="body" idx="14"/>
          </p:nvPr>
        </p:nvSpPr>
        <p:spPr>
          <a:xfrm>
            <a:off x="1991885" y="3869464"/>
            <a:ext cx="1758000" cy="3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1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g24bb22cb5cf_0_1159"/>
          <p:cNvSpPr txBox="1">
            <a:spLocks noGrp="1"/>
          </p:cNvSpPr>
          <p:nvPr>
            <p:ph type="body" idx="15"/>
          </p:nvPr>
        </p:nvSpPr>
        <p:spPr>
          <a:xfrm>
            <a:off x="1991885" y="4230970"/>
            <a:ext cx="1758000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 sz="1067" b="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g24bb22cb5cf_0_1159"/>
          <p:cNvSpPr>
            <a:spLocks noGrp="1"/>
          </p:cNvSpPr>
          <p:nvPr>
            <p:ph type="pic" idx="16"/>
          </p:nvPr>
        </p:nvSpPr>
        <p:spPr>
          <a:xfrm>
            <a:off x="478367" y="3869661"/>
            <a:ext cx="1418100" cy="14181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7" name="Google Shape;197;g24bb22cb5cf_0_1159"/>
          <p:cNvSpPr txBox="1">
            <a:spLocks noGrp="1"/>
          </p:cNvSpPr>
          <p:nvPr>
            <p:ph type="body" idx="17"/>
          </p:nvPr>
        </p:nvSpPr>
        <p:spPr>
          <a:xfrm>
            <a:off x="5879950" y="3869464"/>
            <a:ext cx="1758000" cy="3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1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g24bb22cb5cf_0_1159"/>
          <p:cNvSpPr txBox="1">
            <a:spLocks noGrp="1"/>
          </p:cNvSpPr>
          <p:nvPr>
            <p:ph type="body" idx="18"/>
          </p:nvPr>
        </p:nvSpPr>
        <p:spPr>
          <a:xfrm>
            <a:off x="5879950" y="4230970"/>
            <a:ext cx="1758000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 sz="1067" b="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g24bb22cb5cf_0_1159"/>
          <p:cNvSpPr>
            <a:spLocks noGrp="1"/>
          </p:cNvSpPr>
          <p:nvPr>
            <p:ph type="pic" idx="19"/>
          </p:nvPr>
        </p:nvSpPr>
        <p:spPr>
          <a:xfrm>
            <a:off x="4366433" y="3869661"/>
            <a:ext cx="1418100" cy="14181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0" name="Google Shape;200;g24bb22cb5cf_0_1159"/>
          <p:cNvSpPr txBox="1">
            <a:spLocks noGrp="1"/>
          </p:cNvSpPr>
          <p:nvPr>
            <p:ph type="body" idx="20"/>
          </p:nvPr>
        </p:nvSpPr>
        <p:spPr>
          <a:xfrm>
            <a:off x="9955768" y="3869464"/>
            <a:ext cx="1758000" cy="3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680"/>
              <a:buNone/>
              <a:defRPr sz="1400" b="1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g24bb22cb5cf_0_1159"/>
          <p:cNvSpPr txBox="1">
            <a:spLocks noGrp="1"/>
          </p:cNvSpPr>
          <p:nvPr>
            <p:ph type="body" idx="21"/>
          </p:nvPr>
        </p:nvSpPr>
        <p:spPr>
          <a:xfrm>
            <a:off x="9955768" y="4230970"/>
            <a:ext cx="1758000" cy="105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280"/>
              <a:buNone/>
              <a:defRPr sz="1067" b="0"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SzPts val="1080"/>
              <a:buChar char="⬥"/>
              <a:defRPr/>
            </a:lvl5pPr>
            <a:lvl6pPr marL="2743200" lvl="5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g24bb22cb5cf_0_1159"/>
          <p:cNvSpPr>
            <a:spLocks noGrp="1"/>
          </p:cNvSpPr>
          <p:nvPr>
            <p:ph type="pic" idx="22"/>
          </p:nvPr>
        </p:nvSpPr>
        <p:spPr>
          <a:xfrm>
            <a:off x="8442250" y="3869661"/>
            <a:ext cx="1418100" cy="14181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3" name="Google Shape;203;g24bb22cb5cf_0_1159"/>
          <p:cNvSpPr>
            <a:spLocks noGrp="1"/>
          </p:cNvSpPr>
          <p:nvPr>
            <p:ph type="pic" idx="23"/>
          </p:nvPr>
        </p:nvSpPr>
        <p:spPr>
          <a:xfrm>
            <a:off x="478367" y="5500579"/>
            <a:ext cx="11235300" cy="786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710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95712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2456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218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252992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43950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6362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4609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2 Heading, Subline and Body" preserve="1" userDrawn="1">
  <p:cSld name="1_V2 Heading, Subline and Bod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E72C9A-1D3C-6185-FC77-F713A020F6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842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E72C9A-1D3C-6185-FC77-F713A020F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E48ABB81-75C7-AC18-8301-779BCD84FA43}"/>
              </a:ext>
            </a:extLst>
          </p:cNvPr>
          <p:cNvSpPr/>
          <p:nvPr userDrawn="1"/>
        </p:nvSpPr>
        <p:spPr>
          <a:xfrm>
            <a:off x="9857363" y="0"/>
            <a:ext cx="2334636" cy="21415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0DE3CB0-9CE1-2785-E2D5-09B8CDE9E0A4}"/>
              </a:ext>
            </a:extLst>
          </p:cNvPr>
          <p:cNvSpPr/>
          <p:nvPr userDrawn="1"/>
        </p:nvSpPr>
        <p:spPr>
          <a:xfrm>
            <a:off x="7497223" y="2141538"/>
            <a:ext cx="1288887" cy="12874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03471E76-1372-9EC9-0D5C-DB9E40C452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86110" y="2141538"/>
            <a:ext cx="3405890" cy="2574921"/>
          </a:xfrm>
        </p:spPr>
        <p:txBody>
          <a:bodyPr/>
          <a:lstStyle/>
          <a:p>
            <a:endParaRPr lang="de-AT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2C9888-31ED-B619-AB21-0A5EB67BC84D}"/>
              </a:ext>
            </a:extLst>
          </p:cNvPr>
          <p:cNvSpPr/>
          <p:nvPr userDrawn="1"/>
        </p:nvSpPr>
        <p:spPr>
          <a:xfrm>
            <a:off x="7497223" y="3428999"/>
            <a:ext cx="1288887" cy="12874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E6B7ED-845D-9C2F-8C9A-0BB1FD68AACB}"/>
              </a:ext>
            </a:extLst>
          </p:cNvPr>
          <p:cNvSpPr/>
          <p:nvPr userDrawn="1"/>
        </p:nvSpPr>
        <p:spPr>
          <a:xfrm>
            <a:off x="7495635" y="4716461"/>
            <a:ext cx="2361728" cy="21415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647392-DE87-AD31-CD9E-D4C16FAAFF07}"/>
              </a:ext>
            </a:extLst>
          </p:cNvPr>
          <p:cNvSpPr/>
          <p:nvPr userDrawn="1"/>
        </p:nvSpPr>
        <p:spPr>
          <a:xfrm>
            <a:off x="9857363" y="4716461"/>
            <a:ext cx="2334637" cy="21415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latin typeface="Open Sans" panose="020B0606030504020204" pitchFamily="34" charset="0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30AAC377-3FEB-D0EC-F8FA-9B6F0AD07C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5332" y="0"/>
            <a:ext cx="2361729" cy="2141539"/>
          </a:xfrm>
        </p:spPr>
        <p:txBody>
          <a:bodyPr/>
          <a:lstStyle/>
          <a:p>
            <a:endParaRPr lang="de-AT"/>
          </a:p>
        </p:txBody>
      </p:sp>
      <p:sp>
        <p:nvSpPr>
          <p:cNvPr id="21" name="Google Shape;35;p5">
            <a:extLst>
              <a:ext uri="{FF2B5EF4-FFF2-40B4-BE49-F238E27FC236}">
                <a16:creationId xmlns:a16="http://schemas.microsoft.com/office/drawing/2014/main" id="{18D2C3A4-C1F5-61B0-A320-A09881BDF9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56282" y="1597981"/>
            <a:ext cx="6557361" cy="4288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06680" lvl="0" indent="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920"/>
              <a:buNone/>
              <a:defRPr sz="1600"/>
            </a:lvl1pPr>
            <a:lvl2pPr marL="914400" lvl="1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•"/>
              <a:defRPr sz="1600"/>
            </a:lvl2pPr>
            <a:lvl3pPr marL="1371600" lvl="2" indent="-3302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600"/>
              <a:buChar char="o"/>
              <a:defRPr sz="1600"/>
            </a:lvl3pPr>
            <a:lvl4pPr marL="1828800" lvl="3" indent="-30988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280"/>
              <a:buChar char="o"/>
              <a:defRPr sz="1600"/>
            </a:lvl4pPr>
            <a:lvl5pPr marL="2286000" lvl="4" indent="-28956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960"/>
              <a:buChar char="⬥"/>
              <a:defRPr sz="1600"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36;p5">
            <a:extLst>
              <a:ext uri="{FF2B5EF4-FFF2-40B4-BE49-F238E27FC236}">
                <a16:creationId xmlns:a16="http://schemas.microsoft.com/office/drawing/2014/main" id="{9C8027E3-C282-3B50-764B-A114D21C5816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456282" y="861713"/>
            <a:ext cx="6557361" cy="36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108000" bIns="45700" anchor="t" anchorCtr="0">
            <a:normAutofit/>
          </a:bodyPr>
          <a:lstStyle>
            <a:lvl1pPr marL="0" lvl="0" indent="-2286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920"/>
              <a:buNone/>
              <a:defRPr sz="1600" b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800"/>
              <a:buChar char="o"/>
              <a:defRPr/>
            </a:lvl3pPr>
            <a:lvl4pPr marL="1828800" lvl="3" indent="-32003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440"/>
              <a:buChar char="o"/>
              <a:defRPr/>
            </a:lvl4pPr>
            <a:lvl5pPr marL="2286000" lvl="4" indent="-297179" algn="l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SzPts val="1080"/>
              <a:buChar char="⬥"/>
              <a:defRPr/>
            </a:lvl5pPr>
            <a:lvl6pPr marL="2743200" lvl="5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36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37;p5">
            <a:extLst>
              <a:ext uri="{FF2B5EF4-FFF2-40B4-BE49-F238E27FC236}">
                <a16:creationId xmlns:a16="http://schemas.microsoft.com/office/drawing/2014/main" id="{06DC5CCE-EF31-3D8E-A529-42D952D6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82" y="410334"/>
            <a:ext cx="6557361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ct val="0"/>
              </a:spcBef>
              <a:spcAft>
                <a:spcPct val="0"/>
              </a:spcAft>
              <a:buSzPts val="1400"/>
              <a:buNone/>
              <a:defRPr sz="2800"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2pPr>
            <a:lvl3pPr lvl="2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3pPr>
            <a:lvl4pPr lvl="3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4pPr>
            <a:lvl5pPr lvl="4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5pPr>
            <a:lvl6pPr lvl="5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6pPr>
            <a:lvl7pPr lvl="6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7pPr>
            <a:lvl8pPr lvl="7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8pPr>
            <a:lvl9pPr lvl="8" algn="l">
              <a:spcBef>
                <a:spcPct val="0"/>
              </a:spcBef>
              <a:spcAft>
                <a:spcPct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28604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1105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0592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216448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83338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20334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66150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78071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85938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87627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12941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4.xml"/><Relationship Id="rId117" Type="http://schemas.openxmlformats.org/officeDocument/2006/relationships/slideLayout" Target="../slideLayouts/slideLayout195.xml"/><Relationship Id="rId21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63" Type="http://schemas.openxmlformats.org/officeDocument/2006/relationships/slideLayout" Target="../slideLayouts/slideLayout141.xml"/><Relationship Id="rId68" Type="http://schemas.openxmlformats.org/officeDocument/2006/relationships/slideLayout" Target="../slideLayouts/slideLayout146.xml"/><Relationship Id="rId84" Type="http://schemas.openxmlformats.org/officeDocument/2006/relationships/slideLayout" Target="../slideLayouts/slideLayout162.xml"/><Relationship Id="rId89" Type="http://schemas.openxmlformats.org/officeDocument/2006/relationships/slideLayout" Target="../slideLayouts/slideLayout167.xml"/><Relationship Id="rId112" Type="http://schemas.openxmlformats.org/officeDocument/2006/relationships/slideLayout" Target="../slideLayouts/slideLayout190.xml"/><Relationship Id="rId16" Type="http://schemas.openxmlformats.org/officeDocument/2006/relationships/slideLayout" Target="../slideLayouts/slideLayout94.xml"/><Relationship Id="rId107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53" Type="http://schemas.openxmlformats.org/officeDocument/2006/relationships/slideLayout" Target="../slideLayouts/slideLayout131.xml"/><Relationship Id="rId58" Type="http://schemas.openxmlformats.org/officeDocument/2006/relationships/slideLayout" Target="../slideLayouts/slideLayout136.xml"/><Relationship Id="rId74" Type="http://schemas.openxmlformats.org/officeDocument/2006/relationships/slideLayout" Target="../slideLayouts/slideLayout152.xml"/><Relationship Id="rId79" Type="http://schemas.openxmlformats.org/officeDocument/2006/relationships/slideLayout" Target="../slideLayouts/slideLayout157.xml"/><Relationship Id="rId102" Type="http://schemas.openxmlformats.org/officeDocument/2006/relationships/slideLayout" Target="../slideLayouts/slideLayout180.xml"/><Relationship Id="rId123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83.xml"/><Relationship Id="rId90" Type="http://schemas.openxmlformats.org/officeDocument/2006/relationships/slideLayout" Target="../slideLayouts/slideLayout168.xml"/><Relationship Id="rId95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64" Type="http://schemas.openxmlformats.org/officeDocument/2006/relationships/slideLayout" Target="../slideLayouts/slideLayout142.xml"/><Relationship Id="rId69" Type="http://schemas.openxmlformats.org/officeDocument/2006/relationships/slideLayout" Target="../slideLayouts/slideLayout147.xml"/><Relationship Id="rId113" Type="http://schemas.openxmlformats.org/officeDocument/2006/relationships/slideLayout" Target="../slideLayouts/slideLayout191.xml"/><Relationship Id="rId118" Type="http://schemas.openxmlformats.org/officeDocument/2006/relationships/slideLayout" Target="../slideLayouts/slideLayout196.xml"/><Relationship Id="rId80" Type="http://schemas.openxmlformats.org/officeDocument/2006/relationships/slideLayout" Target="../slideLayouts/slideLayout158.xml"/><Relationship Id="rId85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59" Type="http://schemas.openxmlformats.org/officeDocument/2006/relationships/slideLayout" Target="../slideLayouts/slideLayout137.xml"/><Relationship Id="rId103" Type="http://schemas.openxmlformats.org/officeDocument/2006/relationships/slideLayout" Target="../slideLayouts/slideLayout181.xml"/><Relationship Id="rId108" Type="http://schemas.openxmlformats.org/officeDocument/2006/relationships/slideLayout" Target="../slideLayouts/slideLayout186.xml"/><Relationship Id="rId124" Type="http://schemas.openxmlformats.org/officeDocument/2006/relationships/theme" Target="../theme/theme4.xml"/><Relationship Id="rId54" Type="http://schemas.openxmlformats.org/officeDocument/2006/relationships/slideLayout" Target="../slideLayouts/slideLayout132.xml"/><Relationship Id="rId70" Type="http://schemas.openxmlformats.org/officeDocument/2006/relationships/slideLayout" Target="../slideLayouts/slideLayout148.xml"/><Relationship Id="rId75" Type="http://schemas.openxmlformats.org/officeDocument/2006/relationships/slideLayout" Target="../slideLayouts/slideLayout153.xml"/><Relationship Id="rId91" Type="http://schemas.openxmlformats.org/officeDocument/2006/relationships/slideLayout" Target="../slideLayouts/slideLayout169.xml"/><Relationship Id="rId96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49" Type="http://schemas.openxmlformats.org/officeDocument/2006/relationships/slideLayout" Target="../slideLayouts/slideLayout127.xml"/><Relationship Id="rId114" Type="http://schemas.openxmlformats.org/officeDocument/2006/relationships/slideLayout" Target="../slideLayouts/slideLayout192.xml"/><Relationship Id="rId119" Type="http://schemas.openxmlformats.org/officeDocument/2006/relationships/slideLayout" Target="../slideLayouts/slideLayout197.xml"/><Relationship Id="rId44" Type="http://schemas.openxmlformats.org/officeDocument/2006/relationships/slideLayout" Target="../slideLayouts/slideLayout122.xml"/><Relationship Id="rId60" Type="http://schemas.openxmlformats.org/officeDocument/2006/relationships/slideLayout" Target="../slideLayouts/slideLayout138.xml"/><Relationship Id="rId65" Type="http://schemas.openxmlformats.org/officeDocument/2006/relationships/slideLayout" Target="../slideLayouts/slideLayout143.xml"/><Relationship Id="rId81" Type="http://schemas.openxmlformats.org/officeDocument/2006/relationships/slideLayout" Target="../slideLayouts/slideLayout159.xml"/><Relationship Id="rId86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17.xml"/><Relationship Id="rId109" Type="http://schemas.openxmlformats.org/officeDocument/2006/relationships/slideLayout" Target="../slideLayouts/slideLayout187.xml"/><Relationship Id="rId34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28.xml"/><Relationship Id="rId55" Type="http://schemas.openxmlformats.org/officeDocument/2006/relationships/slideLayout" Target="../slideLayouts/slideLayout133.xml"/><Relationship Id="rId76" Type="http://schemas.openxmlformats.org/officeDocument/2006/relationships/slideLayout" Target="../slideLayouts/slideLayout154.xml"/><Relationship Id="rId97" Type="http://schemas.openxmlformats.org/officeDocument/2006/relationships/slideLayout" Target="../slideLayouts/slideLayout175.xml"/><Relationship Id="rId104" Type="http://schemas.openxmlformats.org/officeDocument/2006/relationships/slideLayout" Target="../slideLayouts/slideLayout182.xml"/><Relationship Id="rId120" Type="http://schemas.openxmlformats.org/officeDocument/2006/relationships/slideLayout" Target="../slideLayouts/slideLayout198.xml"/><Relationship Id="rId125" Type="http://schemas.openxmlformats.org/officeDocument/2006/relationships/image" Target="../media/image41.png"/><Relationship Id="rId7" Type="http://schemas.openxmlformats.org/officeDocument/2006/relationships/slideLayout" Target="../slideLayouts/slideLayout85.xml"/><Relationship Id="rId71" Type="http://schemas.openxmlformats.org/officeDocument/2006/relationships/slideLayout" Target="../slideLayouts/slideLayout149.xml"/><Relationship Id="rId9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66" Type="http://schemas.openxmlformats.org/officeDocument/2006/relationships/slideLayout" Target="../slideLayouts/slideLayout144.xml"/><Relationship Id="rId87" Type="http://schemas.openxmlformats.org/officeDocument/2006/relationships/slideLayout" Target="../slideLayouts/slideLayout165.xml"/><Relationship Id="rId110" Type="http://schemas.openxmlformats.org/officeDocument/2006/relationships/slideLayout" Target="../slideLayouts/slideLayout188.xml"/><Relationship Id="rId115" Type="http://schemas.openxmlformats.org/officeDocument/2006/relationships/slideLayout" Target="../slideLayouts/slideLayout193.xml"/><Relationship Id="rId61" Type="http://schemas.openxmlformats.org/officeDocument/2006/relationships/slideLayout" Target="../slideLayouts/slideLayout139.xml"/><Relationship Id="rId82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56" Type="http://schemas.openxmlformats.org/officeDocument/2006/relationships/slideLayout" Target="../slideLayouts/slideLayout134.xml"/><Relationship Id="rId77" Type="http://schemas.openxmlformats.org/officeDocument/2006/relationships/slideLayout" Target="../slideLayouts/slideLayout155.xml"/><Relationship Id="rId100" Type="http://schemas.openxmlformats.org/officeDocument/2006/relationships/slideLayout" Target="../slideLayouts/slideLayout178.xml"/><Relationship Id="rId105" Type="http://schemas.openxmlformats.org/officeDocument/2006/relationships/slideLayout" Target="../slideLayouts/slideLayout183.xml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72" Type="http://schemas.openxmlformats.org/officeDocument/2006/relationships/slideLayout" Target="../slideLayouts/slideLayout150.xml"/><Relationship Id="rId93" Type="http://schemas.openxmlformats.org/officeDocument/2006/relationships/slideLayout" Target="../slideLayouts/slideLayout171.xml"/><Relationship Id="rId98" Type="http://schemas.openxmlformats.org/officeDocument/2006/relationships/slideLayout" Target="../slideLayouts/slideLayout176.xml"/><Relationship Id="rId121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24.xml"/><Relationship Id="rId67" Type="http://schemas.openxmlformats.org/officeDocument/2006/relationships/slideLayout" Target="../slideLayouts/slideLayout145.xml"/><Relationship Id="rId1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62" Type="http://schemas.openxmlformats.org/officeDocument/2006/relationships/slideLayout" Target="../slideLayouts/slideLayout140.xml"/><Relationship Id="rId83" Type="http://schemas.openxmlformats.org/officeDocument/2006/relationships/slideLayout" Target="../slideLayouts/slideLayout161.xml"/><Relationship Id="rId88" Type="http://schemas.openxmlformats.org/officeDocument/2006/relationships/slideLayout" Target="../slideLayouts/slideLayout166.xml"/><Relationship Id="rId111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14.xml"/><Relationship Id="rId57" Type="http://schemas.openxmlformats.org/officeDocument/2006/relationships/slideLayout" Target="../slideLayouts/slideLayout135.xml"/><Relationship Id="rId106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9.xml"/><Relationship Id="rId52" Type="http://schemas.openxmlformats.org/officeDocument/2006/relationships/slideLayout" Target="../slideLayouts/slideLayout130.xml"/><Relationship Id="rId73" Type="http://schemas.openxmlformats.org/officeDocument/2006/relationships/slideLayout" Target="../slideLayouts/slideLayout151.xml"/><Relationship Id="rId78" Type="http://schemas.openxmlformats.org/officeDocument/2006/relationships/slideLayout" Target="../slideLayouts/slideLayout156.xml"/><Relationship Id="rId94" Type="http://schemas.openxmlformats.org/officeDocument/2006/relationships/slideLayout" Target="../slideLayouts/slideLayout172.xml"/><Relationship Id="rId99" Type="http://schemas.openxmlformats.org/officeDocument/2006/relationships/slideLayout" Target="../slideLayouts/slideLayout177.xml"/><Relationship Id="rId101" Type="http://schemas.openxmlformats.org/officeDocument/2006/relationships/slideLayout" Target="../slideLayouts/slideLayout179.xml"/><Relationship Id="rId122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B0851E-0FDD-2637-86A5-C5B9F6A74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467673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606" imgH="608" progId="TCLayout.ActiveDocument.1">
                  <p:embed/>
                </p:oleObj>
              </mc:Choice>
              <mc:Fallback>
                <p:oleObj name="think-cell Slide" r:id="rId29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B0851E-0FDD-2637-86A5-C5B9F6A74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800" b="0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ct val="0"/>
              </a:spcBef>
              <a:spcAft>
                <a:spcPct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0520" algn="l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Clr>
                <a:schemeClr val="dk1"/>
              </a:buClr>
              <a:buSzPts val="192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Clr>
                <a:srgbClr val="36516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30200" algn="l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Clr>
                <a:srgbClr val="7F7F7F"/>
              </a:buClr>
              <a:buSzPts val="128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89560" algn="l" rtl="0">
              <a:lnSpc>
                <a:spcPct val="110000"/>
              </a:lnSpc>
              <a:spcBef>
                <a:spcPts val="1067"/>
              </a:spcBef>
              <a:spcAft>
                <a:spcPct val="0"/>
              </a:spcAft>
              <a:buClr>
                <a:schemeClr val="accent2"/>
              </a:buClr>
              <a:buSzPts val="960"/>
              <a:buFont typeface="Noto Sans Symbols"/>
              <a:buChar char="⬥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ct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ct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ct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ct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/>
          <p:nvPr/>
        </p:nvSpPr>
        <p:spPr>
          <a:xfrm>
            <a:off x="1352365" y="6558415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Google Shape;13;p1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4" name="Google Shape;14;p1"/>
          <p:cNvPicPr preferRelativeResize="0"/>
          <p:nvPr/>
        </p:nvPicPr>
        <p:blipFill>
          <a:blip r:embed="rId31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576" y="6518941"/>
            <a:ext cx="1009970" cy="24842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BtfpConfiguration" hidden="1">
            <a:extLst>
              <a:ext uri="{FF2B5EF4-FFF2-40B4-BE49-F238E27FC236}">
                <a16:creationId xmlns:a16="http://schemas.microsoft.com/office/drawing/2014/main" id="{B881636F-7B8D-E48E-B7AE-867E3CCDCB4D}"/>
              </a:ext>
            </a:extLst>
          </p:cNvPr>
          <p:cNvSpPr txBox="1"/>
          <p:nvPr userDrawn="1"/>
        </p:nvSpPr>
        <p:spPr>
          <a:xfrm>
            <a:off x="0" y="0"/>
            <a:ext cx="101600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R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&lt;BTFP&gt;&lt;!-- BTFPCONFIGURATION:3C627466703E0D0A20203C212D2D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E616D697269616C22207061676553697A653D226134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543354335433C2F72756E6E696E674167656E64614261636B436F6C6F724C6566743E0D0A2020202020203C72756E6E696E674167656E64614261636B436F6C6F7252696768743E23423442344234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4343303030303C2F636F6E636C7573696F6E4172726F774C696E65436F6C6F723E0D0A2020202020203C636F6E636C7573696F6E4172726F7754657874436F6C6F723E234343303030303C2F636F6E636C7573696F6E4172726F7754657874436F6C6F723E0D0A2020202020203C70657263656E74616765436972636C6546756C6C436972636C65436F6C6F723E234234423442343C2F70657263656E74616765436972636C6546756C6C436972636C65436F6C6F723E0D0A2020202020203C70657263656E74616765436972636C6554657874486967686C69676874436F6C6F723E2343433030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543354335433C2F63616C6C6F7574546578744C696E65436F6C6F723E0D0A2020202020203C6E756D626572427562626C654261636B436F6C6F723E234646464646463C2F6E756D626572427562626C654261636B436F6C6F723E0D0A2020202020203C6E756D626572427562626C65546578744C696E65436F6C6F723E234343303030303C2F6E756D626572427562626C65546578744C696E65436F6C6F723E0D0A2020202020203C76616C7565436861696E546578744C696E65436F6C6F723E233543354335433C2F76616C7565436861696E546578744C696E65436F6C6F723E0D0A2020202020203C6167656E6461486967686C69676874436F6C6F723E234343303030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73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20202020202020202020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030363435453C2F636F6C6F723E0D0A2020202020203C636F6C6F7220636F6E7472617374696E6754657874436F6C6F723D2223464646464646223E233030413639443C2F636F6C6F723E0D0A2020202020203C636F6C6F7220636F6E7472617374696E6754657874436F6C6F723D2223303030303030223E233830443343453C2F636F6C6F723E0D0A2020202020203C636F6C6F7220636F6E7472617374696E6754657874436F6C6F723D2223303030303030223E234536463646353C2F636F6C6F723E0D0A2020202020203C636F6C6F7220636F6E7472617374696E6754657874436F6C6F723D2223303030303030223E234344434644323C2F636F6C6F723E0D0A202020203C2F636F6C6F72733E0D0A20203C2F74656D706C6174653E0D0A20203C4775696465733E0D0A202020203C4C656674477569646520786D6C6E733D22333522202F3E0D0A202020203C5269676874477569646520786D6C6E733D2239313722202F3E0D0A202020203C5570706572537469636B6572477569646520786D6C6E733D2231333622202F3E0D0A202020203C4C6F776572537469636B6572477569646520786D6C6E733D2231363722202F3E0D0A202020203C426F74746F6D477569646520786D6C6E733D2235313022202F3E0D0A20203C2F4775696465733E0D0A3C2F627466703E --&gt;&lt;/BTFP&gt;</a:t>
            </a:r>
          </a:p>
        </p:txBody>
      </p:sp>
    </p:spTree>
    <p:extLst>
      <p:ext uri="{BB962C8B-B14F-4D97-AF65-F5344CB8AC3E}">
        <p14:creationId xmlns:p14="http://schemas.microsoft.com/office/powerpoint/2010/main" val="1362641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837" r:id="rId26"/>
  </p:sldLayoutIdLst>
  <p:transition>
    <p:fade/>
  </p:transition>
  <p:txStyles>
    <p:title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1" i="0" u="none" strike="noStrike" cap="none">
          <a:solidFill>
            <a:srgbClr val="00000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L="106680" marR="0" lvl="0" indent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Tx/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35">
          <p15:clr>
            <a:srgbClr val="F26B43"/>
          </p15:clr>
        </p15:guide>
        <p15:guide id="2" orient="horz" pos="1087">
          <p15:clr>
            <a:srgbClr val="F26B43"/>
          </p15:clr>
        </p15:guide>
        <p15:guide id="3" orient="horz" pos="4083">
          <p15:clr>
            <a:srgbClr val="F26B43"/>
          </p15:clr>
        </p15:guide>
        <p15:guide id="4" pos="279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456282" y="365125"/>
            <a:ext cx="10515600" cy="619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456282" y="1216025"/>
            <a:ext cx="10897518" cy="4960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052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92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36516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3020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7F7F7F"/>
              </a:buClr>
              <a:buSzPts val="128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8956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accent2"/>
              </a:buClr>
              <a:buSzPts val="960"/>
              <a:buFont typeface="Noto Sans Symbols"/>
              <a:buChar char="⬥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" name="Google Shape;12;p1">
            <a:extLst>
              <a:ext uri="{FF2B5EF4-FFF2-40B4-BE49-F238E27FC236}">
                <a16:creationId xmlns:a16="http://schemas.microsoft.com/office/drawing/2014/main" id="{448F1E92-CB6E-F421-7A65-D0755B76BA48}"/>
              </a:ext>
            </a:extLst>
          </p:cNvPr>
          <p:cNvSpPr txBox="1"/>
          <p:nvPr userDrawn="1"/>
        </p:nvSpPr>
        <p:spPr>
          <a:xfrm>
            <a:off x="1271954" y="6545881"/>
            <a:ext cx="6176411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</a:t>
            </a:r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Google Shape;14;p1">
            <a:extLst>
              <a:ext uri="{FF2B5EF4-FFF2-40B4-BE49-F238E27FC236}">
                <a16:creationId xmlns:a16="http://schemas.microsoft.com/office/drawing/2014/main" id="{2590E456-454F-01A9-F0A9-F0024053EBC4}"/>
              </a:ext>
            </a:extLst>
          </p:cNvPr>
          <p:cNvPicPr preferRelativeResize="0"/>
          <p:nvPr userDrawn="1"/>
        </p:nvPicPr>
        <p:blipFill rotWithShape="1">
          <a:blip r:embed="rId3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576" y="6515200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876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</p:sldLayoutIdLst>
  <p:transition>
    <p:fade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0" marR="0" lvl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+mj-lt"/>
        <a:buAutoNum type="arabicPeriod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456282" y="365125"/>
            <a:ext cx="10515600" cy="619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456282" y="1216025"/>
            <a:ext cx="10897518" cy="4960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052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92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36516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3020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7F7F7F"/>
              </a:buClr>
              <a:buSzPts val="128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8956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accent2"/>
              </a:buClr>
              <a:buSzPts val="960"/>
              <a:buFont typeface="Noto Sans Symbols"/>
              <a:buChar char="⬥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/>
          <p:nvPr/>
        </p:nvSpPr>
        <p:spPr>
          <a:xfrm>
            <a:off x="1352365" y="6558415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</a:t>
            </a:r>
            <a:r>
              <a:rPr lang="en-US" sz="1050" b="0" i="0" u="none" strike="noStrike" cap="none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Namirial</a:t>
            </a:r>
            <a:r>
              <a:rPr lang="en-US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 – All rights reserved</a:t>
            </a:r>
            <a:endParaRPr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Google Shape;13;p1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4" name="Google Shape;14;p1"/>
          <p:cNvPicPr preferRelativeResize="0"/>
          <p:nvPr/>
        </p:nvPicPr>
        <p:blipFill rotWithShape="1">
          <a:blip r:embed="rId21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576" y="651894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1260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</p:sldLayoutIdLst>
  <p:transition>
    <p:fade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0" marR="0" lvl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+mj-lt"/>
        <a:buAutoNum type="arabicPeriod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7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7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052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92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36516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3020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7F7F7F"/>
              </a:buClr>
              <a:buSzPts val="128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89560" algn="l" rtl="0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chemeClr val="accent2"/>
              </a:buClr>
              <a:buSzPts val="960"/>
              <a:buFont typeface="Noto Sans Symbols"/>
              <a:buChar char="⬥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" name="Google Shape;12;p72"/>
          <p:cNvSpPr txBox="1"/>
          <p:nvPr/>
        </p:nvSpPr>
        <p:spPr>
          <a:xfrm>
            <a:off x="1352365" y="6558415"/>
            <a:ext cx="6096000" cy="182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Open Sans"/>
              <a:buNone/>
            </a:pPr>
            <a:r>
              <a:rPr lang="en" sz="10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| © Namirial – All rights reserv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3;p72"/>
          <p:cNvSpPr txBox="1"/>
          <p:nvPr/>
        </p:nvSpPr>
        <p:spPr>
          <a:xfrm>
            <a:off x="11315221" y="6538912"/>
            <a:ext cx="706203" cy="241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4" name="Google Shape;14;p72"/>
          <p:cNvPicPr preferRelativeResize="0"/>
          <p:nvPr/>
        </p:nvPicPr>
        <p:blipFill rotWithShape="1">
          <a:blip r:embed="rId12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576" y="6518941"/>
            <a:ext cx="1009970" cy="248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93489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  <p:sldLayoutId id="2147483867" r:id="rId28"/>
    <p:sldLayoutId id="2147483868" r:id="rId29"/>
    <p:sldLayoutId id="2147483869" r:id="rId30"/>
    <p:sldLayoutId id="2147483870" r:id="rId31"/>
    <p:sldLayoutId id="2147483871" r:id="rId32"/>
    <p:sldLayoutId id="2147483872" r:id="rId33"/>
    <p:sldLayoutId id="2147483873" r:id="rId34"/>
    <p:sldLayoutId id="2147483874" r:id="rId35"/>
    <p:sldLayoutId id="2147483875" r:id="rId36"/>
    <p:sldLayoutId id="2147483876" r:id="rId37"/>
    <p:sldLayoutId id="2147483877" r:id="rId38"/>
    <p:sldLayoutId id="2147483878" r:id="rId39"/>
    <p:sldLayoutId id="2147483879" r:id="rId40"/>
    <p:sldLayoutId id="2147483880" r:id="rId41"/>
    <p:sldLayoutId id="2147483881" r:id="rId42"/>
    <p:sldLayoutId id="2147483882" r:id="rId43"/>
    <p:sldLayoutId id="2147483883" r:id="rId44"/>
    <p:sldLayoutId id="2147483884" r:id="rId45"/>
    <p:sldLayoutId id="2147483885" r:id="rId46"/>
    <p:sldLayoutId id="2147483886" r:id="rId47"/>
    <p:sldLayoutId id="2147483887" r:id="rId48"/>
    <p:sldLayoutId id="2147483888" r:id="rId49"/>
    <p:sldLayoutId id="2147483889" r:id="rId50"/>
    <p:sldLayoutId id="2147483890" r:id="rId51"/>
    <p:sldLayoutId id="2147483891" r:id="rId52"/>
    <p:sldLayoutId id="2147483892" r:id="rId53"/>
    <p:sldLayoutId id="2147483893" r:id="rId54"/>
    <p:sldLayoutId id="2147483894" r:id="rId55"/>
    <p:sldLayoutId id="2147483895" r:id="rId56"/>
    <p:sldLayoutId id="2147483896" r:id="rId57"/>
    <p:sldLayoutId id="2147483897" r:id="rId58"/>
    <p:sldLayoutId id="2147483898" r:id="rId59"/>
    <p:sldLayoutId id="2147483899" r:id="rId60"/>
    <p:sldLayoutId id="2147483900" r:id="rId61"/>
    <p:sldLayoutId id="2147483901" r:id="rId62"/>
    <p:sldLayoutId id="2147483902" r:id="rId63"/>
    <p:sldLayoutId id="2147483903" r:id="rId64"/>
    <p:sldLayoutId id="2147483904" r:id="rId65"/>
    <p:sldLayoutId id="2147483905" r:id="rId66"/>
    <p:sldLayoutId id="2147483906" r:id="rId67"/>
    <p:sldLayoutId id="2147483907" r:id="rId68"/>
    <p:sldLayoutId id="2147483908" r:id="rId69"/>
    <p:sldLayoutId id="2147483909" r:id="rId70"/>
    <p:sldLayoutId id="2147483910" r:id="rId71"/>
    <p:sldLayoutId id="2147483911" r:id="rId72"/>
    <p:sldLayoutId id="2147483912" r:id="rId73"/>
    <p:sldLayoutId id="2147483913" r:id="rId74"/>
    <p:sldLayoutId id="2147483914" r:id="rId75"/>
    <p:sldLayoutId id="2147483915" r:id="rId76"/>
    <p:sldLayoutId id="2147483916" r:id="rId77"/>
    <p:sldLayoutId id="2147483917" r:id="rId78"/>
    <p:sldLayoutId id="2147483918" r:id="rId79"/>
    <p:sldLayoutId id="2147483919" r:id="rId80"/>
    <p:sldLayoutId id="2147483920" r:id="rId81"/>
    <p:sldLayoutId id="2147483921" r:id="rId82"/>
    <p:sldLayoutId id="2147483922" r:id="rId83"/>
    <p:sldLayoutId id="2147483923" r:id="rId84"/>
    <p:sldLayoutId id="2147483924" r:id="rId85"/>
    <p:sldLayoutId id="2147483925" r:id="rId86"/>
    <p:sldLayoutId id="2147483926" r:id="rId87"/>
    <p:sldLayoutId id="2147483927" r:id="rId88"/>
    <p:sldLayoutId id="2147483928" r:id="rId89"/>
    <p:sldLayoutId id="2147483929" r:id="rId90"/>
    <p:sldLayoutId id="2147483930" r:id="rId91"/>
    <p:sldLayoutId id="2147483931" r:id="rId92"/>
    <p:sldLayoutId id="2147483932" r:id="rId93"/>
    <p:sldLayoutId id="2147483933" r:id="rId94"/>
    <p:sldLayoutId id="2147483934" r:id="rId95"/>
    <p:sldLayoutId id="2147483935" r:id="rId96"/>
    <p:sldLayoutId id="2147483936" r:id="rId97"/>
    <p:sldLayoutId id="2147483937" r:id="rId98"/>
    <p:sldLayoutId id="2147483938" r:id="rId99"/>
    <p:sldLayoutId id="2147483939" r:id="rId100"/>
    <p:sldLayoutId id="2147483940" r:id="rId101"/>
    <p:sldLayoutId id="2147483941" r:id="rId102"/>
    <p:sldLayoutId id="2147483942" r:id="rId103"/>
    <p:sldLayoutId id="2147483943" r:id="rId104"/>
    <p:sldLayoutId id="2147483944" r:id="rId105"/>
    <p:sldLayoutId id="2147483945" r:id="rId106"/>
    <p:sldLayoutId id="2147483946" r:id="rId107"/>
    <p:sldLayoutId id="2147483947" r:id="rId108"/>
    <p:sldLayoutId id="2147483948" r:id="rId109"/>
    <p:sldLayoutId id="2147483949" r:id="rId110"/>
    <p:sldLayoutId id="2147483950" r:id="rId111"/>
    <p:sldLayoutId id="2147483951" r:id="rId112"/>
    <p:sldLayoutId id="2147483952" r:id="rId113"/>
    <p:sldLayoutId id="2147483953" r:id="rId114"/>
    <p:sldLayoutId id="2147483954" r:id="rId115"/>
    <p:sldLayoutId id="2147483955" r:id="rId116"/>
    <p:sldLayoutId id="2147483956" r:id="rId117"/>
    <p:sldLayoutId id="2147483957" r:id="rId118"/>
    <p:sldLayoutId id="2147483958" r:id="rId119"/>
    <p:sldLayoutId id="2147483959" r:id="rId120"/>
    <p:sldLayoutId id="2147483960" r:id="rId121"/>
    <p:sldLayoutId id="2147483961" r:id="rId122"/>
    <p:sldLayoutId id="2147483962" r:id="rId123"/>
  </p:sldLayoutIdLst>
  <p:transition>
    <p:fade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jpe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87.pn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06B60-79F4-AAFE-7822-4CAAFDD85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2A13CD0A-C18C-B509-A644-F36666F8F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905" y="2166345"/>
            <a:ext cx="10857053" cy="594449"/>
          </a:xfrm>
        </p:spPr>
        <p:txBody>
          <a:bodyPr/>
          <a:lstStyle/>
          <a:p>
            <a:r>
              <a:rPr lang="en-US" dirty="0" err="1">
                <a:solidFill>
                  <a:schemeClr val="accent1"/>
                </a:solidFill>
              </a:rPr>
              <a:t>Identità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Digitale</a:t>
            </a:r>
            <a:r>
              <a:rPr lang="en-US" dirty="0">
                <a:solidFill>
                  <a:schemeClr val="accent1"/>
                </a:solidFill>
              </a:rPr>
              <a:t> e </a:t>
            </a:r>
            <a:r>
              <a:rPr lang="en-US" dirty="0" err="1">
                <a:solidFill>
                  <a:schemeClr val="accent1"/>
                </a:solidFill>
              </a:rPr>
              <a:t>Pagamenti</a:t>
            </a:r>
            <a:r>
              <a:rPr lang="en-US" dirty="0">
                <a:solidFill>
                  <a:schemeClr val="accent1"/>
                </a:solidFill>
              </a:rPr>
              <a:t>: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>
                <a:solidFill>
                  <a:schemeClr val="accent1"/>
                </a:solidFill>
              </a:rPr>
              <a:t>il nuovo </a:t>
            </a:r>
            <a:r>
              <a:rPr lang="en-US" dirty="0" err="1">
                <a:solidFill>
                  <a:schemeClr val="accent1"/>
                </a:solidFill>
              </a:rPr>
              <a:t>equilibrio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uropeo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nell’era</a:t>
            </a:r>
            <a:r>
              <a:rPr lang="en-US" dirty="0">
                <a:solidFill>
                  <a:schemeClr val="accent1"/>
                </a:solidFill>
              </a:rPr>
              <a:t> di eIDAS 2</a:t>
            </a:r>
            <a:br>
              <a:rPr lang="en-US" dirty="0">
                <a:solidFill>
                  <a:schemeClr val="accent1"/>
                </a:solidFill>
              </a:rPr>
            </a:br>
            <a:br>
              <a:rPr lang="en-US" dirty="0">
                <a:solidFill>
                  <a:schemeClr val="accent1"/>
                </a:solidFill>
              </a:rPr>
            </a:br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2" name="Google Shape;2447;p94">
            <a:extLst>
              <a:ext uri="{FF2B5EF4-FFF2-40B4-BE49-F238E27FC236}">
                <a16:creationId xmlns:a16="http://schemas.microsoft.com/office/drawing/2014/main" id="{0CF91AA7-47D1-04FF-49E5-C5CA045A68B8}"/>
              </a:ext>
            </a:extLst>
          </p:cNvPr>
          <p:cNvSpPr txBox="1"/>
          <p:nvPr/>
        </p:nvSpPr>
        <p:spPr>
          <a:xfrm>
            <a:off x="4735976" y="5433702"/>
            <a:ext cx="2720049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400" b="1" kern="0">
                <a:solidFill>
                  <a:srgbClr val="11182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Quattrocento Sans"/>
              </a:rPr>
              <a:t>Matteo Panfilo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Quattrocento Sans"/>
              </a:rPr>
              <a:t>Product Strategy Director</a:t>
            </a:r>
          </a:p>
        </p:txBody>
      </p:sp>
      <p:pic>
        <p:nvPicPr>
          <p:cNvPr id="3" name="Picture 2" descr="A person in a suit with his arms crossed  Description automatically generated">
            <a:extLst>
              <a:ext uri="{FF2B5EF4-FFF2-40B4-BE49-F238E27FC236}">
                <a16:creationId xmlns:a16="http://schemas.microsoft.com/office/drawing/2014/main" id="{1815C34E-71D0-39D3-323A-408FA0E19A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3035" y="3686207"/>
            <a:ext cx="1585929" cy="1585929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09699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LeftPanel"/>
          <p:cNvSpPr/>
          <p:nvPr/>
        </p:nvSpPr>
        <p:spPr>
          <a:xfrm>
            <a:off x="0" y="0"/>
            <a:ext cx="510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D08DB5-6B7B-F5CC-B527-A5B321BBDEE9}"/>
              </a:ext>
            </a:extLst>
          </p:cNvPr>
          <p:cNvSpPr/>
          <p:nvPr/>
        </p:nvSpPr>
        <p:spPr>
          <a:xfrm>
            <a:off x="187480" y="4941489"/>
            <a:ext cx="4600000" cy="18104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EUFla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20000" y="220000"/>
            <a:ext cx="520000" cy="5200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01" name="TitleMain"/>
          <p:cNvSpPr txBox="1"/>
          <p:nvPr/>
        </p:nvSpPr>
        <p:spPr>
          <a:xfrm>
            <a:off x="280000" y="900000"/>
            <a:ext cx="4600000" cy="17000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r>
              <a:rPr lang="en-US" sz="5200" b="1" i="0" dirty="0">
                <a:solidFill>
                  <a:srgbClr val="FFFFFF"/>
                </a:solidFill>
                <a:latin typeface="Open Sans"/>
              </a:rPr>
              <a:t>Digital</a:t>
            </a:r>
          </a:p>
          <a:p>
            <a:pPr>
              <a:spcBef>
                <a:spcPts val="100"/>
              </a:spcBef>
            </a:pPr>
            <a:r>
              <a:rPr lang="en-US" sz="5200" b="1" i="0" dirty="0">
                <a:solidFill>
                  <a:srgbClr val="FFFFFF"/>
                </a:solidFill>
                <a:latin typeface="Open Sans"/>
              </a:rPr>
              <a:t>Identity</a:t>
            </a:r>
          </a:p>
          <a:p>
            <a:pPr>
              <a:spcBef>
                <a:spcPts val="600"/>
              </a:spcBef>
            </a:pPr>
            <a:r>
              <a:rPr lang="en-US" sz="2800" b="1" i="0" dirty="0">
                <a:solidFill>
                  <a:srgbClr val="00A69D"/>
                </a:solidFill>
                <a:latin typeface="Open Sans"/>
              </a:rPr>
              <a:t>&amp; EU Digital Wallet</a:t>
            </a:r>
          </a:p>
        </p:txBody>
      </p:sp>
      <p:sp>
        <p:nvSpPr>
          <p:cNvPr id="103" name="Sep"/>
          <p:cNvSpPr/>
          <p:nvPr/>
        </p:nvSpPr>
        <p:spPr>
          <a:xfrm>
            <a:off x="280000" y="3180000"/>
            <a:ext cx="4400000" cy="50000"/>
          </a:xfrm>
          <a:prstGeom prst="rect">
            <a:avLst/>
          </a:prstGeom>
          <a:solidFill>
            <a:srgbClr val="00A69D"/>
          </a:solidFill>
          <a:ln>
            <a:noFill/>
          </a:ln>
        </p:spPr>
        <p:txBody>
          <a:bodyPr/>
          <a:lstStyle/>
          <a:p>
            <a:endParaRPr/>
          </a:p>
        </p:txBody>
      </p:sp>
      <p:sp>
        <p:nvSpPr>
          <p:cNvPr id="104" name="Tagline"/>
          <p:cNvSpPr txBox="1"/>
          <p:nvPr/>
        </p:nvSpPr>
        <p:spPr>
          <a:xfrm>
            <a:off x="180000" y="2680000"/>
            <a:ext cx="4500000" cy="5000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r>
              <a:rPr lang="en-US" sz="1800" b="0" i="1" dirty="0">
                <a:solidFill>
                  <a:srgbClr val="FFFFFF"/>
                </a:solidFill>
                <a:latin typeface="Open Sans"/>
              </a:rPr>
              <a:t>The backbone of Europe’s Digital Strategy</a:t>
            </a:r>
          </a:p>
        </p:txBody>
      </p:sp>
      <p:sp>
        <p:nvSpPr>
          <p:cNvPr id="105" name="Statement"/>
          <p:cNvSpPr txBox="1"/>
          <p:nvPr/>
        </p:nvSpPr>
        <p:spPr>
          <a:xfrm>
            <a:off x="180000" y="3300000"/>
            <a:ext cx="4600000" cy="73866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r>
              <a:rPr lang="en-US" sz="1400" b="0" i="0" dirty="0">
                <a:solidFill>
                  <a:schemeClr val="bg1"/>
                </a:solidFill>
                <a:latin typeface="Open Sans"/>
              </a:rPr>
              <a:t>eIDAS 2.0 creates a unified trust layer connecting multiple EU regulatory frameworks — from AML compliance to industrial digitalization and payments.</a:t>
            </a:r>
          </a:p>
        </p:txBody>
      </p:sp>
      <p:sp>
        <p:nvSpPr>
          <p:cNvPr id="2" name="RegTags"/>
          <p:cNvSpPr txBox="1"/>
          <p:nvPr/>
        </p:nvSpPr>
        <p:spPr>
          <a:xfrm>
            <a:off x="180000" y="4350000"/>
            <a:ext cx="4600000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Open Sans"/>
              </a:rPr>
              <a:t>AMLR</a:t>
            </a:r>
            <a:r>
              <a:rPr lang="en-US" sz="1200" b="0" dirty="0">
                <a:solidFill>
                  <a:schemeClr val="bg1"/>
                </a:solidFill>
                <a:latin typeface="Open Sans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Open Sans"/>
              </a:rPr>
              <a:t>: PSR :  Business Wallet</a:t>
            </a:r>
            <a:r>
              <a:rPr lang="en-US" sz="1200" b="0" dirty="0">
                <a:solidFill>
                  <a:schemeClr val="bg1"/>
                </a:solidFill>
                <a:latin typeface="Open Sans"/>
              </a:rPr>
              <a:t> : </a:t>
            </a:r>
            <a:r>
              <a:rPr lang="en-US" sz="1200" b="1" dirty="0">
                <a:solidFill>
                  <a:schemeClr val="bg1"/>
                </a:solidFill>
                <a:latin typeface="Open Sans"/>
              </a:rPr>
              <a:t>Ind. Acceleration Act</a:t>
            </a:r>
            <a:r>
              <a:rPr lang="en-US" sz="1200" b="0" dirty="0">
                <a:solidFill>
                  <a:schemeClr val="bg1"/>
                </a:solidFill>
                <a:latin typeface="Open Sans"/>
              </a:rPr>
              <a:t>  : </a:t>
            </a:r>
            <a:r>
              <a:rPr lang="en-US" sz="1200" b="1" dirty="0">
                <a:solidFill>
                  <a:schemeClr val="bg1"/>
                </a:solidFill>
                <a:latin typeface="Open Sans"/>
              </a:rPr>
              <a:t>Digital Product Pass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AD72C5-102C-232F-9A10-7E494FEEA99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00000" y="0"/>
            <a:ext cx="7092000" cy="68788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A9485CB-FB8F-07F3-E3F2-53109D93B0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5011" y="5047505"/>
            <a:ext cx="1624989" cy="162498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182CFC7-8C3F-BA32-AD1A-C19FBF14518D}"/>
              </a:ext>
            </a:extLst>
          </p:cNvPr>
          <p:cNvGrpSpPr/>
          <p:nvPr/>
        </p:nvGrpSpPr>
        <p:grpSpPr>
          <a:xfrm>
            <a:off x="663519" y="5431314"/>
            <a:ext cx="2007973" cy="883373"/>
            <a:chOff x="772555" y="4621777"/>
            <a:chExt cx="2007973" cy="883373"/>
          </a:xfrm>
        </p:grpSpPr>
        <p:pic>
          <p:nvPicPr>
            <p:cNvPr id="7" name="Picture 6" descr="A close up of a logo&#10;&#10;AI-generated content may be incorrect.">
              <a:extLst>
                <a:ext uri="{FF2B5EF4-FFF2-40B4-BE49-F238E27FC236}">
                  <a16:creationId xmlns:a16="http://schemas.microsoft.com/office/drawing/2014/main" id="{14577DC2-0DAB-A54C-7813-4180339CC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2555" y="4621777"/>
              <a:ext cx="2007973" cy="553924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E08584C-B054-CCF7-94AC-3ED927511C6E}"/>
                </a:ext>
              </a:extLst>
            </p:cNvPr>
            <p:cNvSpPr txBox="1"/>
            <p:nvPr/>
          </p:nvSpPr>
          <p:spPr>
            <a:xfrm>
              <a:off x="1360373" y="5135818"/>
              <a:ext cx="131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Quattrocento Sans"/>
                </a:rPr>
                <a:t>Sandbo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497480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64E595-B7DD-A593-A942-201306A6FC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Conector recto de flecha 31">
            <a:extLst>
              <a:ext uri="{FF2B5EF4-FFF2-40B4-BE49-F238E27FC236}">
                <a16:creationId xmlns:a16="http://schemas.microsoft.com/office/drawing/2014/main" id="{BB391F5A-4BBE-6C0A-287C-869B8FDE61A2}"/>
              </a:ext>
            </a:extLst>
          </p:cNvPr>
          <p:cNvCxnSpPr>
            <a:cxnSpLocks/>
          </p:cNvCxnSpPr>
          <p:nvPr/>
        </p:nvCxnSpPr>
        <p:spPr>
          <a:xfrm flipH="1">
            <a:off x="6095218" y="3233053"/>
            <a:ext cx="5608" cy="1992942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dondear rectángulo de esquina del mismo lado 67">
            <a:extLst>
              <a:ext uri="{FF2B5EF4-FFF2-40B4-BE49-F238E27FC236}">
                <a16:creationId xmlns:a16="http://schemas.microsoft.com/office/drawing/2014/main" id="{BC73F924-ADEC-845D-7394-3CB3445F6369}"/>
              </a:ext>
            </a:extLst>
          </p:cNvPr>
          <p:cNvSpPr/>
          <p:nvPr/>
        </p:nvSpPr>
        <p:spPr>
          <a:xfrm>
            <a:off x="7559700" y="5229924"/>
            <a:ext cx="2133657" cy="788407"/>
          </a:xfrm>
          <a:prstGeom prst="roundRect">
            <a:avLst>
              <a:gd name="adj" fmla="val 8816"/>
            </a:avLst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rt 5f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Mandatory wallet KYC for regulated entities</a:t>
            </a:r>
          </a:p>
        </p:txBody>
      </p:sp>
      <p:sp>
        <p:nvSpPr>
          <p:cNvPr id="56" name="Redondear rectángulo de esquina del mismo lado 67">
            <a:extLst>
              <a:ext uri="{FF2B5EF4-FFF2-40B4-BE49-F238E27FC236}">
                <a16:creationId xmlns:a16="http://schemas.microsoft.com/office/drawing/2014/main" id="{C578EFBB-BED1-6729-4930-0E9426025F1F}"/>
              </a:ext>
            </a:extLst>
          </p:cNvPr>
          <p:cNvSpPr/>
          <p:nvPr/>
        </p:nvSpPr>
        <p:spPr>
          <a:xfrm>
            <a:off x="944049" y="3689989"/>
            <a:ext cx="988337" cy="323777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IDAS</a:t>
            </a: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2</a:t>
            </a:r>
          </a:p>
        </p:txBody>
      </p:sp>
      <p:sp>
        <p:nvSpPr>
          <p:cNvPr id="48" name="Redondear rectángulo de esquina del mismo lado 67">
            <a:extLst>
              <a:ext uri="{FF2B5EF4-FFF2-40B4-BE49-F238E27FC236}">
                <a16:creationId xmlns:a16="http://schemas.microsoft.com/office/drawing/2014/main" id="{D5ABB531-072A-913A-0AA7-F315B304F18C}"/>
              </a:ext>
            </a:extLst>
          </p:cNvPr>
          <p:cNvSpPr/>
          <p:nvPr/>
        </p:nvSpPr>
        <p:spPr>
          <a:xfrm>
            <a:off x="7842540" y="1841323"/>
            <a:ext cx="1269914" cy="556092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PSD3 full applicatio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639CFD6-1300-FB01-DC7C-060CA09EDFE6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>
            <a:normAutofit/>
          </a:bodyPr>
          <a:lstStyle/>
          <a:p>
            <a:r>
              <a:rPr lang="en-US"/>
              <a:t>Four frameworks. One critical year. Your move.</a:t>
            </a:r>
            <a:endParaRPr lang="es-ES" sz="1920"/>
          </a:p>
        </p:txBody>
      </p:sp>
      <p:grpSp>
        <p:nvGrpSpPr>
          <p:cNvPr id="45" name="Grupo 44">
            <a:extLst>
              <a:ext uri="{FF2B5EF4-FFF2-40B4-BE49-F238E27FC236}">
                <a16:creationId xmlns:a16="http://schemas.microsoft.com/office/drawing/2014/main" id="{0732712E-ABC5-FB85-9DC9-8A18A10AB8CD}"/>
              </a:ext>
            </a:extLst>
          </p:cNvPr>
          <p:cNvGrpSpPr/>
          <p:nvPr/>
        </p:nvGrpSpPr>
        <p:grpSpPr>
          <a:xfrm>
            <a:off x="8348209" y="6153948"/>
            <a:ext cx="2184527" cy="350865"/>
            <a:chOff x="4826000" y="1039869"/>
            <a:chExt cx="1820439" cy="292387"/>
          </a:xfrm>
        </p:grpSpPr>
        <p:sp>
          <p:nvSpPr>
            <p:cNvPr id="7" name="Elipse 38">
              <a:extLst>
                <a:ext uri="{FF2B5EF4-FFF2-40B4-BE49-F238E27FC236}">
                  <a16:creationId xmlns:a16="http://schemas.microsoft.com/office/drawing/2014/main" id="{42485EB5-436B-9252-E40C-0A2C7FCAE0CF}"/>
                </a:ext>
              </a:extLst>
            </p:cNvPr>
            <p:cNvSpPr/>
            <p:nvPr/>
          </p:nvSpPr>
          <p:spPr>
            <a:xfrm>
              <a:off x="4826000" y="1079172"/>
              <a:ext cx="198392" cy="198392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ES"/>
              </a:defPPr>
              <a:lvl1pPr marL="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661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1323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6984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26464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8308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969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9631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85292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88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70707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endParaRPr>
            </a:p>
          </p:txBody>
        </p:sp>
        <p:sp>
          <p:nvSpPr>
            <p:cNvPr id="8" name="Elipse 38">
              <a:extLst>
                <a:ext uri="{FF2B5EF4-FFF2-40B4-BE49-F238E27FC236}">
                  <a16:creationId xmlns:a16="http://schemas.microsoft.com/office/drawing/2014/main" id="{97196A42-0FA4-F566-CFC8-2B5D84A23DAA}"/>
                </a:ext>
              </a:extLst>
            </p:cNvPr>
            <p:cNvSpPr/>
            <p:nvPr/>
          </p:nvSpPr>
          <p:spPr>
            <a:xfrm>
              <a:off x="5701713" y="1079172"/>
              <a:ext cx="198392" cy="198392"/>
            </a:xfrm>
            <a:prstGeom prst="ellipse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ES"/>
              </a:defPPr>
              <a:lvl1pPr marL="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661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1323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6984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26464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8308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969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9631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85292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88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707079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endParaRPr>
            </a:p>
          </p:txBody>
        </p:sp>
        <p:sp>
          <p:nvSpPr>
            <p:cNvPr id="9" name="CaixaDeTexto 23">
              <a:extLst>
                <a:ext uri="{FF2B5EF4-FFF2-40B4-BE49-F238E27FC236}">
                  <a16:creationId xmlns:a16="http://schemas.microsoft.com/office/drawing/2014/main" id="{4A3B7687-FA4C-DCC0-082B-C99C1F6296EF}"/>
                </a:ext>
              </a:extLst>
            </p:cNvPr>
            <p:cNvSpPr txBox="1"/>
            <p:nvPr/>
          </p:nvSpPr>
          <p:spPr>
            <a:xfrm>
              <a:off x="5054510" y="1039869"/>
              <a:ext cx="749390" cy="2923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ES"/>
              </a:defPPr>
              <a:lvl1pPr marL="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661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1323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6984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26464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8308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969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9631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85292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665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030351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Past</a:t>
              </a:r>
            </a:p>
          </p:txBody>
        </p:sp>
        <p:sp>
          <p:nvSpPr>
            <p:cNvPr id="10" name="CaixaDeTexto 29">
              <a:extLst>
                <a:ext uri="{FF2B5EF4-FFF2-40B4-BE49-F238E27FC236}">
                  <a16:creationId xmlns:a16="http://schemas.microsoft.com/office/drawing/2014/main" id="{9E7EB93C-B83E-BE2C-80A4-3920C1BB2EFF}"/>
                </a:ext>
              </a:extLst>
            </p:cNvPr>
            <p:cNvSpPr txBox="1"/>
            <p:nvPr/>
          </p:nvSpPr>
          <p:spPr>
            <a:xfrm>
              <a:off x="5930222" y="1039869"/>
              <a:ext cx="716217" cy="2923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ES"/>
              </a:defPPr>
              <a:lvl1pPr marL="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661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1323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6984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26464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83080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39696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96312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852928" algn="l" defTabSz="713232" rtl="0" eaLnBrk="1" latinLnBrk="0" hangingPunct="1">
                <a:defRPr sz="140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665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030351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Future</a:t>
              </a:r>
            </a:p>
          </p:txBody>
        </p:sp>
      </p:grpSp>
      <p:cxnSp>
        <p:nvCxnSpPr>
          <p:cNvPr id="11" name="Conector recto 27">
            <a:extLst>
              <a:ext uri="{FF2B5EF4-FFF2-40B4-BE49-F238E27FC236}">
                <a16:creationId xmlns:a16="http://schemas.microsoft.com/office/drawing/2014/main" id="{55C392B0-650C-ABEF-8B03-06C4F6DDFDA1}"/>
              </a:ext>
            </a:extLst>
          </p:cNvPr>
          <p:cNvCxnSpPr>
            <a:cxnSpLocks/>
          </p:cNvCxnSpPr>
          <p:nvPr/>
        </p:nvCxnSpPr>
        <p:spPr>
          <a:xfrm>
            <a:off x="789918" y="3093061"/>
            <a:ext cx="109728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ipse 35">
            <a:extLst>
              <a:ext uri="{FF2B5EF4-FFF2-40B4-BE49-F238E27FC236}">
                <a16:creationId xmlns:a16="http://schemas.microsoft.com/office/drawing/2014/main" id="{AF2950AF-807C-E430-3817-5771EC3122C0}"/>
              </a:ext>
            </a:extLst>
          </p:cNvPr>
          <p:cNvSpPr/>
          <p:nvPr/>
        </p:nvSpPr>
        <p:spPr>
          <a:xfrm>
            <a:off x="1332583" y="3009524"/>
            <a:ext cx="238070" cy="23807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4" name="Elipse 36">
            <a:extLst>
              <a:ext uri="{FF2B5EF4-FFF2-40B4-BE49-F238E27FC236}">
                <a16:creationId xmlns:a16="http://schemas.microsoft.com/office/drawing/2014/main" id="{4A7590AB-F1C1-B43F-010E-0F29FFB058CF}"/>
              </a:ext>
            </a:extLst>
          </p:cNvPr>
          <p:cNvSpPr/>
          <p:nvPr/>
        </p:nvSpPr>
        <p:spPr>
          <a:xfrm>
            <a:off x="8605281" y="2989422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7" name="CuadroTexto 42">
            <a:extLst>
              <a:ext uri="{FF2B5EF4-FFF2-40B4-BE49-F238E27FC236}">
                <a16:creationId xmlns:a16="http://schemas.microsoft.com/office/drawing/2014/main" id="{15F159DD-F9BB-92E1-D127-0712B4EAED64}"/>
              </a:ext>
            </a:extLst>
          </p:cNvPr>
          <p:cNvSpPr txBox="1"/>
          <p:nvPr/>
        </p:nvSpPr>
        <p:spPr>
          <a:xfrm>
            <a:off x="695618" y="2570638"/>
            <a:ext cx="1512000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Q2 2024 </a:t>
            </a:r>
          </a:p>
        </p:txBody>
      </p:sp>
      <p:cxnSp>
        <p:nvCxnSpPr>
          <p:cNvPr id="25" name="Conector recto de flecha 31">
            <a:extLst>
              <a:ext uri="{FF2B5EF4-FFF2-40B4-BE49-F238E27FC236}">
                <a16:creationId xmlns:a16="http://schemas.microsoft.com/office/drawing/2014/main" id="{20F28D36-A9F8-23E9-5843-DDAC60E0EFBC}"/>
              </a:ext>
            </a:extLst>
          </p:cNvPr>
          <p:cNvCxnSpPr>
            <a:cxnSpLocks/>
            <a:stCxn id="13" idx="4"/>
            <a:endCxn id="56" idx="0"/>
          </p:cNvCxnSpPr>
          <p:nvPr/>
        </p:nvCxnSpPr>
        <p:spPr>
          <a:xfrm flipH="1">
            <a:off x="1438218" y="3247594"/>
            <a:ext cx="13400" cy="442395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ipse 29">
            <a:extLst>
              <a:ext uri="{FF2B5EF4-FFF2-40B4-BE49-F238E27FC236}">
                <a16:creationId xmlns:a16="http://schemas.microsoft.com/office/drawing/2014/main" id="{1EB2D37B-E210-ED4F-44A7-63B2CA5D64D3}"/>
              </a:ext>
            </a:extLst>
          </p:cNvPr>
          <p:cNvSpPr/>
          <p:nvPr/>
        </p:nvSpPr>
        <p:spPr>
          <a:xfrm>
            <a:off x="1748913" y="3006070"/>
            <a:ext cx="238070" cy="23807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30" name="Conector recto de flecha 31">
            <a:extLst>
              <a:ext uri="{FF2B5EF4-FFF2-40B4-BE49-F238E27FC236}">
                <a16:creationId xmlns:a16="http://schemas.microsoft.com/office/drawing/2014/main" id="{7D9BC273-AAB9-B517-3261-8EA5AA4B006F}"/>
              </a:ext>
            </a:extLst>
          </p:cNvPr>
          <p:cNvCxnSpPr>
            <a:cxnSpLocks/>
          </p:cNvCxnSpPr>
          <p:nvPr/>
        </p:nvCxnSpPr>
        <p:spPr>
          <a:xfrm>
            <a:off x="8724316" y="3227492"/>
            <a:ext cx="29791" cy="199399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lipse 36">
            <a:extLst>
              <a:ext uri="{FF2B5EF4-FFF2-40B4-BE49-F238E27FC236}">
                <a16:creationId xmlns:a16="http://schemas.microsoft.com/office/drawing/2014/main" id="{5F74EC50-D541-3960-C749-24AF8BC55509}"/>
              </a:ext>
            </a:extLst>
          </p:cNvPr>
          <p:cNvSpPr/>
          <p:nvPr/>
        </p:nvSpPr>
        <p:spPr>
          <a:xfrm>
            <a:off x="8345224" y="3000545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37" name="Conector recto de flecha 31">
            <a:extLst>
              <a:ext uri="{FF2B5EF4-FFF2-40B4-BE49-F238E27FC236}">
                <a16:creationId xmlns:a16="http://schemas.microsoft.com/office/drawing/2014/main" id="{907C995F-23AD-10E4-C63B-D251CA08684A}"/>
              </a:ext>
            </a:extLst>
          </p:cNvPr>
          <p:cNvCxnSpPr>
            <a:cxnSpLocks/>
            <a:stCxn id="34" idx="0"/>
            <a:endCxn id="48" idx="2"/>
          </p:cNvCxnSpPr>
          <p:nvPr/>
        </p:nvCxnSpPr>
        <p:spPr>
          <a:xfrm flipV="1">
            <a:off x="8464259" y="2397415"/>
            <a:ext cx="13238" cy="603130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1">
            <a:extLst>
              <a:ext uri="{FF2B5EF4-FFF2-40B4-BE49-F238E27FC236}">
                <a16:creationId xmlns:a16="http://schemas.microsoft.com/office/drawing/2014/main" id="{AD6FD571-B535-ACC8-E0C3-41D6FD392AD2}"/>
              </a:ext>
            </a:extLst>
          </p:cNvPr>
          <p:cNvCxnSpPr>
            <a:cxnSpLocks/>
            <a:stCxn id="56" idx="2"/>
          </p:cNvCxnSpPr>
          <p:nvPr/>
        </p:nvCxnSpPr>
        <p:spPr>
          <a:xfrm>
            <a:off x="1438218" y="4013766"/>
            <a:ext cx="0" cy="1676427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de flecha 31">
            <a:extLst>
              <a:ext uri="{FF2B5EF4-FFF2-40B4-BE49-F238E27FC236}">
                <a16:creationId xmlns:a16="http://schemas.microsoft.com/office/drawing/2014/main" id="{57BA5DB5-45E7-8CC5-3019-5365063F9939}"/>
              </a:ext>
            </a:extLst>
          </p:cNvPr>
          <p:cNvCxnSpPr>
            <a:cxnSpLocks/>
          </p:cNvCxnSpPr>
          <p:nvPr/>
        </p:nvCxnSpPr>
        <p:spPr>
          <a:xfrm flipV="1">
            <a:off x="1867948" y="2408297"/>
            <a:ext cx="0" cy="60269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31">
            <a:extLst>
              <a:ext uri="{FF2B5EF4-FFF2-40B4-BE49-F238E27FC236}">
                <a16:creationId xmlns:a16="http://schemas.microsoft.com/office/drawing/2014/main" id="{5DA9E034-BF7F-989E-D3A7-E51C3E44CB20}"/>
              </a:ext>
            </a:extLst>
          </p:cNvPr>
          <p:cNvCxnSpPr>
            <a:cxnSpLocks/>
          </p:cNvCxnSpPr>
          <p:nvPr/>
        </p:nvCxnSpPr>
        <p:spPr>
          <a:xfrm flipV="1">
            <a:off x="1470133" y="5651259"/>
            <a:ext cx="6087611" cy="33372"/>
          </a:xfrm>
          <a:prstGeom prst="straightConnector1">
            <a:avLst/>
          </a:prstGeom>
          <a:ln w="19050">
            <a:solidFill>
              <a:schemeClr val="tx1"/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uadroTexto 42">
            <a:extLst>
              <a:ext uri="{FF2B5EF4-FFF2-40B4-BE49-F238E27FC236}">
                <a16:creationId xmlns:a16="http://schemas.microsoft.com/office/drawing/2014/main" id="{A7A3FA20-F3EE-89F5-72B4-240B45081464}"/>
              </a:ext>
            </a:extLst>
          </p:cNvPr>
          <p:cNvSpPr txBox="1"/>
          <p:nvPr/>
        </p:nvSpPr>
        <p:spPr>
          <a:xfrm>
            <a:off x="2012542" y="5347763"/>
            <a:ext cx="11374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43 months</a:t>
            </a:r>
          </a:p>
        </p:txBody>
      </p:sp>
      <p:sp>
        <p:nvSpPr>
          <p:cNvPr id="27" name="Redondear rectángulo de esquina del mismo lado 67">
            <a:extLst>
              <a:ext uri="{FF2B5EF4-FFF2-40B4-BE49-F238E27FC236}">
                <a16:creationId xmlns:a16="http://schemas.microsoft.com/office/drawing/2014/main" id="{229E3479-82FD-E94A-9157-9D5E821B1C96}"/>
              </a:ext>
            </a:extLst>
          </p:cNvPr>
          <p:cNvSpPr/>
          <p:nvPr/>
        </p:nvSpPr>
        <p:spPr>
          <a:xfrm>
            <a:off x="1438218" y="2061924"/>
            <a:ext cx="859460" cy="323777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MLR</a:t>
            </a:r>
          </a:p>
        </p:txBody>
      </p:sp>
      <p:sp>
        <p:nvSpPr>
          <p:cNvPr id="32" name="Elipse 29">
            <a:extLst>
              <a:ext uri="{FF2B5EF4-FFF2-40B4-BE49-F238E27FC236}">
                <a16:creationId xmlns:a16="http://schemas.microsoft.com/office/drawing/2014/main" id="{866D4F1B-980A-263C-EAAD-0BB67050A79C}"/>
              </a:ext>
            </a:extLst>
          </p:cNvPr>
          <p:cNvSpPr/>
          <p:nvPr/>
        </p:nvSpPr>
        <p:spPr>
          <a:xfrm>
            <a:off x="6527263" y="3005135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36" name="Conector recto de flecha 31">
            <a:extLst>
              <a:ext uri="{FF2B5EF4-FFF2-40B4-BE49-F238E27FC236}">
                <a16:creationId xmlns:a16="http://schemas.microsoft.com/office/drawing/2014/main" id="{AEB02FA8-1A31-7BCA-AB83-3989F6BD9514}"/>
              </a:ext>
            </a:extLst>
          </p:cNvPr>
          <p:cNvCxnSpPr>
            <a:cxnSpLocks/>
          </p:cNvCxnSpPr>
          <p:nvPr/>
        </p:nvCxnSpPr>
        <p:spPr>
          <a:xfrm flipV="1">
            <a:off x="6646298" y="2407362"/>
            <a:ext cx="0" cy="60269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dondear rectángulo de esquina del mismo lado 67">
            <a:extLst>
              <a:ext uri="{FF2B5EF4-FFF2-40B4-BE49-F238E27FC236}">
                <a16:creationId xmlns:a16="http://schemas.microsoft.com/office/drawing/2014/main" id="{B10D32C2-9E09-71D1-0008-C146D3C37E34}"/>
              </a:ext>
            </a:extLst>
          </p:cNvPr>
          <p:cNvSpPr/>
          <p:nvPr/>
        </p:nvSpPr>
        <p:spPr>
          <a:xfrm>
            <a:off x="5994851" y="1805459"/>
            <a:ext cx="1361711" cy="556092"/>
          </a:xfrm>
          <a:prstGeom prst="roundRect">
            <a:avLst>
              <a:gd name="adj" fmla="val 8816"/>
            </a:avLst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MLR Art 22</a:t>
            </a:r>
            <a:r>
              <a:rPr kumimoji="0" lang="en-GB" sz="144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applicable</a:t>
            </a:r>
          </a:p>
        </p:txBody>
      </p:sp>
      <p:sp>
        <p:nvSpPr>
          <p:cNvPr id="46" name="Elipse 29">
            <a:extLst>
              <a:ext uri="{FF2B5EF4-FFF2-40B4-BE49-F238E27FC236}">
                <a16:creationId xmlns:a16="http://schemas.microsoft.com/office/drawing/2014/main" id="{E83B7F93-BCB0-3755-8933-E6FC00403130}"/>
              </a:ext>
            </a:extLst>
          </p:cNvPr>
          <p:cNvSpPr/>
          <p:nvPr/>
        </p:nvSpPr>
        <p:spPr>
          <a:xfrm>
            <a:off x="4990092" y="2972348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47" name="Conector recto de flecha 31">
            <a:extLst>
              <a:ext uri="{FF2B5EF4-FFF2-40B4-BE49-F238E27FC236}">
                <a16:creationId xmlns:a16="http://schemas.microsoft.com/office/drawing/2014/main" id="{F4E7D2C9-EF39-2C06-130C-6C94BE36FCDA}"/>
              </a:ext>
            </a:extLst>
          </p:cNvPr>
          <p:cNvCxnSpPr>
            <a:cxnSpLocks/>
          </p:cNvCxnSpPr>
          <p:nvPr/>
        </p:nvCxnSpPr>
        <p:spPr>
          <a:xfrm flipV="1">
            <a:off x="5106537" y="2379187"/>
            <a:ext cx="0" cy="60269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dondear rectángulo de esquina del mismo lado 67">
            <a:extLst>
              <a:ext uri="{FF2B5EF4-FFF2-40B4-BE49-F238E27FC236}">
                <a16:creationId xmlns:a16="http://schemas.microsoft.com/office/drawing/2014/main" id="{F5D06E34-BB41-1223-77A7-D2E719F7FA47}"/>
              </a:ext>
            </a:extLst>
          </p:cNvPr>
          <p:cNvSpPr/>
          <p:nvPr/>
        </p:nvSpPr>
        <p:spPr>
          <a:xfrm>
            <a:off x="4733439" y="1811113"/>
            <a:ext cx="1175068" cy="556092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MLR</a:t>
            </a:r>
            <a:r>
              <a:rPr kumimoji="0" lang="en-GB" sz="144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CDD RTS</a:t>
            </a:r>
          </a:p>
        </p:txBody>
      </p:sp>
      <p:sp>
        <p:nvSpPr>
          <p:cNvPr id="51" name="CuadroTexto 42">
            <a:extLst>
              <a:ext uri="{FF2B5EF4-FFF2-40B4-BE49-F238E27FC236}">
                <a16:creationId xmlns:a16="http://schemas.microsoft.com/office/drawing/2014/main" id="{33C134F0-F215-F9AD-2C1C-E87CF4BDD02A}"/>
              </a:ext>
            </a:extLst>
          </p:cNvPr>
          <p:cNvSpPr txBox="1"/>
          <p:nvPr/>
        </p:nvSpPr>
        <p:spPr>
          <a:xfrm>
            <a:off x="6136255" y="2528451"/>
            <a:ext cx="967314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7/27 </a:t>
            </a:r>
          </a:p>
        </p:txBody>
      </p:sp>
      <p:sp>
        <p:nvSpPr>
          <p:cNvPr id="54" name="Redondear rectángulo de esquina del mismo lado 67">
            <a:extLst>
              <a:ext uri="{FF2B5EF4-FFF2-40B4-BE49-F238E27FC236}">
                <a16:creationId xmlns:a16="http://schemas.microsoft.com/office/drawing/2014/main" id="{FCE3389A-4120-6B84-74BE-3E27F8A48CA3}"/>
              </a:ext>
            </a:extLst>
          </p:cNvPr>
          <p:cNvSpPr/>
          <p:nvPr/>
        </p:nvSpPr>
        <p:spPr>
          <a:xfrm>
            <a:off x="5041394" y="3699212"/>
            <a:ext cx="1634313" cy="788407"/>
          </a:xfrm>
          <a:prstGeom prst="roundRect">
            <a:avLst>
              <a:gd name="adj" fmla="val 8816"/>
            </a:avLst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Business wallet and </a:t>
            </a:r>
            <a:r>
              <a:rPr kumimoji="0" lang="en-GB" sz="1440" b="0" i="0" u="none" strike="noStrike" kern="1200" cap="none" spc="0" normalizeH="0" baseline="0" noProof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IDAS</a:t>
            </a: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revision</a:t>
            </a:r>
          </a:p>
        </p:txBody>
      </p:sp>
      <p:sp>
        <p:nvSpPr>
          <p:cNvPr id="57" name="Elipse 35">
            <a:extLst>
              <a:ext uri="{FF2B5EF4-FFF2-40B4-BE49-F238E27FC236}">
                <a16:creationId xmlns:a16="http://schemas.microsoft.com/office/drawing/2014/main" id="{7F101E0E-7F10-2AF0-5D16-580353628528}"/>
              </a:ext>
            </a:extLst>
          </p:cNvPr>
          <p:cNvSpPr/>
          <p:nvPr/>
        </p:nvSpPr>
        <p:spPr>
          <a:xfrm>
            <a:off x="5737620" y="3010229"/>
            <a:ext cx="238070" cy="238070"/>
          </a:xfrm>
          <a:prstGeom prst="ellipse">
            <a:avLst/>
          </a:prstGeom>
          <a:pattFill prst="lgCheck">
            <a:fgClr>
              <a:schemeClr val="accent1"/>
            </a:fgClr>
            <a:bgClr>
              <a:schemeClr val="bg1"/>
            </a:bgClr>
          </a:patt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440" b="0" i="0" u="none" strike="noStrike" kern="1200" cap="none" spc="0" normalizeH="0" baseline="0" noProof="0">
              <a:ln>
                <a:noFill/>
              </a:ln>
              <a:solidFill>
                <a:srgbClr val="707079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58" name="Conector recto de flecha 31">
            <a:extLst>
              <a:ext uri="{FF2B5EF4-FFF2-40B4-BE49-F238E27FC236}">
                <a16:creationId xmlns:a16="http://schemas.microsoft.com/office/drawing/2014/main" id="{9D04774A-442C-2E5F-708D-605EABC785A0}"/>
              </a:ext>
            </a:extLst>
          </p:cNvPr>
          <p:cNvCxnSpPr>
            <a:cxnSpLocks/>
            <a:stCxn id="57" idx="4"/>
            <a:endCxn id="54" idx="0"/>
          </p:cNvCxnSpPr>
          <p:nvPr/>
        </p:nvCxnSpPr>
        <p:spPr>
          <a:xfrm>
            <a:off x="5856655" y="3248299"/>
            <a:ext cx="1896" cy="450913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ipse 29">
            <a:extLst>
              <a:ext uri="{FF2B5EF4-FFF2-40B4-BE49-F238E27FC236}">
                <a16:creationId xmlns:a16="http://schemas.microsoft.com/office/drawing/2014/main" id="{5CD6B4C0-9243-52DE-00F4-9DA3681F1FB8}"/>
              </a:ext>
            </a:extLst>
          </p:cNvPr>
          <p:cNvSpPr/>
          <p:nvPr/>
        </p:nvSpPr>
        <p:spPr>
          <a:xfrm>
            <a:off x="4384859" y="3000545"/>
            <a:ext cx="238070" cy="238070"/>
          </a:xfrm>
          <a:prstGeom prst="ellipse">
            <a:avLst/>
          </a:prstGeom>
          <a:pattFill prst="lgCheck">
            <a:fgClr>
              <a:schemeClr val="accent1"/>
            </a:fgClr>
            <a:bgClr>
              <a:schemeClr val="bg1"/>
            </a:bgClr>
          </a:patt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440" b="0" i="0" u="none" strike="noStrike" kern="1200" cap="none" spc="0" normalizeH="0" baseline="0" noProof="0">
              <a:ln>
                <a:noFill/>
              </a:ln>
              <a:solidFill>
                <a:srgbClr val="707079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69" name="Redondear rectángulo de esquina del mismo lado 67">
            <a:extLst>
              <a:ext uri="{FF2B5EF4-FFF2-40B4-BE49-F238E27FC236}">
                <a16:creationId xmlns:a16="http://schemas.microsoft.com/office/drawing/2014/main" id="{CC8288C7-E72F-6015-EC85-DAD002402076}"/>
              </a:ext>
            </a:extLst>
          </p:cNvPr>
          <p:cNvSpPr/>
          <p:nvPr/>
        </p:nvSpPr>
        <p:spPr>
          <a:xfrm>
            <a:off x="3535949" y="1944157"/>
            <a:ext cx="1129215" cy="323777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PSR/PSD3 </a:t>
            </a:r>
          </a:p>
        </p:txBody>
      </p:sp>
      <p:sp>
        <p:nvSpPr>
          <p:cNvPr id="71" name="Elipse 29">
            <a:extLst>
              <a:ext uri="{FF2B5EF4-FFF2-40B4-BE49-F238E27FC236}">
                <a16:creationId xmlns:a16="http://schemas.microsoft.com/office/drawing/2014/main" id="{96005E65-3F1B-D6B4-4CAC-94FDA5885160}"/>
              </a:ext>
            </a:extLst>
          </p:cNvPr>
          <p:cNvSpPr/>
          <p:nvPr/>
        </p:nvSpPr>
        <p:spPr>
          <a:xfrm>
            <a:off x="11051248" y="3002705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72" name="Redondear rectángulo de esquina del mismo lado 67">
            <a:extLst>
              <a:ext uri="{FF2B5EF4-FFF2-40B4-BE49-F238E27FC236}">
                <a16:creationId xmlns:a16="http://schemas.microsoft.com/office/drawing/2014/main" id="{A46FA07E-5903-A94A-C4A3-CEF995D0D20E}"/>
              </a:ext>
            </a:extLst>
          </p:cNvPr>
          <p:cNvSpPr/>
          <p:nvPr/>
        </p:nvSpPr>
        <p:spPr>
          <a:xfrm>
            <a:off x="10582749" y="1828000"/>
            <a:ext cx="1175068" cy="556092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ViDA</a:t>
            </a:r>
            <a:endParaRPr kumimoji="0" lang="en-GB" sz="1440" b="0" i="0" u="none" strike="noStrike" kern="1200" cap="none" spc="0" normalizeH="0" baseline="0" noProof="0">
              <a:ln>
                <a:noFill/>
              </a:ln>
              <a:solidFill>
                <a:srgbClr val="030351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mandatory</a:t>
            </a:r>
          </a:p>
        </p:txBody>
      </p:sp>
      <p:cxnSp>
        <p:nvCxnSpPr>
          <p:cNvPr id="75" name="Conector recto de flecha 31">
            <a:extLst>
              <a:ext uri="{FF2B5EF4-FFF2-40B4-BE49-F238E27FC236}">
                <a16:creationId xmlns:a16="http://schemas.microsoft.com/office/drawing/2014/main" id="{3C079587-3379-42D8-AD4D-F92892B23FBE}"/>
              </a:ext>
            </a:extLst>
          </p:cNvPr>
          <p:cNvCxnSpPr>
            <a:cxnSpLocks/>
          </p:cNvCxnSpPr>
          <p:nvPr/>
        </p:nvCxnSpPr>
        <p:spPr>
          <a:xfrm flipV="1">
            <a:off x="11163774" y="2394110"/>
            <a:ext cx="0" cy="60269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uadroTexto 42">
            <a:extLst>
              <a:ext uri="{FF2B5EF4-FFF2-40B4-BE49-F238E27FC236}">
                <a16:creationId xmlns:a16="http://schemas.microsoft.com/office/drawing/2014/main" id="{4BD97D69-3085-3D94-2C33-4B340ACDF226}"/>
              </a:ext>
            </a:extLst>
          </p:cNvPr>
          <p:cNvSpPr txBox="1"/>
          <p:nvPr/>
        </p:nvSpPr>
        <p:spPr>
          <a:xfrm>
            <a:off x="10803260" y="2565016"/>
            <a:ext cx="676240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30</a:t>
            </a:r>
          </a:p>
        </p:txBody>
      </p:sp>
      <p:cxnSp>
        <p:nvCxnSpPr>
          <p:cNvPr id="77" name="Conector recto de flecha 31">
            <a:extLst>
              <a:ext uri="{FF2B5EF4-FFF2-40B4-BE49-F238E27FC236}">
                <a16:creationId xmlns:a16="http://schemas.microsoft.com/office/drawing/2014/main" id="{F2737A00-AF1E-3832-8261-BFBC0BDC44EA}"/>
              </a:ext>
            </a:extLst>
          </p:cNvPr>
          <p:cNvCxnSpPr>
            <a:cxnSpLocks/>
          </p:cNvCxnSpPr>
          <p:nvPr/>
        </p:nvCxnSpPr>
        <p:spPr>
          <a:xfrm flipV="1">
            <a:off x="4504848" y="2304893"/>
            <a:ext cx="6246" cy="648111"/>
          </a:xfrm>
          <a:prstGeom prst="straightConnector1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0" name="Elipse 29">
            <a:extLst>
              <a:ext uri="{FF2B5EF4-FFF2-40B4-BE49-F238E27FC236}">
                <a16:creationId xmlns:a16="http://schemas.microsoft.com/office/drawing/2014/main" id="{6A19D65D-B68D-52D4-F31F-26091E6F8072}"/>
              </a:ext>
            </a:extLst>
          </p:cNvPr>
          <p:cNvSpPr/>
          <p:nvPr/>
        </p:nvSpPr>
        <p:spPr>
          <a:xfrm>
            <a:off x="9726683" y="3002705"/>
            <a:ext cx="238070" cy="238070"/>
          </a:xfrm>
          <a:prstGeom prst="ellipse">
            <a:avLst/>
          </a:prstGeom>
          <a:pattFill prst="lgCheck">
            <a:fgClr>
              <a:schemeClr val="accent1"/>
            </a:fgClr>
            <a:bgClr>
              <a:schemeClr val="bg1"/>
            </a:bgClr>
          </a:patt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440" b="0" i="0" u="none" strike="noStrike" kern="1200" cap="none" spc="0" normalizeH="0" baseline="0" noProof="0">
              <a:ln>
                <a:noFill/>
              </a:ln>
              <a:solidFill>
                <a:srgbClr val="707079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81" name="Conector recto de flecha 31">
            <a:extLst>
              <a:ext uri="{FF2B5EF4-FFF2-40B4-BE49-F238E27FC236}">
                <a16:creationId xmlns:a16="http://schemas.microsoft.com/office/drawing/2014/main" id="{FD128FF4-634C-DB38-5B94-BE6074B9FDFD}"/>
              </a:ext>
            </a:extLst>
          </p:cNvPr>
          <p:cNvCxnSpPr>
            <a:cxnSpLocks/>
          </p:cNvCxnSpPr>
          <p:nvPr/>
        </p:nvCxnSpPr>
        <p:spPr>
          <a:xfrm flipV="1">
            <a:off x="9845718" y="2404932"/>
            <a:ext cx="0" cy="60269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dondear rectángulo de esquina del mismo lado 67">
            <a:extLst>
              <a:ext uri="{FF2B5EF4-FFF2-40B4-BE49-F238E27FC236}">
                <a16:creationId xmlns:a16="http://schemas.microsoft.com/office/drawing/2014/main" id="{25BED56A-009D-F60B-4DD0-8730EA545DE5}"/>
              </a:ext>
            </a:extLst>
          </p:cNvPr>
          <p:cNvSpPr/>
          <p:nvPr/>
        </p:nvSpPr>
        <p:spPr>
          <a:xfrm>
            <a:off x="9258184" y="1828000"/>
            <a:ext cx="1175068" cy="556092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Digital EURO?</a:t>
            </a:r>
          </a:p>
        </p:txBody>
      </p:sp>
      <p:sp>
        <p:nvSpPr>
          <p:cNvPr id="83" name="CuadroTexto 42">
            <a:extLst>
              <a:ext uri="{FF2B5EF4-FFF2-40B4-BE49-F238E27FC236}">
                <a16:creationId xmlns:a16="http://schemas.microsoft.com/office/drawing/2014/main" id="{F457AAA6-155F-E7D4-E0E9-37DD87CB6B71}"/>
              </a:ext>
            </a:extLst>
          </p:cNvPr>
          <p:cNvSpPr txBox="1"/>
          <p:nvPr/>
        </p:nvSpPr>
        <p:spPr>
          <a:xfrm>
            <a:off x="9406952" y="2551222"/>
            <a:ext cx="967314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9</a:t>
            </a:r>
          </a:p>
        </p:txBody>
      </p:sp>
      <p:sp>
        <p:nvSpPr>
          <p:cNvPr id="28" name="CuadroTexto 42">
            <a:extLst>
              <a:ext uri="{FF2B5EF4-FFF2-40B4-BE49-F238E27FC236}">
                <a16:creationId xmlns:a16="http://schemas.microsoft.com/office/drawing/2014/main" id="{71066B3C-E672-255F-F0E7-32C94E54EEAE}"/>
              </a:ext>
            </a:extLst>
          </p:cNvPr>
          <p:cNvSpPr txBox="1"/>
          <p:nvPr/>
        </p:nvSpPr>
        <p:spPr>
          <a:xfrm>
            <a:off x="8237865" y="3467620"/>
            <a:ext cx="941691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12/2027</a:t>
            </a:r>
          </a:p>
        </p:txBody>
      </p:sp>
      <p:sp>
        <p:nvSpPr>
          <p:cNvPr id="85" name="Redondear rectángulo de esquina del mismo lado 67">
            <a:extLst>
              <a:ext uri="{FF2B5EF4-FFF2-40B4-BE49-F238E27FC236}">
                <a16:creationId xmlns:a16="http://schemas.microsoft.com/office/drawing/2014/main" id="{545C55F6-E269-BDA4-C876-FA20C65745D5}"/>
              </a:ext>
            </a:extLst>
          </p:cNvPr>
          <p:cNvSpPr/>
          <p:nvPr/>
        </p:nvSpPr>
        <p:spPr>
          <a:xfrm>
            <a:off x="1277204" y="6127227"/>
            <a:ext cx="994361" cy="323777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I Act</a:t>
            </a:r>
          </a:p>
        </p:txBody>
      </p:sp>
      <p:sp>
        <p:nvSpPr>
          <p:cNvPr id="86" name="Redondear rectángulo de esquina del mismo lado 67">
            <a:extLst>
              <a:ext uri="{FF2B5EF4-FFF2-40B4-BE49-F238E27FC236}">
                <a16:creationId xmlns:a16="http://schemas.microsoft.com/office/drawing/2014/main" id="{168E9B48-D6CC-9F5F-7256-D8699DF18AE2}"/>
              </a:ext>
            </a:extLst>
          </p:cNvPr>
          <p:cNvSpPr/>
          <p:nvPr/>
        </p:nvSpPr>
        <p:spPr>
          <a:xfrm>
            <a:off x="2406576" y="6127227"/>
            <a:ext cx="994362" cy="323777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DORA</a:t>
            </a:r>
          </a:p>
        </p:txBody>
      </p:sp>
      <p:sp>
        <p:nvSpPr>
          <p:cNvPr id="87" name="Redondear rectángulo de esquina del mismo lado 67">
            <a:extLst>
              <a:ext uri="{FF2B5EF4-FFF2-40B4-BE49-F238E27FC236}">
                <a16:creationId xmlns:a16="http://schemas.microsoft.com/office/drawing/2014/main" id="{6EB93C5C-1085-E327-3C04-A1B4B5546235}"/>
              </a:ext>
            </a:extLst>
          </p:cNvPr>
          <p:cNvSpPr/>
          <p:nvPr/>
        </p:nvSpPr>
        <p:spPr>
          <a:xfrm>
            <a:off x="3535949" y="6127227"/>
            <a:ext cx="994362" cy="323777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NIS2</a:t>
            </a:r>
          </a:p>
        </p:txBody>
      </p:sp>
      <p:sp>
        <p:nvSpPr>
          <p:cNvPr id="88" name="Redondear rectángulo de esquina del mismo lado 67">
            <a:extLst>
              <a:ext uri="{FF2B5EF4-FFF2-40B4-BE49-F238E27FC236}">
                <a16:creationId xmlns:a16="http://schemas.microsoft.com/office/drawing/2014/main" id="{7DF86B97-F7E6-99EE-402B-DFC10239A9CA}"/>
              </a:ext>
            </a:extLst>
          </p:cNvPr>
          <p:cNvSpPr/>
          <p:nvPr/>
        </p:nvSpPr>
        <p:spPr>
          <a:xfrm>
            <a:off x="4619885" y="6121121"/>
            <a:ext cx="994362" cy="323777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CRA</a:t>
            </a:r>
          </a:p>
        </p:txBody>
      </p:sp>
      <p:sp>
        <p:nvSpPr>
          <p:cNvPr id="89" name="Redondear rectángulo de esquina del mismo lado 67">
            <a:extLst>
              <a:ext uri="{FF2B5EF4-FFF2-40B4-BE49-F238E27FC236}">
                <a16:creationId xmlns:a16="http://schemas.microsoft.com/office/drawing/2014/main" id="{535838F8-458A-23E4-ECD1-6A72FF55A53F}"/>
              </a:ext>
            </a:extLst>
          </p:cNvPr>
          <p:cNvSpPr/>
          <p:nvPr/>
        </p:nvSpPr>
        <p:spPr>
          <a:xfrm>
            <a:off x="2064269" y="3426736"/>
            <a:ext cx="1242951" cy="556092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ccessibility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mandatory</a:t>
            </a:r>
          </a:p>
        </p:txBody>
      </p:sp>
      <p:sp>
        <p:nvSpPr>
          <p:cNvPr id="90" name="Elipse 35">
            <a:extLst>
              <a:ext uri="{FF2B5EF4-FFF2-40B4-BE49-F238E27FC236}">
                <a16:creationId xmlns:a16="http://schemas.microsoft.com/office/drawing/2014/main" id="{F4C13F67-90E1-9042-0CC0-71EC04C14BF2}"/>
              </a:ext>
            </a:extLst>
          </p:cNvPr>
          <p:cNvSpPr/>
          <p:nvPr/>
        </p:nvSpPr>
        <p:spPr>
          <a:xfrm>
            <a:off x="2572108" y="2972745"/>
            <a:ext cx="238070" cy="23807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91" name="CuadroTexto 42">
            <a:extLst>
              <a:ext uri="{FF2B5EF4-FFF2-40B4-BE49-F238E27FC236}">
                <a16:creationId xmlns:a16="http://schemas.microsoft.com/office/drawing/2014/main" id="{94C532BB-3AC5-8354-7CAE-D7823DA2CA61}"/>
              </a:ext>
            </a:extLst>
          </p:cNvPr>
          <p:cNvSpPr txBox="1"/>
          <p:nvPr/>
        </p:nvSpPr>
        <p:spPr>
          <a:xfrm>
            <a:off x="1948962" y="2596240"/>
            <a:ext cx="1512000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Q2 2025 </a:t>
            </a:r>
          </a:p>
        </p:txBody>
      </p:sp>
      <p:cxnSp>
        <p:nvCxnSpPr>
          <p:cNvPr id="92" name="Conector recto de flecha 31">
            <a:extLst>
              <a:ext uri="{FF2B5EF4-FFF2-40B4-BE49-F238E27FC236}">
                <a16:creationId xmlns:a16="http://schemas.microsoft.com/office/drawing/2014/main" id="{309A6C84-B16F-D0DA-EC52-0B37845ECD04}"/>
              </a:ext>
            </a:extLst>
          </p:cNvPr>
          <p:cNvCxnSpPr>
            <a:cxnSpLocks/>
            <a:stCxn id="90" idx="4"/>
            <a:endCxn id="89" idx="0"/>
          </p:cNvCxnSpPr>
          <p:nvPr/>
        </p:nvCxnSpPr>
        <p:spPr>
          <a:xfrm flipH="1">
            <a:off x="2685745" y="3210815"/>
            <a:ext cx="5398" cy="215921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715B17E4-9B76-F934-62EF-ECC73422A78B}"/>
              </a:ext>
            </a:extLst>
          </p:cNvPr>
          <p:cNvSpPr txBox="1"/>
          <p:nvPr/>
        </p:nvSpPr>
        <p:spPr>
          <a:xfrm>
            <a:off x="426554" y="6088054"/>
            <a:ext cx="10212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Cross:</a:t>
            </a:r>
          </a:p>
        </p:txBody>
      </p:sp>
      <p:sp>
        <p:nvSpPr>
          <p:cNvPr id="96" name="Redondear rectángulo de esquina del mismo lado 67">
            <a:extLst>
              <a:ext uri="{FF2B5EF4-FFF2-40B4-BE49-F238E27FC236}">
                <a16:creationId xmlns:a16="http://schemas.microsoft.com/office/drawing/2014/main" id="{2BC2C7FD-229E-115A-1362-373A09100929}"/>
              </a:ext>
            </a:extLst>
          </p:cNvPr>
          <p:cNvSpPr/>
          <p:nvPr/>
        </p:nvSpPr>
        <p:spPr>
          <a:xfrm>
            <a:off x="3150041" y="4204536"/>
            <a:ext cx="1593039" cy="556092"/>
          </a:xfrm>
          <a:prstGeom prst="roundRect">
            <a:avLst>
              <a:gd name="adj" fmla="val 881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rt 24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 dirty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LoA</a:t>
            </a:r>
            <a:r>
              <a:rPr kumimoji="0" lang="en-GB" sz="144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</a:t>
            </a:r>
            <a:r>
              <a:rPr kumimoji="0" lang="en-GB" sz="1440" b="0" i="0" u="none" strike="sng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Sub</a:t>
            </a:r>
            <a:r>
              <a:rPr kumimoji="0" lang="en-GB" sz="144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impact</a:t>
            </a:r>
          </a:p>
        </p:txBody>
      </p:sp>
      <p:sp>
        <p:nvSpPr>
          <p:cNvPr id="97" name="Elipse 35">
            <a:extLst>
              <a:ext uri="{FF2B5EF4-FFF2-40B4-BE49-F238E27FC236}">
                <a16:creationId xmlns:a16="http://schemas.microsoft.com/office/drawing/2014/main" id="{4C51131A-3790-39C1-21B8-9A45F24ACCD2}"/>
              </a:ext>
            </a:extLst>
          </p:cNvPr>
          <p:cNvSpPr/>
          <p:nvPr/>
        </p:nvSpPr>
        <p:spPr>
          <a:xfrm>
            <a:off x="3827526" y="2989963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98" name="Conector recto de flecha 31">
            <a:extLst>
              <a:ext uri="{FF2B5EF4-FFF2-40B4-BE49-F238E27FC236}">
                <a16:creationId xmlns:a16="http://schemas.microsoft.com/office/drawing/2014/main" id="{08F261D3-314E-DF13-BEC4-84FD38A959C8}"/>
              </a:ext>
            </a:extLst>
          </p:cNvPr>
          <p:cNvCxnSpPr>
            <a:cxnSpLocks/>
            <a:stCxn id="97" idx="4"/>
            <a:endCxn id="96" idx="0"/>
          </p:cNvCxnSpPr>
          <p:nvPr/>
        </p:nvCxnSpPr>
        <p:spPr>
          <a:xfrm>
            <a:off x="3946561" y="3228033"/>
            <a:ext cx="0" cy="976503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dondear rectángulo de esquina del mismo lado 67">
            <a:extLst>
              <a:ext uri="{FF2B5EF4-FFF2-40B4-BE49-F238E27FC236}">
                <a16:creationId xmlns:a16="http://schemas.microsoft.com/office/drawing/2014/main" id="{3D01D864-2363-8798-B8A1-EBE30FB1F4CF}"/>
              </a:ext>
            </a:extLst>
          </p:cNvPr>
          <p:cNvSpPr/>
          <p:nvPr/>
        </p:nvSpPr>
        <p:spPr>
          <a:xfrm>
            <a:off x="6754394" y="4177824"/>
            <a:ext cx="1397139" cy="994909"/>
          </a:xfrm>
          <a:prstGeom prst="roundRect">
            <a:avLst>
              <a:gd name="adj" fmla="val 8816"/>
            </a:avLst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rt 24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New KYC for QES with ETSI v2.1.1</a:t>
            </a:r>
          </a:p>
        </p:txBody>
      </p:sp>
      <p:sp>
        <p:nvSpPr>
          <p:cNvPr id="101" name="Elipse 35">
            <a:extLst>
              <a:ext uri="{FF2B5EF4-FFF2-40B4-BE49-F238E27FC236}">
                <a16:creationId xmlns:a16="http://schemas.microsoft.com/office/drawing/2014/main" id="{3D49D550-3467-2A98-5873-73603ADD8B31}"/>
              </a:ext>
            </a:extLst>
          </p:cNvPr>
          <p:cNvSpPr/>
          <p:nvPr/>
        </p:nvSpPr>
        <p:spPr>
          <a:xfrm>
            <a:off x="6860594" y="3000545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cxnSp>
        <p:nvCxnSpPr>
          <p:cNvPr id="102" name="Conector recto de flecha 31">
            <a:extLst>
              <a:ext uri="{FF2B5EF4-FFF2-40B4-BE49-F238E27FC236}">
                <a16:creationId xmlns:a16="http://schemas.microsoft.com/office/drawing/2014/main" id="{558B30FE-A6D5-823C-6425-50896FC31208}"/>
              </a:ext>
            </a:extLst>
          </p:cNvPr>
          <p:cNvCxnSpPr>
            <a:cxnSpLocks/>
            <a:stCxn id="101" idx="4"/>
          </p:cNvCxnSpPr>
          <p:nvPr/>
        </p:nvCxnSpPr>
        <p:spPr>
          <a:xfrm>
            <a:off x="6979629" y="3238615"/>
            <a:ext cx="0" cy="939209"/>
          </a:xfrm>
          <a:prstGeom prst="straightConnector1">
            <a:avLst/>
          </a:prstGeom>
          <a:ln w="31750"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uadroTexto 42">
            <a:extLst>
              <a:ext uri="{FF2B5EF4-FFF2-40B4-BE49-F238E27FC236}">
                <a16:creationId xmlns:a16="http://schemas.microsoft.com/office/drawing/2014/main" id="{C1B75F08-5F5E-8A97-0120-02F7E19D5318}"/>
              </a:ext>
            </a:extLst>
          </p:cNvPr>
          <p:cNvSpPr txBox="1"/>
          <p:nvPr/>
        </p:nvSpPr>
        <p:spPr>
          <a:xfrm>
            <a:off x="3494420" y="3704782"/>
            <a:ext cx="931382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5/26</a:t>
            </a:r>
          </a:p>
        </p:txBody>
      </p:sp>
      <p:sp>
        <p:nvSpPr>
          <p:cNvPr id="107" name="CuadroTexto 42">
            <a:extLst>
              <a:ext uri="{FF2B5EF4-FFF2-40B4-BE49-F238E27FC236}">
                <a16:creationId xmlns:a16="http://schemas.microsoft.com/office/drawing/2014/main" id="{70D68964-19B0-B12C-BE75-6E4DDBC78B5D}"/>
              </a:ext>
            </a:extLst>
          </p:cNvPr>
          <p:cNvSpPr txBox="1"/>
          <p:nvPr/>
        </p:nvSpPr>
        <p:spPr>
          <a:xfrm>
            <a:off x="6538608" y="3352478"/>
            <a:ext cx="931382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8/27</a:t>
            </a:r>
          </a:p>
        </p:txBody>
      </p:sp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0FCB1502-F3B5-A181-2236-303F03C12959}"/>
              </a:ext>
            </a:extLst>
          </p:cNvPr>
          <p:cNvSpPr/>
          <p:nvPr/>
        </p:nvSpPr>
        <p:spPr>
          <a:xfrm rot="16200000">
            <a:off x="-718817" y="4272434"/>
            <a:ext cx="2569840" cy="411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IDAS</a:t>
            </a:r>
          </a:p>
        </p:txBody>
      </p:sp>
      <p:sp>
        <p:nvSpPr>
          <p:cNvPr id="111" name="Rounded Rectangle 110">
            <a:extLst>
              <a:ext uri="{FF2B5EF4-FFF2-40B4-BE49-F238E27FC236}">
                <a16:creationId xmlns:a16="http://schemas.microsoft.com/office/drawing/2014/main" id="{91C91EB3-7A4A-2023-8712-530398827DA1}"/>
              </a:ext>
            </a:extLst>
          </p:cNvPr>
          <p:cNvSpPr/>
          <p:nvPr/>
        </p:nvSpPr>
        <p:spPr>
          <a:xfrm rot="16200000">
            <a:off x="-295115" y="1914210"/>
            <a:ext cx="1704505" cy="447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Financial Regulations</a:t>
            </a:r>
          </a:p>
        </p:txBody>
      </p:sp>
      <p:sp>
        <p:nvSpPr>
          <p:cNvPr id="112" name="Redondear rectángulo de esquina del mismo lado 67">
            <a:extLst>
              <a:ext uri="{FF2B5EF4-FFF2-40B4-BE49-F238E27FC236}">
                <a16:creationId xmlns:a16="http://schemas.microsoft.com/office/drawing/2014/main" id="{A92DD362-0231-CB72-49F0-D27AED661FA6}"/>
              </a:ext>
            </a:extLst>
          </p:cNvPr>
          <p:cNvSpPr/>
          <p:nvPr/>
        </p:nvSpPr>
        <p:spPr>
          <a:xfrm>
            <a:off x="5725128" y="6120451"/>
            <a:ext cx="994361" cy="323777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GDPR 2.0</a:t>
            </a:r>
          </a:p>
        </p:txBody>
      </p:sp>
      <p:sp>
        <p:nvSpPr>
          <p:cNvPr id="113" name="CuadroTexto 42">
            <a:extLst>
              <a:ext uri="{FF2B5EF4-FFF2-40B4-BE49-F238E27FC236}">
                <a16:creationId xmlns:a16="http://schemas.microsoft.com/office/drawing/2014/main" id="{21117E5D-FF57-28C3-DBBC-DAE0549BE2D8}"/>
              </a:ext>
            </a:extLst>
          </p:cNvPr>
          <p:cNvSpPr txBox="1"/>
          <p:nvPr/>
        </p:nvSpPr>
        <p:spPr>
          <a:xfrm>
            <a:off x="7969345" y="2560973"/>
            <a:ext cx="931382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Q4 2027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56D03917-96D2-3BB9-33F1-8540C8379D28}"/>
              </a:ext>
            </a:extLst>
          </p:cNvPr>
          <p:cNvSpPr/>
          <p:nvPr/>
        </p:nvSpPr>
        <p:spPr>
          <a:xfrm>
            <a:off x="862943" y="1276613"/>
            <a:ext cx="2513253" cy="28474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4/2025</a:t>
            </a: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id="{CFB3E6B2-78CA-E708-2F00-B83A7E9F9A18}"/>
              </a:ext>
            </a:extLst>
          </p:cNvPr>
          <p:cNvSpPr/>
          <p:nvPr/>
        </p:nvSpPr>
        <p:spPr>
          <a:xfrm>
            <a:off x="3412685" y="1269110"/>
            <a:ext cx="5296325" cy="29115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6/2027</a:t>
            </a:r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C007D7E0-14FE-CCA9-BB78-3A9F76D74AF0}"/>
              </a:ext>
            </a:extLst>
          </p:cNvPr>
          <p:cNvSpPr/>
          <p:nvPr/>
        </p:nvSpPr>
        <p:spPr>
          <a:xfrm>
            <a:off x="8754107" y="1275742"/>
            <a:ext cx="3209876" cy="27193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8/2030</a:t>
            </a: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B33EAB23-E76F-C8D2-A3FB-019E7069C227}"/>
              </a:ext>
            </a:extLst>
          </p:cNvPr>
          <p:cNvCxnSpPr>
            <a:cxnSpLocks/>
          </p:cNvCxnSpPr>
          <p:nvPr/>
        </p:nvCxnSpPr>
        <p:spPr>
          <a:xfrm>
            <a:off x="3782316" y="1482903"/>
            <a:ext cx="0" cy="4323034"/>
          </a:xfrm>
          <a:prstGeom prst="line">
            <a:avLst/>
          </a:prstGeom>
          <a:ln w="19050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262F2807-C5E6-2FCF-7E8B-CE8F17A2C0F9}"/>
              </a:ext>
            </a:extLst>
          </p:cNvPr>
          <p:cNvSpPr txBox="1"/>
          <p:nvPr/>
        </p:nvSpPr>
        <p:spPr>
          <a:xfrm>
            <a:off x="3456743" y="5791586"/>
            <a:ext cx="8569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today</a:t>
            </a:r>
          </a:p>
        </p:txBody>
      </p:sp>
      <p:sp>
        <p:nvSpPr>
          <p:cNvPr id="4" name="Elipse 38">
            <a:extLst>
              <a:ext uri="{FF2B5EF4-FFF2-40B4-BE49-F238E27FC236}">
                <a16:creationId xmlns:a16="http://schemas.microsoft.com/office/drawing/2014/main" id="{9A4D9BE5-E58A-A23C-14D8-DEFF00EC6E4A}"/>
              </a:ext>
            </a:extLst>
          </p:cNvPr>
          <p:cNvSpPr/>
          <p:nvPr/>
        </p:nvSpPr>
        <p:spPr>
          <a:xfrm>
            <a:off x="10564701" y="6215842"/>
            <a:ext cx="238070" cy="238071"/>
          </a:xfrm>
          <a:prstGeom prst="ellipse">
            <a:avLst/>
          </a:prstGeom>
          <a:pattFill prst="lgCheck">
            <a:fgClr>
              <a:schemeClr val="accent1"/>
            </a:fgClr>
            <a:bgClr>
              <a:schemeClr val="bg1"/>
            </a:bgClr>
          </a:patt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40" b="0" i="0" u="none" strike="noStrike" kern="1200" cap="none" spc="0" normalizeH="0" baseline="0" noProof="0">
              <a:ln>
                <a:noFill/>
              </a:ln>
              <a:solidFill>
                <a:srgbClr val="707079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6" name="CaixaDeTexto 29">
            <a:extLst>
              <a:ext uri="{FF2B5EF4-FFF2-40B4-BE49-F238E27FC236}">
                <a16:creationId xmlns:a16="http://schemas.microsoft.com/office/drawing/2014/main" id="{AA4C1414-A16F-26F2-5451-46784393EBBB}"/>
              </a:ext>
            </a:extLst>
          </p:cNvPr>
          <p:cNvSpPr txBox="1"/>
          <p:nvPr/>
        </p:nvSpPr>
        <p:spPr>
          <a:xfrm>
            <a:off x="10838912" y="6168678"/>
            <a:ext cx="1175068" cy="3508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66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8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xpected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A259E9BD-E272-6238-088C-0F07F83C5847}"/>
              </a:ext>
            </a:extLst>
          </p:cNvPr>
          <p:cNvSpPr txBox="1">
            <a:spLocks/>
          </p:cNvSpPr>
          <p:nvPr/>
        </p:nvSpPr>
        <p:spPr>
          <a:xfrm>
            <a:off x="468000" y="360000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 "/>
                <a:ea typeface="Open Sans SemiBold"/>
                <a:cs typeface="Open Sans SemiBold"/>
                <a:sym typeface="Open Sans SemiBold"/>
              </a:rPr>
              <a:t>2027: All Roads Converge Here</a:t>
            </a:r>
          </a:p>
        </p:txBody>
      </p:sp>
      <p:sp>
        <p:nvSpPr>
          <p:cNvPr id="20" name="CuadroTexto 42">
            <a:extLst>
              <a:ext uri="{FF2B5EF4-FFF2-40B4-BE49-F238E27FC236}">
                <a16:creationId xmlns:a16="http://schemas.microsoft.com/office/drawing/2014/main" id="{F51EB814-646F-CD86-7B4D-1E12CD4184F4}"/>
              </a:ext>
            </a:extLst>
          </p:cNvPr>
          <p:cNvSpPr txBox="1"/>
          <p:nvPr/>
        </p:nvSpPr>
        <p:spPr>
          <a:xfrm>
            <a:off x="4684931" y="2589012"/>
            <a:ext cx="967314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6/26 </a:t>
            </a:r>
          </a:p>
        </p:txBody>
      </p:sp>
      <p:sp>
        <p:nvSpPr>
          <p:cNvPr id="5" name="Redondear rectángulo de esquina del mismo lado 67">
            <a:extLst>
              <a:ext uri="{FF2B5EF4-FFF2-40B4-BE49-F238E27FC236}">
                <a16:creationId xmlns:a16="http://schemas.microsoft.com/office/drawing/2014/main" id="{AA01EEFF-760C-EA41-D7A6-EB9CE2CA1B62}"/>
              </a:ext>
            </a:extLst>
          </p:cNvPr>
          <p:cNvSpPr/>
          <p:nvPr/>
        </p:nvSpPr>
        <p:spPr>
          <a:xfrm>
            <a:off x="4833000" y="5221491"/>
            <a:ext cx="2272708" cy="769047"/>
          </a:xfrm>
          <a:prstGeom prst="roundRect">
            <a:avLst>
              <a:gd name="adj" fmla="val 8816"/>
            </a:avLst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Member States need to notify Bruxelles at least one EUDIW</a:t>
            </a:r>
          </a:p>
        </p:txBody>
      </p:sp>
      <p:sp>
        <p:nvSpPr>
          <p:cNvPr id="12" name="Elipse 35">
            <a:extLst>
              <a:ext uri="{FF2B5EF4-FFF2-40B4-BE49-F238E27FC236}">
                <a16:creationId xmlns:a16="http://schemas.microsoft.com/office/drawing/2014/main" id="{6F09C695-7A2F-18B4-21DB-C4A279240D33}"/>
              </a:ext>
            </a:extLst>
          </p:cNvPr>
          <p:cNvSpPr/>
          <p:nvPr/>
        </p:nvSpPr>
        <p:spPr>
          <a:xfrm>
            <a:off x="5970667" y="2994983"/>
            <a:ext cx="238070" cy="23807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50" b="0" i="0" u="none" strike="noStrike" kern="1200" cap="none" spc="0" normalizeH="0" baseline="0" noProof="0">
              <a:ln>
                <a:noFill/>
              </a:ln>
              <a:solidFill>
                <a:srgbClr val="FAFAFF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</p:txBody>
      </p:sp>
      <p:sp>
        <p:nvSpPr>
          <p:cNvPr id="18" name="CuadroTexto 42">
            <a:extLst>
              <a:ext uri="{FF2B5EF4-FFF2-40B4-BE49-F238E27FC236}">
                <a16:creationId xmlns:a16="http://schemas.microsoft.com/office/drawing/2014/main" id="{CC0E5AC7-75CA-A5EE-CC1E-C7D1E033BB49}"/>
              </a:ext>
            </a:extLst>
          </p:cNvPr>
          <p:cNvSpPr txBox="1"/>
          <p:nvPr/>
        </p:nvSpPr>
        <p:spPr>
          <a:xfrm>
            <a:off x="5513676" y="3250895"/>
            <a:ext cx="995124" cy="305194"/>
          </a:xfrm>
          <a:prstGeom prst="rect">
            <a:avLst/>
          </a:prstGeom>
          <a:solidFill>
            <a:schemeClr val="accent5"/>
          </a:solidFill>
        </p:spPr>
        <p:txBody>
          <a:bodyPr wrap="square" lIns="88879" tIns="44441" rIns="88879" bIns="44441" rtlCol="0" anchor="t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12/26 </a:t>
            </a:r>
          </a:p>
        </p:txBody>
      </p:sp>
    </p:spTree>
    <p:extLst>
      <p:ext uri="{BB962C8B-B14F-4D97-AF65-F5344CB8AC3E}">
        <p14:creationId xmlns:p14="http://schemas.microsoft.com/office/powerpoint/2010/main" val="19812803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A630E0ED-C3F6-FB04-A444-7A0F5D91FD16}"/>
              </a:ext>
            </a:extLst>
          </p:cNvPr>
          <p:cNvGrpSpPr/>
          <p:nvPr/>
        </p:nvGrpSpPr>
        <p:grpSpPr>
          <a:xfrm>
            <a:off x="1274301" y="954938"/>
            <a:ext cx="1986133" cy="2713217"/>
            <a:chOff x="756575" y="1548596"/>
            <a:chExt cx="2186333" cy="352402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6204ADD-C8CF-43C5-B9FB-D4A21B1243DE}"/>
                </a:ext>
              </a:extLst>
            </p:cNvPr>
            <p:cNvSpPr txBox="1"/>
            <p:nvPr/>
          </p:nvSpPr>
          <p:spPr>
            <a:xfrm>
              <a:off x="756575" y="2150411"/>
              <a:ext cx="2186333" cy="2922212"/>
            </a:xfrm>
            <a:prstGeom prst="roundRect">
              <a:avLst>
                <a:gd name="adj" fmla="val 6697"/>
              </a:avLst>
            </a:prstGeom>
            <a:solidFill>
              <a:srgbClr val="00645E">
                <a:alpha val="5002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108000" tIns="0" rIns="108000" bIns="0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100" b="1" i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 panose="020B060603050402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Onboarding &amp; login</a:t>
              </a:r>
              <a:b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</a:b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 panose="020B060603050402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(</a:t>
              </a: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Wallet gateway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)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6D64904-537C-4A85-6FB6-D890A2E2D96E}"/>
                </a:ext>
              </a:extLst>
            </p:cNvPr>
            <p:cNvSpPr/>
            <p:nvPr/>
          </p:nvSpPr>
          <p:spPr>
            <a:xfrm>
              <a:off x="769789" y="1548596"/>
              <a:ext cx="678302" cy="914400"/>
            </a:xfrm>
            <a:prstGeom prst="ellipse">
              <a:avLst/>
            </a:prstGeom>
            <a:solidFill>
              <a:srgbClr val="111820">
                <a:lumMod val="10000"/>
                <a:lumOff val="9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1</a:t>
              </a: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 panose="020B0606030504020204" pitchFamily="34" charset="0"/>
                <a:sym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C9D10FF-53DD-CB84-D5D2-8AA7F1167D94}"/>
              </a:ext>
            </a:extLst>
          </p:cNvPr>
          <p:cNvGrpSpPr/>
          <p:nvPr/>
        </p:nvGrpSpPr>
        <p:grpSpPr>
          <a:xfrm>
            <a:off x="3343554" y="954938"/>
            <a:ext cx="2113578" cy="2710677"/>
            <a:chOff x="2955519" y="1535110"/>
            <a:chExt cx="2326625" cy="352072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6843A3B-BEC5-E1EB-5F5A-1089ECBE5E99}"/>
                </a:ext>
              </a:extLst>
            </p:cNvPr>
            <p:cNvSpPr txBox="1"/>
            <p:nvPr/>
          </p:nvSpPr>
          <p:spPr>
            <a:xfrm>
              <a:off x="3029811" y="2150411"/>
              <a:ext cx="2252333" cy="2905428"/>
            </a:xfrm>
            <a:prstGeom prst="roundRect">
              <a:avLst>
                <a:gd name="adj" fmla="val 6697"/>
              </a:avLst>
            </a:prstGeom>
            <a:solidFill>
              <a:srgbClr val="00645E">
                <a:lumMod val="75000"/>
                <a:lumOff val="25000"/>
                <a:alpha val="4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108000" tIns="0" rIns="108000" bIns="0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100" b="1" i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Wallet provid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2000" b="1" i="1" u="none" strike="noStrike" kern="0" cap="none" spc="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(Wallet application)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 panose="020B0606030504020204" pitchFamily="34" charset="0"/>
                <a:sym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327B5EB-E193-D9D0-0C0E-7A919F697F96}"/>
                </a:ext>
              </a:extLst>
            </p:cNvPr>
            <p:cNvSpPr/>
            <p:nvPr/>
          </p:nvSpPr>
          <p:spPr>
            <a:xfrm>
              <a:off x="2955519" y="1535110"/>
              <a:ext cx="678303" cy="914400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2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D5C49BC-9F44-2DFD-15F6-4A12360D0290}"/>
              </a:ext>
            </a:extLst>
          </p:cNvPr>
          <p:cNvGrpSpPr/>
          <p:nvPr/>
        </p:nvGrpSpPr>
        <p:grpSpPr>
          <a:xfrm>
            <a:off x="5579790" y="949768"/>
            <a:ext cx="2021892" cy="2721846"/>
            <a:chOff x="5317683" y="1520604"/>
            <a:chExt cx="2225697" cy="353523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39A7E35-C00C-C662-AE61-0756921895D3}"/>
                </a:ext>
              </a:extLst>
            </p:cNvPr>
            <p:cNvSpPr txBox="1"/>
            <p:nvPr/>
          </p:nvSpPr>
          <p:spPr>
            <a:xfrm>
              <a:off x="5369047" y="2150411"/>
              <a:ext cx="2174333" cy="2905428"/>
            </a:xfrm>
            <a:prstGeom prst="roundRect">
              <a:avLst>
                <a:gd name="adj" fmla="val 6697"/>
              </a:avLst>
            </a:prstGeom>
            <a:solidFill>
              <a:srgbClr val="33B8B1">
                <a:lumMod val="75000"/>
                <a:alpha val="83912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108000" tIns="0" rIns="108000" bIns="0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100" b="1" i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000" b="0" i="1" u="none" strike="noStrike" kern="0" cap="none" spc="-3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Attribute Issu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2000" b="0" i="1" u="none" strike="noStrike" kern="0" cap="none" spc="-3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2000" b="0" i="1" u="none" strike="noStrike" kern="0" cap="none" spc="-3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000" b="1" i="1" u="none" strike="noStrike" kern="0" cap="none" spc="-3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(Q)EAA infrastructure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Open Sans" panose="020B0606030504020204" pitchFamily="34" charset="0"/>
                <a:sym typeface="Arial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A945033-9D17-BB78-C4D1-BFCA5EE22746}"/>
                </a:ext>
              </a:extLst>
            </p:cNvPr>
            <p:cNvSpPr/>
            <p:nvPr/>
          </p:nvSpPr>
          <p:spPr>
            <a:xfrm>
              <a:off x="5317683" y="1520604"/>
              <a:ext cx="678301" cy="914400"/>
            </a:xfrm>
            <a:prstGeom prst="ellipse">
              <a:avLst/>
            </a:prstGeom>
            <a:solidFill>
              <a:srgbClr val="CCEDEB"/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AC5B989-A12D-F32A-87B4-9E72342430A3}"/>
              </a:ext>
            </a:extLst>
          </p:cNvPr>
          <p:cNvGrpSpPr/>
          <p:nvPr/>
        </p:nvGrpSpPr>
        <p:grpSpPr>
          <a:xfrm>
            <a:off x="7648343" y="954011"/>
            <a:ext cx="2224929" cy="2699106"/>
            <a:chOff x="7546628" y="1529137"/>
            <a:chExt cx="2449200" cy="350570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2DCEF9-3E1D-F50F-DCA8-CA74E76F0C12}"/>
                </a:ext>
              </a:extLst>
            </p:cNvPr>
            <p:cNvSpPr txBox="1"/>
            <p:nvPr/>
          </p:nvSpPr>
          <p:spPr>
            <a:xfrm>
              <a:off x="7630283" y="2150410"/>
              <a:ext cx="2365545" cy="2884427"/>
            </a:xfrm>
            <a:prstGeom prst="roundRect">
              <a:avLst>
                <a:gd name="adj" fmla="val 6697"/>
              </a:avLst>
            </a:prstGeom>
            <a:solidFill>
              <a:srgbClr val="33B8B1">
                <a:lumMod val="20000"/>
                <a:lumOff val="80000"/>
                <a:alpha val="85000"/>
              </a:srgbClr>
            </a:solidFill>
            <a:ln w="12700" cap="flat" cmpd="sng" algn="ctr">
              <a:solidFill>
                <a:srgbClr val="00A69D"/>
              </a:solidFill>
              <a:prstDash val="solid"/>
            </a:ln>
            <a:effectLst/>
          </p:spPr>
          <p:txBody>
            <a:bodyPr lIns="108000" tIns="0" rIns="108000" bIns="0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100" b="1" i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QES integration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br>
                <a:rPr kumimoji="0" lang="en-US" sz="2000" b="0" i="0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</a:br>
              <a:r>
                <a:rPr kumimoji="0" lang="en-US" sz="2000" b="1" i="1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(QES issued thru wallet authentication)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4D47AAA-A84E-3CD8-7ABB-DA8F8218B8E9}"/>
                </a:ext>
              </a:extLst>
            </p:cNvPr>
            <p:cNvSpPr/>
            <p:nvPr/>
          </p:nvSpPr>
          <p:spPr>
            <a:xfrm>
              <a:off x="7546628" y="1529137"/>
              <a:ext cx="728834" cy="914400"/>
            </a:xfrm>
            <a:prstGeom prst="ellipse">
              <a:avLst/>
            </a:prstGeom>
            <a:solidFill>
              <a:srgbClr val="CCEDEB">
                <a:lumMod val="9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3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4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BD971E4-4D8C-CBC2-F37C-9B1754A2A007}"/>
              </a:ext>
            </a:extLst>
          </p:cNvPr>
          <p:cNvGrpSpPr/>
          <p:nvPr/>
        </p:nvGrpSpPr>
        <p:grpSpPr>
          <a:xfrm rot="16200000">
            <a:off x="-411722" y="2125463"/>
            <a:ext cx="2007973" cy="883373"/>
            <a:chOff x="772555" y="4621777"/>
            <a:chExt cx="2007973" cy="883373"/>
          </a:xfrm>
        </p:grpSpPr>
        <p:pic>
          <p:nvPicPr>
            <p:cNvPr id="17" name="Picture 16" descr="A close up of a logo&#10;&#10;AI-generated content may be incorrect.">
              <a:extLst>
                <a:ext uri="{FF2B5EF4-FFF2-40B4-BE49-F238E27FC236}">
                  <a16:creationId xmlns:a16="http://schemas.microsoft.com/office/drawing/2014/main" id="{4F7D3C1F-B805-B855-C16D-10A9C90A1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55" y="4621777"/>
              <a:ext cx="2007973" cy="553924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110F662-3C25-CEAF-84D8-284826CC7046}"/>
                </a:ext>
              </a:extLst>
            </p:cNvPr>
            <p:cNvSpPr txBox="1"/>
            <p:nvPr/>
          </p:nvSpPr>
          <p:spPr>
            <a:xfrm>
              <a:off x="1360373" y="5135818"/>
              <a:ext cx="131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Quattrocento Sans"/>
                </a:rPr>
                <a:t>Platform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endParaRPr>
            </a:p>
          </p:txBody>
        </p:sp>
      </p:grpSp>
      <p:sp>
        <p:nvSpPr>
          <p:cNvPr id="19" name="Left Brace 18">
            <a:extLst>
              <a:ext uri="{FF2B5EF4-FFF2-40B4-BE49-F238E27FC236}">
                <a16:creationId xmlns:a16="http://schemas.microsoft.com/office/drawing/2014/main" id="{39D66449-E1EB-AE38-860E-7CCE189506E3}"/>
              </a:ext>
            </a:extLst>
          </p:cNvPr>
          <p:cNvSpPr/>
          <p:nvPr/>
        </p:nvSpPr>
        <p:spPr>
          <a:xfrm>
            <a:off x="1080612" y="1419065"/>
            <a:ext cx="128587" cy="224732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11820"/>
              </a:solidFill>
              <a:effectLst/>
              <a:uLnTx/>
              <a:uFillTx/>
              <a:latin typeface="Open Sans"/>
              <a:ea typeface="Open Sans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46D366-DD9E-FE6C-4AAF-6401B3D506BE}"/>
              </a:ext>
            </a:extLst>
          </p:cNvPr>
          <p:cNvSpPr txBox="1"/>
          <p:nvPr/>
        </p:nvSpPr>
        <p:spPr>
          <a:xfrm>
            <a:off x="76625" y="4039445"/>
            <a:ext cx="20079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Wh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45E"/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45E"/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W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45E"/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45E"/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Ma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drive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30D175-65DE-6D4F-D489-A41560B6F1E9}"/>
              </a:ext>
            </a:extLst>
          </p:cNvPr>
          <p:cNvSpPr txBox="1"/>
          <p:nvPr/>
        </p:nvSpPr>
        <p:spPr>
          <a:xfrm>
            <a:off x="1209200" y="3865367"/>
            <a:ext cx="20512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Integrate the wallets into the KYC and KYB process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4573CD-6A6F-B4BA-A7F6-60530E9E2131}"/>
              </a:ext>
            </a:extLst>
          </p:cNvPr>
          <p:cNvSpPr txBox="1"/>
          <p:nvPr/>
        </p:nvSpPr>
        <p:spPr>
          <a:xfrm>
            <a:off x="3315377" y="3860023"/>
            <a:ext cx="20512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Become a Wallet Provid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3D3B05-CF2C-49C7-95DB-115339296DFE}"/>
              </a:ext>
            </a:extLst>
          </p:cNvPr>
          <p:cNvSpPr txBox="1"/>
          <p:nvPr/>
        </p:nvSpPr>
        <p:spPr>
          <a:xfrm>
            <a:off x="5566371" y="3860023"/>
            <a:ext cx="20512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Issue attribut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CAD058-45AA-D71E-8381-07BCB3EC758E}"/>
              </a:ext>
            </a:extLst>
          </p:cNvPr>
          <p:cNvSpPr txBox="1"/>
          <p:nvPr/>
        </p:nvSpPr>
        <p:spPr>
          <a:xfrm>
            <a:off x="7701615" y="3860023"/>
            <a:ext cx="20512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Sign with the walle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6C43681-351D-F78D-E751-F6D1BC6EE169}"/>
              </a:ext>
            </a:extLst>
          </p:cNvPr>
          <p:cNvSpPr txBox="1"/>
          <p:nvPr/>
        </p:nvSpPr>
        <p:spPr>
          <a:xfrm>
            <a:off x="1209199" y="4781696"/>
            <a:ext cx="223282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Mandatory request. Flexibility will be critic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11820"/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Security, cost saving &amp; higher conversion rat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9CB80D1-AE20-54C0-7B88-615EC202BFBD}"/>
              </a:ext>
            </a:extLst>
          </p:cNvPr>
          <p:cNvGrpSpPr/>
          <p:nvPr/>
        </p:nvGrpSpPr>
        <p:grpSpPr>
          <a:xfrm>
            <a:off x="9873273" y="1099036"/>
            <a:ext cx="2224929" cy="2557257"/>
            <a:chOff x="7546629" y="1713375"/>
            <a:chExt cx="2449200" cy="3321462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49E9BA5-8B90-D114-3BE1-C73971CC8F4D}"/>
                </a:ext>
              </a:extLst>
            </p:cNvPr>
            <p:cNvSpPr txBox="1"/>
            <p:nvPr/>
          </p:nvSpPr>
          <p:spPr>
            <a:xfrm>
              <a:off x="7630283" y="2150410"/>
              <a:ext cx="2365545" cy="2884427"/>
            </a:xfrm>
            <a:prstGeom prst="roundRect">
              <a:avLst>
                <a:gd name="adj" fmla="val 6697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rgbClr val="00A69D"/>
              </a:solidFill>
              <a:prstDash val="solid"/>
            </a:ln>
            <a:effectLst/>
          </p:spPr>
          <p:txBody>
            <a:bodyPr lIns="108000" tIns="0" rIns="108000" bIns="0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100" b="1" i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  <a:t>Payment integration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br>
                <a:rPr kumimoji="0" lang="en-US" sz="2000" b="0" i="0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 panose="020B0606030504020204" pitchFamily="34" charset="0"/>
                  <a:sym typeface="Arial"/>
                </a:rPr>
              </a:br>
              <a:r>
                <a:rPr kumimoji="0" lang="en-US" sz="2000" b="1" i="1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(pay with the wallet </a:t>
              </a:r>
              <a:r>
                <a:rPr kumimoji="0" lang="en-US" sz="2000" b="0" i="1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– depending from PSD3/PSR</a:t>
              </a:r>
              <a:r>
                <a:rPr kumimoji="0" lang="en-US" sz="2000" b="1" i="1" u="none" strike="noStrike" kern="0" cap="none" spc="-20" normalizeH="0" baseline="0" noProof="0">
                  <a:ln>
                    <a:noFill/>
                  </a:ln>
                  <a:solidFill>
                    <a:srgbClr val="11182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)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F67CECD-E9F8-28A0-F74D-C9EF3B14631D}"/>
                </a:ext>
              </a:extLst>
            </p:cNvPr>
            <p:cNvSpPr/>
            <p:nvPr/>
          </p:nvSpPr>
          <p:spPr>
            <a:xfrm>
              <a:off x="7546628" y="1713374"/>
              <a:ext cx="2449200" cy="559399"/>
            </a:xfrm>
            <a:prstGeom prst="ellipse">
              <a:avLst/>
            </a:prstGeom>
            <a:solidFill>
              <a:schemeClr val="tx1">
                <a:lumMod val="25000"/>
                <a:lumOff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Experimenting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A7D66EE4-1A19-FB71-9A59-0287A356F642}"/>
              </a:ext>
            </a:extLst>
          </p:cNvPr>
          <p:cNvSpPr txBox="1"/>
          <p:nvPr/>
        </p:nvSpPr>
        <p:spPr>
          <a:xfrm>
            <a:off x="3278452" y="4796498"/>
            <a:ext cx="220689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Higher user app usage and stickines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4019073-156D-7B8F-E5DD-7674CD49B802}"/>
              </a:ext>
            </a:extLst>
          </p:cNvPr>
          <p:cNvSpPr txBox="1"/>
          <p:nvPr/>
        </p:nvSpPr>
        <p:spPr>
          <a:xfrm>
            <a:off x="3310337" y="5714561"/>
            <a:ext cx="23877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Defensive and innovation positio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F785354-220F-781E-F264-6B4DFF370908}"/>
              </a:ext>
            </a:extLst>
          </p:cNvPr>
          <p:cNvSpPr txBox="1"/>
          <p:nvPr/>
        </p:nvSpPr>
        <p:spPr>
          <a:xfrm>
            <a:off x="5566371" y="4728327"/>
            <a:ext cx="22068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New revenu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4C020F-D10E-578E-D700-2A5674FB65BD}"/>
              </a:ext>
            </a:extLst>
          </p:cNvPr>
          <p:cNvSpPr txBox="1"/>
          <p:nvPr/>
        </p:nvSpPr>
        <p:spPr>
          <a:xfrm>
            <a:off x="5566371" y="5714562"/>
            <a:ext cx="21251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Revenues and partner network building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AA5FAE5-D11C-8289-F9AE-C4204C197870}"/>
              </a:ext>
            </a:extLst>
          </p:cNvPr>
          <p:cNvSpPr txBox="1"/>
          <p:nvPr/>
        </p:nvSpPr>
        <p:spPr>
          <a:xfrm>
            <a:off x="7701615" y="4721357"/>
            <a:ext cx="21251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Better UX for prospect and higher conversion rat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1DA97C2-DCF8-FED0-E227-EC79EAA17B2A}"/>
              </a:ext>
            </a:extLst>
          </p:cNvPr>
          <p:cNvSpPr txBox="1"/>
          <p:nvPr/>
        </p:nvSpPr>
        <p:spPr>
          <a:xfrm>
            <a:off x="7701615" y="5755464"/>
            <a:ext cx="21251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Better UX &amp; cost saving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4B88812-F6B3-9702-C12F-60B51331D575}"/>
              </a:ext>
            </a:extLst>
          </p:cNvPr>
          <p:cNvCxnSpPr/>
          <p:nvPr/>
        </p:nvCxnSpPr>
        <p:spPr>
          <a:xfrm>
            <a:off x="1080612" y="4696364"/>
            <a:ext cx="110175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B32150A-D0AE-CBA0-F1F1-CF6225F156E7}"/>
              </a:ext>
            </a:extLst>
          </p:cNvPr>
          <p:cNvCxnSpPr/>
          <p:nvPr/>
        </p:nvCxnSpPr>
        <p:spPr>
          <a:xfrm>
            <a:off x="1080612" y="5714562"/>
            <a:ext cx="110175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862AA556-F6E5-558F-BC3D-5EC1AB1F97B3}"/>
              </a:ext>
            </a:extLst>
          </p:cNvPr>
          <p:cNvSpPr txBox="1"/>
          <p:nvPr/>
        </p:nvSpPr>
        <p:spPr>
          <a:xfrm>
            <a:off x="9897607" y="3870168"/>
            <a:ext cx="20512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Pay with the wallet, account to accoun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DAFACE2-926E-4CF7-5D10-1D79816DB859}"/>
              </a:ext>
            </a:extLst>
          </p:cNvPr>
          <p:cNvSpPr txBox="1"/>
          <p:nvPr/>
        </p:nvSpPr>
        <p:spPr>
          <a:xfrm>
            <a:off x="9897607" y="4731502"/>
            <a:ext cx="21251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Potential new revenue fees and use cas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B1FF81D-357F-EE1F-872C-3273CBBF4368}"/>
              </a:ext>
            </a:extLst>
          </p:cNvPr>
          <p:cNvSpPr txBox="1"/>
          <p:nvPr/>
        </p:nvSpPr>
        <p:spPr>
          <a:xfrm>
            <a:off x="9897607" y="5765609"/>
            <a:ext cx="21251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820"/>
                </a:solidFill>
                <a:effectLst/>
                <a:uLnTx/>
                <a:uFillTx/>
                <a:latin typeface="Open Sans"/>
                <a:ea typeface="Open Sans"/>
                <a:cs typeface="Arial"/>
              </a:rPr>
              <a:t>Better UX &amp; revenues</a:t>
            </a:r>
          </a:p>
        </p:txBody>
      </p:sp>
      <p:sp>
        <p:nvSpPr>
          <p:cNvPr id="23" name="Title 28">
            <a:extLst>
              <a:ext uri="{FF2B5EF4-FFF2-40B4-BE49-F238E27FC236}">
                <a16:creationId xmlns:a16="http://schemas.microsoft.com/office/drawing/2014/main" id="{14D7CE37-0C46-4DAC-402A-4E28BF7CFC0B}"/>
              </a:ext>
            </a:extLst>
          </p:cNvPr>
          <p:cNvSpPr txBox="1">
            <a:spLocks/>
          </p:cNvSpPr>
          <p:nvPr/>
        </p:nvSpPr>
        <p:spPr>
          <a:xfrm>
            <a:off x="608682" y="562734"/>
            <a:ext cx="11174064" cy="441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  <a:sym typeface="Open Sans SemiBold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4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kern="0" dirty="0">
                <a:solidFill>
                  <a:srgbClr val="403F40"/>
                </a:solidFill>
                <a:latin typeface="Open Sans "/>
              </a:rPr>
              <a:t>Why a bank should move and how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51660790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rdA_Bg"/>
          <p:cNvSpPr>
            <a:spLocks noGrp="1"/>
          </p:cNvSpPr>
          <p:nvPr/>
        </p:nvSpPr>
        <p:spPr>
          <a:xfrm>
            <a:off x="240000" y="1120000"/>
            <a:ext cx="5556000" cy="5360000"/>
          </a:xfrm>
          <a:prstGeom prst="roundRect">
            <a:avLst>
              <a:gd name="adj" fmla="val 6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CardA_Badge"/>
          <p:cNvSpPr>
            <a:spLocks noGrp="1"/>
          </p:cNvSpPr>
          <p:nvPr/>
        </p:nvSpPr>
        <p:spPr>
          <a:xfrm>
            <a:off x="740000" y="1280000"/>
            <a:ext cx="640000" cy="640000"/>
          </a:xfrm>
          <a:prstGeom prst="ellipse">
            <a:avLst/>
          </a:prstGeom>
          <a:solidFill>
            <a:srgbClr val="00A69D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a)</a:t>
            </a:r>
          </a:p>
        </p:txBody>
      </p:sp>
      <p:sp>
        <p:nvSpPr>
          <p:cNvPr id="8" name="CardA_Hdr"/>
          <p:cNvSpPr txBox="1"/>
          <p:nvPr/>
        </p:nvSpPr>
        <p:spPr>
          <a:xfrm>
            <a:off x="1580000" y="1320000"/>
            <a:ext cx="4016000" cy="540000"/>
          </a:xfrm>
          <a:prstGeom prst="rect">
            <a:avLst/>
          </a:prstGeom>
          <a:noFill/>
          <a:ln>
            <a:noFill/>
          </a:ln>
        </p:spPr>
        <p:txBody>
          <a:bodyPr wrap="square" lIns="180000" tIns="90000" rIns="180000" bIns="90000" anchor="ctr">
            <a:normAutofit fontScale="77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Document-Based Ver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1" u="none" strike="noStrike" kern="0" cap="none" spc="0" normalizeH="0" baseline="0" noProof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Art. 22(6)(a) AMLR</a:t>
            </a:r>
          </a:p>
        </p:txBody>
      </p:sp>
      <p:sp>
        <p:nvSpPr>
          <p:cNvPr id="9" name="CardA_Div"/>
          <p:cNvSpPr>
            <a:spLocks noGrp="1"/>
          </p:cNvSpPr>
          <p:nvPr/>
        </p:nvSpPr>
        <p:spPr>
          <a:xfrm>
            <a:off x="600000" y="1970000"/>
            <a:ext cx="5036000" cy="30000"/>
          </a:xfrm>
          <a:prstGeom prst="rect">
            <a:avLst/>
          </a:prstGeom>
          <a:solidFill>
            <a:srgbClr val="33B8B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CardA_Body"/>
          <p:cNvSpPr txBox="1"/>
          <p:nvPr/>
        </p:nvSpPr>
        <p:spPr>
          <a:xfrm>
            <a:off x="660000" y="2040000"/>
            <a:ext cx="4956000" cy="3000000"/>
          </a:xfrm>
          <a:prstGeom prst="rect">
            <a:avLst/>
          </a:prstGeom>
          <a:noFill/>
          <a:ln>
            <a:noFill/>
          </a:ln>
        </p:spPr>
        <p:txBody>
          <a:bodyPr wrap="square" lIns="180000" tIns="90000" rIns="180000" bIns="9000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Obliged entities shall verify customer identity through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Submission of an identity document, passport or equivalent — and acquisition of information from reliable and independent sources, whether accessed directly or provided by the custom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8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</a:b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Key implication for </a:t>
            </a:r>
            <a:r>
              <a:rPr kumimoji="0" lang="en-US" sz="16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Namirial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Remote onboarding solutions must comply with biometric verification standards and produce auditable evidence chains.</a:t>
            </a:r>
          </a:p>
        </p:txBody>
      </p:sp>
      <p:sp>
        <p:nvSpPr>
          <p:cNvPr id="11" name="CardA_OutBg"/>
          <p:cNvSpPr>
            <a:spLocks noGrp="1"/>
          </p:cNvSpPr>
          <p:nvPr/>
        </p:nvSpPr>
        <p:spPr>
          <a:xfrm>
            <a:off x="600000" y="5620000"/>
            <a:ext cx="5036000" cy="56000"/>
          </a:xfrm>
          <a:prstGeom prst="rect">
            <a:avLst/>
          </a:prstGeom>
          <a:solidFill>
            <a:srgbClr val="33B8B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BoxA1"/>
          <p:cNvSpPr>
            <a:spLocks noGrp="1"/>
          </p:cNvSpPr>
          <p:nvPr/>
        </p:nvSpPr>
        <p:spPr>
          <a:xfrm>
            <a:off x="640000" y="5880000"/>
            <a:ext cx="2428000" cy="480000"/>
          </a:xfrm>
          <a:prstGeom prst="roundRect">
            <a:avLst>
              <a:gd name="adj" fmla="val 8000"/>
            </a:avLst>
          </a:prstGeom>
          <a:solidFill>
            <a:srgbClr val="00A69D"/>
          </a:solidFill>
          <a:ln w="19050">
            <a:noFill/>
          </a:ln>
        </p:spPr>
        <p:txBody>
          <a:bodyPr lIns="120000" tIns="60000" rIns="120000" bIns="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Biometric Identification</a:t>
            </a:r>
          </a:p>
        </p:txBody>
      </p:sp>
      <p:sp>
        <p:nvSpPr>
          <p:cNvPr id="14" name="BoxA2"/>
          <p:cNvSpPr>
            <a:spLocks noGrp="1"/>
          </p:cNvSpPr>
          <p:nvPr/>
        </p:nvSpPr>
        <p:spPr>
          <a:xfrm>
            <a:off x="3188000" y="5880000"/>
            <a:ext cx="2428000" cy="480000"/>
          </a:xfrm>
          <a:prstGeom prst="roundRect">
            <a:avLst>
              <a:gd name="adj" fmla="val 8000"/>
            </a:avLst>
          </a:prstGeom>
          <a:solidFill>
            <a:srgbClr val="1A2E38"/>
          </a:solidFill>
          <a:ln w="19050">
            <a:noFill/>
          </a:ln>
        </p:spPr>
        <p:txBody>
          <a:bodyPr lIns="120000" tIns="60000" rIns="120000" bIns="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Remote Onboarding</a:t>
            </a:r>
          </a:p>
        </p:txBody>
      </p:sp>
      <p:sp>
        <p:nvSpPr>
          <p:cNvPr id="15" name="CardB_Bg"/>
          <p:cNvSpPr>
            <a:spLocks noGrp="1"/>
          </p:cNvSpPr>
          <p:nvPr/>
        </p:nvSpPr>
        <p:spPr>
          <a:xfrm>
            <a:off x="6276000" y="1120000"/>
            <a:ext cx="5556000" cy="5360000"/>
          </a:xfrm>
          <a:prstGeom prst="roundRect">
            <a:avLst>
              <a:gd name="adj" fmla="val 6000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CardB_Badge"/>
          <p:cNvSpPr>
            <a:spLocks noGrp="1"/>
          </p:cNvSpPr>
          <p:nvPr/>
        </p:nvSpPr>
        <p:spPr>
          <a:xfrm>
            <a:off x="6776000" y="1280000"/>
            <a:ext cx="640000" cy="64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(b)</a:t>
            </a:r>
          </a:p>
        </p:txBody>
      </p:sp>
      <p:sp>
        <p:nvSpPr>
          <p:cNvPr id="19" name="CardB_Hdr"/>
          <p:cNvSpPr txBox="1"/>
          <p:nvPr/>
        </p:nvSpPr>
        <p:spPr>
          <a:xfrm>
            <a:off x="7616000" y="1320000"/>
            <a:ext cx="4016000" cy="540000"/>
          </a:xfrm>
          <a:prstGeom prst="rect">
            <a:avLst/>
          </a:prstGeom>
          <a:noFill/>
          <a:ln>
            <a:noFill/>
          </a:ln>
        </p:spPr>
        <p:txBody>
          <a:bodyPr wrap="square" lIns="180000" tIns="90000" rIns="180000" bIns="90000" anchor="ctr">
            <a:normAutofit fontScale="77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lectronic Means (</a:t>
            </a:r>
            <a:r>
              <a:rPr kumimoji="0" lang="en-US" sz="22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IDAS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1" u="none" strike="noStrike" kern="0" cap="none" spc="0" normalizeH="0" baseline="0" noProof="0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Reg. EU 910/2014 · Art. 22(6)(b) AMLR</a:t>
            </a:r>
          </a:p>
        </p:txBody>
      </p:sp>
      <p:sp>
        <p:nvSpPr>
          <p:cNvPr id="20" name="CardB_Div"/>
          <p:cNvSpPr>
            <a:spLocks noGrp="1"/>
          </p:cNvSpPr>
          <p:nvPr/>
        </p:nvSpPr>
        <p:spPr>
          <a:xfrm>
            <a:off x="6636000" y="1970000"/>
            <a:ext cx="5036000" cy="30000"/>
          </a:xfrm>
          <a:prstGeom prst="rect">
            <a:avLst/>
          </a:prstGeom>
          <a:solidFill>
            <a:srgbClr val="33B8B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" name="CardB_Body"/>
          <p:cNvSpPr txBox="1"/>
          <p:nvPr/>
        </p:nvSpPr>
        <p:spPr>
          <a:xfrm>
            <a:off x="6696000" y="2040000"/>
            <a:ext cx="4956000" cy="3000000"/>
          </a:xfrm>
          <a:prstGeom prst="rect">
            <a:avLst/>
          </a:prstGeom>
          <a:noFill/>
          <a:ln>
            <a:noFill/>
          </a:ln>
        </p:spPr>
        <p:txBody>
          <a:bodyPr wrap="square" lIns="180000" tIns="90000" rIns="180000" bIns="90000" anchor="t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lectronic identification means meeting </a:t>
            </a:r>
            <a:r>
              <a:rPr kumimoji="0" lang="en-US" sz="1800" b="0" i="1" u="none" strike="noStrike" kern="0" cap="none" spc="0" normalizeH="0" baseline="0" noProof="0" err="1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IDAS</a:t>
            </a: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 requirement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D0EAE8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Use of electronic identification means compliant with Regulation (EU) 910/2014, covering assurance levels 'Substantial' or 'High', plus relevant qualified trust servic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D0EAE8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8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Key implication for </a:t>
            </a:r>
            <a:r>
              <a:rPr kumimoji="0" lang="en-US" sz="16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Namirial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err="1">
                <a:ln>
                  <a:noFill/>
                </a:ln>
                <a:solidFill>
                  <a:srgbClr val="A8D5D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IDAS</a:t>
            </a:r>
            <a:r>
              <a: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A8D5D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-certified solutions (</a:t>
            </a:r>
            <a:r>
              <a:rPr kumimoji="0" lang="en-US" sz="1600" b="0" i="1" u="none" strike="noStrike" kern="0" cap="none" spc="0" normalizeH="0" baseline="0" noProof="0" err="1">
                <a:ln>
                  <a:noFill/>
                </a:ln>
                <a:solidFill>
                  <a:srgbClr val="A8D5D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IDs</a:t>
            </a:r>
            <a:r>
              <a: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A8D5D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, EUDI wallets, QES) provide the highest legal certainty for AML compliance — and are </a:t>
            </a:r>
            <a:r>
              <a:rPr kumimoji="0" lang="en-US" sz="1600" b="0" i="1" u="none" strike="noStrike" kern="0" cap="none" spc="0" normalizeH="0" baseline="0" noProof="0" err="1">
                <a:ln>
                  <a:noFill/>
                </a:ln>
                <a:solidFill>
                  <a:srgbClr val="A8D5D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Namirial's</a:t>
            </a:r>
            <a:r>
              <a:rPr kumimoji="0" lang="en-US" sz="1600" b="0" i="1" u="none" strike="noStrike" kern="0" cap="none" spc="0" normalizeH="0" baseline="0" noProof="0">
                <a:ln>
                  <a:noFill/>
                </a:ln>
                <a:solidFill>
                  <a:srgbClr val="A8D5D0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 core competency.</a:t>
            </a:r>
          </a:p>
        </p:txBody>
      </p:sp>
      <p:sp>
        <p:nvSpPr>
          <p:cNvPr id="22" name="CardB_OutBg"/>
          <p:cNvSpPr>
            <a:spLocks noGrp="1"/>
          </p:cNvSpPr>
          <p:nvPr/>
        </p:nvSpPr>
        <p:spPr>
          <a:xfrm>
            <a:off x="6636000" y="5620000"/>
            <a:ext cx="5036000" cy="56000"/>
          </a:xfrm>
          <a:prstGeom prst="rect">
            <a:avLst/>
          </a:prstGeom>
          <a:solidFill>
            <a:srgbClr val="111820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4" name="BoxB1"/>
          <p:cNvSpPr>
            <a:spLocks noGrp="1"/>
          </p:cNvSpPr>
          <p:nvPr/>
        </p:nvSpPr>
        <p:spPr>
          <a:xfrm>
            <a:off x="6676000" y="5880000"/>
            <a:ext cx="1618666" cy="480000"/>
          </a:xfrm>
          <a:prstGeom prst="roundRect">
            <a:avLst>
              <a:gd name="adj" fmla="val 8000"/>
            </a:avLst>
          </a:prstGeom>
          <a:solidFill>
            <a:srgbClr val="111820"/>
          </a:solidFill>
          <a:ln w="19050">
            <a:noFill/>
          </a:ln>
        </p:spPr>
        <p:txBody>
          <a:bodyPr lIns="120000" tIns="60000" rIns="120000" bIns="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err="1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IDs</a:t>
            </a: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CCEDEB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Arial"/>
            </a:endParaRPr>
          </a:p>
        </p:txBody>
      </p:sp>
      <p:sp>
        <p:nvSpPr>
          <p:cNvPr id="25" name="BoxB2"/>
          <p:cNvSpPr>
            <a:spLocks noGrp="1"/>
          </p:cNvSpPr>
          <p:nvPr/>
        </p:nvSpPr>
        <p:spPr>
          <a:xfrm>
            <a:off x="8384666" y="5880000"/>
            <a:ext cx="1618666" cy="480000"/>
          </a:xfrm>
          <a:prstGeom prst="roundRect">
            <a:avLst>
              <a:gd name="adj" fmla="val 8000"/>
            </a:avLst>
          </a:prstGeom>
          <a:solidFill>
            <a:schemeClr val="accent3"/>
          </a:solidFill>
          <a:ln w="19050">
            <a:noFill/>
          </a:ln>
        </p:spPr>
        <p:txBody>
          <a:bodyPr lIns="120000" tIns="60000" rIns="120000" bIns="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EUDI Wallets</a:t>
            </a:r>
          </a:p>
        </p:txBody>
      </p:sp>
      <p:sp>
        <p:nvSpPr>
          <p:cNvPr id="26" name="BoxB3"/>
          <p:cNvSpPr>
            <a:spLocks noGrp="1"/>
          </p:cNvSpPr>
          <p:nvPr/>
        </p:nvSpPr>
        <p:spPr>
          <a:xfrm>
            <a:off x="10093332" y="5880000"/>
            <a:ext cx="1618666" cy="480000"/>
          </a:xfrm>
          <a:prstGeom prst="roundRect">
            <a:avLst>
              <a:gd name="adj" fmla="val 8000"/>
            </a:avLst>
          </a:prstGeom>
          <a:solidFill>
            <a:srgbClr val="111820"/>
          </a:solidFill>
          <a:ln w="19050">
            <a:noFill/>
          </a:ln>
        </p:spPr>
        <p:txBody>
          <a:bodyPr lIns="120000" tIns="60000" rIns="120000" bIns="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CCEDEB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Arial"/>
              </a:rPr>
              <a:t>QES</a:t>
            </a:r>
          </a:p>
        </p:txBody>
      </p:sp>
      <p:sp>
        <p:nvSpPr>
          <p:cNvPr id="29" name="Title 28">
            <a:extLst>
              <a:ext uri="{FF2B5EF4-FFF2-40B4-BE49-F238E27FC236}">
                <a16:creationId xmlns:a16="http://schemas.microsoft.com/office/drawing/2014/main" id="{DCD5D590-704A-4311-80D8-C98DBDA97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403F40"/>
                </a:solidFill>
                <a:latin typeface="Open Sans "/>
              </a:rPr>
              <a:t>Where Laws Shake Hands: AMLR Art 22 Meets eIDAS – waiting new CDD RTS..</a:t>
            </a: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9BC305-1A52-B966-BF1E-7E2F50B6A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C8DD95-9F76-D234-578D-B4FDB39B1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111820"/>
                </a:solidFill>
                <a:latin typeface="Open Sans "/>
              </a:rPr>
              <a:t>The Window Opens: Turn Compliance Into Competitive Edg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A8BD7BF-23B7-E439-FC03-94E9D161A65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9927" y="2395774"/>
            <a:ext cx="1970157" cy="29552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642737B-1DF5-20DB-A84D-81615CFE6C6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6368" y="2395774"/>
            <a:ext cx="1970157" cy="2955236"/>
          </a:xfrm>
          <a:prstGeom prst="rect">
            <a:avLst/>
          </a:prstGeom>
        </p:spPr>
      </p:pic>
      <p:pic>
        <p:nvPicPr>
          <p:cNvPr id="16" name="Immagine 2" descr="Immagine che contiene natale, vestiti, persona, sorriso  Il contenuto generato dall&amp;#39;intelligenza artificiale potrebbe non essere corretto.">
            <a:extLst>
              <a:ext uri="{FF2B5EF4-FFF2-40B4-BE49-F238E27FC236}">
                <a16:creationId xmlns:a16="http://schemas.microsoft.com/office/drawing/2014/main" id="{F3EA6F9A-4F77-B136-3CE7-69EAFBBCDA0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486" y="2395774"/>
            <a:ext cx="1970157" cy="2955235"/>
          </a:xfrm>
          <a:prstGeom prst="rect">
            <a:avLst/>
          </a:prstGeom>
        </p:spPr>
      </p:pic>
      <p:sp>
        <p:nvSpPr>
          <p:cNvPr id="18" name="Redondear rectángulo de esquina del mismo lado 67">
            <a:extLst>
              <a:ext uri="{FF2B5EF4-FFF2-40B4-BE49-F238E27FC236}">
                <a16:creationId xmlns:a16="http://schemas.microsoft.com/office/drawing/2014/main" id="{D0F6FE59-3297-57BD-AC2F-22F61BDDF47B}"/>
              </a:ext>
            </a:extLst>
          </p:cNvPr>
          <p:cNvSpPr/>
          <p:nvPr/>
        </p:nvSpPr>
        <p:spPr>
          <a:xfrm>
            <a:off x="1406368" y="1052367"/>
            <a:ext cx="1970157" cy="788407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Dec </a:t>
            </a:r>
            <a:r>
              <a:rPr kumimoji="0" lang="en-GB" sz="1440" b="1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6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IDAS</a:t>
            </a:r>
            <a:endParaRPr kumimoji="0" lang="en-GB" sz="1440" b="1" i="0" u="none" strike="noStrike" kern="1200" cap="none" spc="0" normalizeH="0" baseline="0" noProof="0">
              <a:ln>
                <a:noFill/>
              </a:ln>
              <a:solidFill>
                <a:srgbClr val="030351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Wallet</a:t>
            </a: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 in all EU</a:t>
            </a:r>
          </a:p>
        </p:txBody>
      </p:sp>
      <p:sp>
        <p:nvSpPr>
          <p:cNvPr id="19" name="Redondear rectángulo de esquina del mismo lado 67">
            <a:extLst>
              <a:ext uri="{FF2B5EF4-FFF2-40B4-BE49-F238E27FC236}">
                <a16:creationId xmlns:a16="http://schemas.microsoft.com/office/drawing/2014/main" id="{7D1B970E-EF52-3646-02A0-CC120AF00032}"/>
              </a:ext>
            </a:extLst>
          </p:cNvPr>
          <p:cNvSpPr/>
          <p:nvPr/>
        </p:nvSpPr>
        <p:spPr>
          <a:xfrm>
            <a:off x="3639926" y="1052367"/>
            <a:ext cx="1970157" cy="1253036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July </a:t>
            </a:r>
            <a:r>
              <a:rPr kumimoji="0" lang="en-GB" sz="1440" b="1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7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MLR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rt 22 + RTS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New KYC Applicability</a:t>
            </a:r>
          </a:p>
        </p:txBody>
      </p:sp>
      <p:sp>
        <p:nvSpPr>
          <p:cNvPr id="20" name="Redondear rectángulo de esquina del mismo lado 67">
            <a:extLst>
              <a:ext uri="{FF2B5EF4-FFF2-40B4-BE49-F238E27FC236}">
                <a16:creationId xmlns:a16="http://schemas.microsoft.com/office/drawing/2014/main" id="{D62110C5-C95B-1DA4-8B6A-79F6C96563E0}"/>
              </a:ext>
            </a:extLst>
          </p:cNvPr>
          <p:cNvSpPr/>
          <p:nvPr/>
        </p:nvSpPr>
        <p:spPr>
          <a:xfrm>
            <a:off x="5873484" y="1052367"/>
            <a:ext cx="1970157" cy="1253036"/>
          </a:xfrm>
          <a:prstGeom prst="roundRect">
            <a:avLst>
              <a:gd name="adj" fmla="val 88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400" tIns="43200" rIns="86400" bIns="43200" rtlCol="0" anchor="ctr">
            <a:spAutoFit/>
          </a:bodyPr>
          <a:lstStyle>
            <a:defPPr>
              <a:defRPr lang="es-ES"/>
            </a:defPPr>
            <a:lvl1pPr marL="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Dec </a:t>
            </a:r>
            <a:r>
              <a:rPr kumimoji="0" lang="en-GB" sz="1440" b="1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2027</a:t>
            </a: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1" i="0" u="none" strike="noStrike" kern="1200" cap="none" spc="0" normalizeH="0" baseline="0" noProof="0" err="1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eIDAS</a:t>
            </a:r>
            <a:endParaRPr kumimoji="0" lang="en-GB" sz="1440" b="1" i="0" u="none" strike="noStrike" kern="1200" cap="none" spc="0" normalizeH="0" baseline="0" noProof="0">
              <a:ln>
                <a:noFill/>
              </a:ln>
              <a:solidFill>
                <a:srgbClr val="030351"/>
              </a:solidFill>
              <a:effectLst/>
              <a:uLnTx/>
              <a:uFillTx/>
              <a:latin typeface="Open Sans"/>
              <a:ea typeface="Open Sans"/>
              <a:cs typeface="Open Sans"/>
              <a:sym typeface="Arial"/>
            </a:endParaRPr>
          </a:p>
          <a:p>
            <a:pPr marL="0" marR="0" lvl="0" indent="0" algn="ctr" defTabSz="888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40" b="0" i="0" u="none" strike="noStrike" kern="1200" cap="none" spc="0" normalizeH="0" baseline="0" noProof="0">
                <a:ln>
                  <a:noFill/>
                </a:ln>
                <a:solidFill>
                  <a:srgbClr val="03035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Arial"/>
              </a:rPr>
              <a:t>Art. 5f Mandatory for regulated entities</a:t>
            </a:r>
          </a:p>
        </p:txBody>
      </p:sp>
      <p:sp>
        <p:nvSpPr>
          <p:cNvPr id="3" name="BoxA1">
            <a:extLst>
              <a:ext uri="{FF2B5EF4-FFF2-40B4-BE49-F238E27FC236}">
                <a16:creationId xmlns:a16="http://schemas.microsoft.com/office/drawing/2014/main" id="{91B2DD7C-DE6A-0FE9-CEFC-2B8B1330679E}"/>
              </a:ext>
            </a:extLst>
          </p:cNvPr>
          <p:cNvSpPr>
            <a:spLocks noGrp="1"/>
          </p:cNvSpPr>
          <p:nvPr/>
        </p:nvSpPr>
        <p:spPr>
          <a:xfrm>
            <a:off x="1406368" y="5441379"/>
            <a:ext cx="1970157" cy="1006287"/>
          </a:xfrm>
          <a:prstGeom prst="roundRect">
            <a:avLst>
              <a:gd name="adj" fmla="val 8000"/>
            </a:avLst>
          </a:prstGeom>
          <a:solidFill>
            <a:srgbClr val="00A69D"/>
          </a:solidFill>
          <a:ln w="19050">
            <a:noFill/>
          </a:ln>
        </p:spPr>
        <p:txBody>
          <a:bodyPr lIns="120000" tIns="60000" rIns="120000" bIns="60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Oh n. 1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we </a:t>
            </a:r>
            <a:r>
              <a:rPr kumimoji="0" lang="en-US" sz="1600" b="1" i="0" u="sng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have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a wallet!</a:t>
            </a:r>
          </a:p>
        </p:txBody>
      </p:sp>
      <p:sp>
        <p:nvSpPr>
          <p:cNvPr id="4" name="BoxA1">
            <a:extLst>
              <a:ext uri="{FF2B5EF4-FFF2-40B4-BE49-F238E27FC236}">
                <a16:creationId xmlns:a16="http://schemas.microsoft.com/office/drawing/2014/main" id="{D5C2C3CE-2FA0-2EFB-025B-0840EEF6AB51}"/>
              </a:ext>
            </a:extLst>
          </p:cNvPr>
          <p:cNvSpPr>
            <a:spLocks noGrp="1"/>
          </p:cNvSpPr>
          <p:nvPr/>
        </p:nvSpPr>
        <p:spPr>
          <a:xfrm>
            <a:off x="3639925" y="5441379"/>
            <a:ext cx="1970157" cy="1006287"/>
          </a:xfrm>
          <a:prstGeom prst="roundRect">
            <a:avLst>
              <a:gd name="adj" fmla="val 8000"/>
            </a:avLst>
          </a:prstGeom>
          <a:solidFill>
            <a:srgbClr val="00A69D"/>
          </a:solidFill>
          <a:ln w="19050">
            <a:noFill/>
          </a:ln>
        </p:spPr>
        <p:txBody>
          <a:bodyPr lIns="120000" tIns="60000" rIns="120000" bIns="60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Oh n. 2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we can accept wallet, </a:t>
            </a:r>
            <a:r>
              <a:rPr kumimoji="0" lang="en-US" sz="1600" b="1" i="0" u="sng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eID</a:t>
            </a:r>
            <a:r>
              <a:rPr kumimoji="0" lang="en-US" sz="1600" b="1" i="0" u="sng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or QES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!</a:t>
            </a:r>
          </a:p>
        </p:txBody>
      </p:sp>
      <p:sp>
        <p:nvSpPr>
          <p:cNvPr id="5" name="BoxA1">
            <a:extLst>
              <a:ext uri="{FF2B5EF4-FFF2-40B4-BE49-F238E27FC236}">
                <a16:creationId xmlns:a16="http://schemas.microsoft.com/office/drawing/2014/main" id="{A84AEFDD-223A-401E-2EDA-ABF98EC3BD59}"/>
              </a:ext>
            </a:extLst>
          </p:cNvPr>
          <p:cNvSpPr>
            <a:spLocks noGrp="1"/>
          </p:cNvSpPr>
          <p:nvPr/>
        </p:nvSpPr>
        <p:spPr>
          <a:xfrm>
            <a:off x="5873482" y="5448876"/>
            <a:ext cx="1970157" cy="1006287"/>
          </a:xfrm>
          <a:prstGeom prst="roundRect">
            <a:avLst>
              <a:gd name="adj" fmla="val 8000"/>
            </a:avLst>
          </a:prstGeom>
          <a:solidFill>
            <a:srgbClr val="00A69D"/>
          </a:solidFill>
          <a:ln w="19050">
            <a:noFill/>
          </a:ln>
        </p:spPr>
        <p:txBody>
          <a:bodyPr lIns="120000" tIns="60000" rIns="120000" bIns="60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Oh n.3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we must accept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the wallet!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CC41ED-BD3C-9B20-D6A5-34C5C0AD5EAD}"/>
              </a:ext>
            </a:extLst>
          </p:cNvPr>
          <p:cNvSpPr/>
          <p:nvPr/>
        </p:nvSpPr>
        <p:spPr>
          <a:xfrm>
            <a:off x="8654364" y="1052366"/>
            <a:ext cx="1944758" cy="5383363"/>
          </a:xfrm>
          <a:prstGeom prst="rect">
            <a:avLst/>
          </a:prstGeom>
          <a:solidFill>
            <a:srgbClr val="E5F6F5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645E"/>
              </a:solidFill>
              <a:effectLst/>
              <a:uLnTx/>
              <a:uFillTx/>
              <a:latin typeface="Open Sans"/>
              <a:ea typeface="Open Sans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 b="1" kern="0" dirty="0">
              <a:solidFill>
                <a:srgbClr val="00645E"/>
              </a:solidFill>
              <a:latin typeface="Open Sans"/>
              <a:ea typeface="Open Sans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645E"/>
              </a:solidFill>
              <a:effectLst/>
              <a:uLnTx/>
              <a:uFillTx/>
              <a:latin typeface="Open Sans"/>
              <a:ea typeface="Open Sans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Arial"/>
                <a:sym typeface="Arial"/>
              </a:rPr>
              <a:t>One clear message:</a:t>
            </a: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45E"/>
                </a:solidFill>
                <a:effectLst/>
                <a:uLnTx/>
                <a:uFillTx/>
                <a:latin typeface="Open Sans"/>
                <a:ea typeface="Open Sans"/>
                <a:cs typeface="Arial"/>
                <a:sym typeface="Arial"/>
              </a:rPr>
              <a:t>Review the KYC process! </a:t>
            </a:r>
          </a:p>
        </p:txBody>
      </p:sp>
      <p:pic>
        <p:nvPicPr>
          <p:cNvPr id="7" name="Google Shape;634;p35">
            <a:extLst>
              <a:ext uri="{FF2B5EF4-FFF2-40B4-BE49-F238E27FC236}">
                <a16:creationId xmlns:a16="http://schemas.microsoft.com/office/drawing/2014/main" id="{A64CE187-1E20-E102-57BF-BDC1451D1B66}"/>
              </a:ext>
            </a:extLst>
          </p:cNvPr>
          <p:cNvPicPr preferRelativeResize="0"/>
          <p:nvPr/>
        </p:nvPicPr>
        <p:blipFill>
          <a:blip r:embed="rId6">
            <a:alphaModFix/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902400" y="3188279"/>
            <a:ext cx="1448685" cy="137022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reccia a destra 7">
            <a:extLst>
              <a:ext uri="{FF2B5EF4-FFF2-40B4-BE49-F238E27FC236}">
                <a16:creationId xmlns:a16="http://schemas.microsoft.com/office/drawing/2014/main" id="{B46B1A25-18A9-BFC9-CF82-499B0C44F050}"/>
              </a:ext>
            </a:extLst>
          </p:cNvPr>
          <p:cNvSpPr/>
          <p:nvPr/>
        </p:nvSpPr>
        <p:spPr>
          <a:xfrm>
            <a:off x="8058150" y="2863850"/>
            <a:ext cx="375920" cy="164592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49177C-A949-96F6-DDA7-CCE9195D7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09828" y="4493981"/>
            <a:ext cx="1341257" cy="1341257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5803B2C8-4A78-1238-04E9-EE22B287A9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99339" y="5874278"/>
            <a:ext cx="1330768" cy="322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61054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3" grpId="0" animBg="1"/>
      <p:bldP spid="4" grpId="0" animBg="1"/>
      <p:bldP spid="5" grpId="0" animBg="1"/>
      <p:bldP spid="6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403F40"/>
                </a:solidFill>
                <a:latin typeface="Open Sans "/>
              </a:rPr>
              <a:t>The Wallet Revolution: Real Value at Scale</a:t>
            </a:r>
          </a:p>
        </p:txBody>
      </p:sp>
      <p:sp>
        <p:nvSpPr>
          <p:cNvPr id="10" name="Card01Bg"/>
          <p:cNvSpPr/>
          <p:nvPr/>
        </p:nvSpPr>
        <p:spPr>
          <a:xfrm>
            <a:off x="400000" y="1100000"/>
            <a:ext cx="5550000" cy="2620000"/>
          </a:xfrm>
          <a:prstGeom prst="rect">
            <a:avLst/>
          </a:prstGeom>
          <a:solidFill>
            <a:srgbClr val="E5F6F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Card01Hdr"/>
          <p:cNvSpPr/>
          <p:nvPr/>
        </p:nvSpPr>
        <p:spPr>
          <a:xfrm>
            <a:off x="400000" y="1100000"/>
            <a:ext cx="5550000" cy="4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Card01Badge"/>
          <p:cNvSpPr/>
          <p:nvPr/>
        </p:nvSpPr>
        <p:spPr bwMode="auto">
          <a:xfrm>
            <a:off x="480000" y="1150000"/>
            <a:ext cx="380000" cy="380000"/>
          </a:xfrm>
          <a:prstGeom prst="ellipse">
            <a:avLst/>
          </a:prstGeom>
          <a:solidFill>
            <a:srgbClr val="00A69D"/>
          </a:solidFill>
          <a:ln w="12700">
            <a:noFill/>
          </a:ln>
        </p:spPr>
        <p:txBody>
          <a:bodyPr wrap="square"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01</a:t>
            </a:r>
          </a:p>
        </p:txBody>
      </p:sp>
      <p:sp>
        <p:nvSpPr>
          <p:cNvPr id="13" name="Card01HdrTxt"/>
          <p:cNvSpPr txBox="1"/>
          <p:nvPr/>
        </p:nvSpPr>
        <p:spPr>
          <a:xfrm>
            <a:off x="980000" y="1167640"/>
            <a:ext cx="4890000" cy="384721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European Scale, step by step</a:t>
            </a:r>
          </a:p>
        </p:txBody>
      </p:sp>
      <p:sp>
        <p:nvSpPr>
          <p:cNvPr id="14" name="Card01Body"/>
          <p:cNvSpPr txBox="1"/>
          <p:nvPr/>
        </p:nvSpPr>
        <p:spPr>
          <a:xfrm>
            <a:off x="520000" y="1680000"/>
            <a:ext cx="5430000" cy="101309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1" u="none" strike="noStrike" kern="0" cap="none" spc="0" normalizeH="0" baseline="0" noProof="0" dirty="0">
                <a:ln>
                  <a:noFill/>
                </a:ln>
                <a:solidFill>
                  <a:srgbClr val="707079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ROM:  27 fragmented national identity syste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A69D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→  ONE EU-wide trusted digital identity framewor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srgbClr val="35364A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inancial institutions expand cross-border with a single onboarding process, reaching 450M+ EU citizens and reducing compliance costs.</a:t>
            </a:r>
          </a:p>
        </p:txBody>
      </p:sp>
      <p:sp>
        <p:nvSpPr>
          <p:cNvPr id="20" name="Card02Bg"/>
          <p:cNvSpPr/>
          <p:nvPr/>
        </p:nvSpPr>
        <p:spPr>
          <a:xfrm>
            <a:off x="6150000" y="1100000"/>
            <a:ext cx="5642000" cy="2620000"/>
          </a:xfrm>
          <a:prstGeom prst="rect">
            <a:avLst/>
          </a:prstGeom>
          <a:solidFill>
            <a:srgbClr val="E5F6F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" name="Card02Hdr"/>
          <p:cNvSpPr/>
          <p:nvPr/>
        </p:nvSpPr>
        <p:spPr>
          <a:xfrm>
            <a:off x="6150000" y="1100000"/>
            <a:ext cx="5642000" cy="4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2" name="Card02Badge"/>
          <p:cNvSpPr/>
          <p:nvPr/>
        </p:nvSpPr>
        <p:spPr bwMode="auto">
          <a:xfrm>
            <a:off x="6230000" y="1150000"/>
            <a:ext cx="380000" cy="380000"/>
          </a:xfrm>
          <a:prstGeom prst="ellipse">
            <a:avLst/>
          </a:prstGeom>
          <a:solidFill>
            <a:srgbClr val="00A69D"/>
          </a:solidFill>
          <a:ln w="12700">
            <a:noFill/>
          </a:ln>
        </p:spPr>
        <p:txBody>
          <a:bodyPr wrap="square"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02</a:t>
            </a:r>
          </a:p>
        </p:txBody>
      </p:sp>
      <p:sp>
        <p:nvSpPr>
          <p:cNvPr id="23" name="Card02HdrTxt"/>
          <p:cNvSpPr txBox="1"/>
          <p:nvPr/>
        </p:nvSpPr>
        <p:spPr>
          <a:xfrm>
            <a:off x="6730000" y="1180000"/>
            <a:ext cx="4982000" cy="36000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Speed &amp; User Experience</a:t>
            </a:r>
          </a:p>
        </p:txBody>
      </p:sp>
      <p:sp>
        <p:nvSpPr>
          <p:cNvPr id="24" name="Card02Body"/>
          <p:cNvSpPr txBox="1"/>
          <p:nvPr/>
        </p:nvSpPr>
        <p:spPr>
          <a:xfrm>
            <a:off x="6270000" y="1680000"/>
            <a:ext cx="5402000" cy="120545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1" u="none" strike="noStrike" kern="0" cap="none" spc="0" normalizeH="0" baseline="0" noProof="0">
                <a:ln>
                  <a:noFill/>
                </a:ln>
                <a:solidFill>
                  <a:srgbClr val="707079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ROM:  10+ minutes of manual KYC ver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A69D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→  Under 10 seconds automatic confir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50" b="0" i="0" u="none" strike="noStrike" kern="0" cap="none" spc="0" normalizeH="0" baseline="0" noProof="0">
                <a:ln>
                  <a:noFill/>
                </a:ln>
                <a:solidFill>
                  <a:srgbClr val="35364A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rictionless digital onboarding eliminates document submission and manual review. Faster time-to-serve means lower abandonment and higher conversion rates.</a:t>
            </a:r>
          </a:p>
        </p:txBody>
      </p:sp>
      <p:sp>
        <p:nvSpPr>
          <p:cNvPr id="30" name="Card03Bg"/>
          <p:cNvSpPr/>
          <p:nvPr/>
        </p:nvSpPr>
        <p:spPr>
          <a:xfrm>
            <a:off x="400000" y="3870000"/>
            <a:ext cx="5550000" cy="2620000"/>
          </a:xfrm>
          <a:prstGeom prst="rect">
            <a:avLst/>
          </a:prstGeom>
          <a:solidFill>
            <a:srgbClr val="E5F6F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" name="Card03Hdr"/>
          <p:cNvSpPr/>
          <p:nvPr/>
        </p:nvSpPr>
        <p:spPr>
          <a:xfrm>
            <a:off x="400000" y="3870000"/>
            <a:ext cx="5550000" cy="4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2" name="Card03Badge"/>
          <p:cNvSpPr/>
          <p:nvPr/>
        </p:nvSpPr>
        <p:spPr bwMode="auto">
          <a:xfrm>
            <a:off x="480000" y="3920000"/>
            <a:ext cx="380000" cy="380000"/>
          </a:xfrm>
          <a:prstGeom prst="ellipse">
            <a:avLst/>
          </a:prstGeom>
          <a:solidFill>
            <a:srgbClr val="00A69D"/>
          </a:solidFill>
          <a:ln w="12700">
            <a:noFill/>
          </a:ln>
        </p:spPr>
        <p:txBody>
          <a:bodyPr wrap="square"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03</a:t>
            </a:r>
          </a:p>
        </p:txBody>
      </p:sp>
      <p:sp>
        <p:nvSpPr>
          <p:cNvPr id="33" name="Card03HdrTxt"/>
          <p:cNvSpPr txBox="1"/>
          <p:nvPr/>
        </p:nvSpPr>
        <p:spPr>
          <a:xfrm>
            <a:off x="980000" y="3950000"/>
            <a:ext cx="4890000" cy="36000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Verified Attributes</a:t>
            </a:r>
          </a:p>
        </p:txBody>
      </p:sp>
      <p:sp>
        <p:nvSpPr>
          <p:cNvPr id="34" name="Card03Body"/>
          <p:cNvSpPr txBox="1"/>
          <p:nvPr/>
        </p:nvSpPr>
        <p:spPr>
          <a:xfrm>
            <a:off x="520000" y="4450000"/>
            <a:ext cx="5310000" cy="19900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1" u="none" strike="noStrike" kern="0" cap="none" spc="0" normalizeH="0" baseline="0" noProof="0">
                <a:ln>
                  <a:noFill/>
                </a:ln>
                <a:solidFill>
                  <a:srgbClr val="707079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ROM:  Physical documents, manual checks, step-by-step ver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A69D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→  Instant verified attribute delivery on dem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50" b="0" i="0" u="none" strike="noStrike" kern="0" cap="none" spc="0" normalizeH="0" baseline="0" noProof="0">
                <a:ln>
                  <a:noFill/>
                </a:ln>
                <a:solidFill>
                  <a:srgbClr val="35364A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Education, employment, address, health records — all cryptographically verified. Businesses receive only what they need, reducing liability and GDPR exposure.</a:t>
            </a:r>
          </a:p>
        </p:txBody>
      </p:sp>
      <p:sp>
        <p:nvSpPr>
          <p:cNvPr id="40" name="Card04Bg"/>
          <p:cNvSpPr/>
          <p:nvPr/>
        </p:nvSpPr>
        <p:spPr>
          <a:xfrm>
            <a:off x="6150000" y="3870000"/>
            <a:ext cx="5642000" cy="2620000"/>
          </a:xfrm>
          <a:prstGeom prst="rect">
            <a:avLst/>
          </a:prstGeom>
          <a:solidFill>
            <a:srgbClr val="E5F6F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" name="Card04Hdr"/>
          <p:cNvSpPr/>
          <p:nvPr/>
        </p:nvSpPr>
        <p:spPr>
          <a:xfrm>
            <a:off x="6150000" y="3870000"/>
            <a:ext cx="5642000" cy="4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2" name="Card04Badge"/>
          <p:cNvSpPr/>
          <p:nvPr/>
        </p:nvSpPr>
        <p:spPr bwMode="auto">
          <a:xfrm>
            <a:off x="6230000" y="3920000"/>
            <a:ext cx="380000" cy="380000"/>
          </a:xfrm>
          <a:prstGeom prst="ellipse">
            <a:avLst/>
          </a:prstGeom>
          <a:solidFill>
            <a:srgbClr val="00A69D"/>
          </a:solidFill>
          <a:ln w="12700">
            <a:noFill/>
          </a:ln>
        </p:spPr>
        <p:txBody>
          <a:bodyPr wrap="square"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04</a:t>
            </a:r>
          </a:p>
        </p:txBody>
      </p:sp>
      <p:sp>
        <p:nvSpPr>
          <p:cNvPr id="43" name="Card04HdrTxt"/>
          <p:cNvSpPr txBox="1"/>
          <p:nvPr/>
        </p:nvSpPr>
        <p:spPr>
          <a:xfrm>
            <a:off x="6730000" y="3950000"/>
            <a:ext cx="4982000" cy="36000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lywheel Effect &amp; New Use Cases</a:t>
            </a:r>
          </a:p>
        </p:txBody>
      </p:sp>
      <p:sp>
        <p:nvSpPr>
          <p:cNvPr id="44" name="Card04Body"/>
          <p:cNvSpPr txBox="1"/>
          <p:nvPr/>
        </p:nvSpPr>
        <p:spPr>
          <a:xfrm>
            <a:off x="6270000" y="4450000"/>
            <a:ext cx="5402000" cy="19900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1" u="none" strike="noStrike" kern="0" cap="none" spc="0" normalizeH="0" baseline="0" noProof="0">
                <a:ln>
                  <a:noFill/>
                </a:ln>
                <a:solidFill>
                  <a:srgbClr val="707079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FROM:  One-time compliance event per custom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A69D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→  Continuous recurring wallet interac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50" b="0" i="0" u="none" strike="noStrike" kern="0" cap="none" spc="0" normalizeH="0" baseline="0" noProof="0">
                <a:ln>
                  <a:noFill/>
                </a:ln>
                <a:solidFill>
                  <a:srgbClr val="35364A"/>
                </a:solidFill>
                <a:effectLst/>
                <a:uLnTx/>
                <a:uFillTx/>
                <a:latin typeface="Open Sans"/>
                <a:cs typeface="Arial"/>
                <a:sym typeface="Arial"/>
              </a:rPr>
              <a:t>Every new use case — authentication, payments, contract signing — drives further wallet adoption. Network effects create a self-reinforcing digital ecosystem.</a:t>
            </a:r>
          </a:p>
        </p:txBody>
      </p:sp>
    </p:spTree>
    <p:extLst>
      <p:ext uri="{BB962C8B-B14F-4D97-AF65-F5344CB8AC3E}">
        <p14:creationId xmlns:p14="http://schemas.microsoft.com/office/powerpoint/2010/main" val="38723354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3 Namirial Presentation Template - Green Version">
  <a:themeElements>
    <a:clrScheme name="Namirial">
      <a:dk1>
        <a:srgbClr val="111820"/>
      </a:dk1>
      <a:lt1>
        <a:srgbClr val="FFFFFF"/>
      </a:lt1>
      <a:dk2>
        <a:srgbClr val="35364A"/>
      </a:dk2>
      <a:lt2>
        <a:srgbClr val="F8F8F8"/>
      </a:lt2>
      <a:accent1>
        <a:srgbClr val="00A69D"/>
      </a:accent1>
      <a:accent2>
        <a:srgbClr val="00645E"/>
      </a:accent2>
      <a:accent3>
        <a:srgbClr val="80D3CE"/>
      </a:accent3>
      <a:accent4>
        <a:srgbClr val="CDCFD2"/>
      </a:accent4>
      <a:accent5>
        <a:srgbClr val="F8F8F7"/>
      </a:accent5>
      <a:accent6>
        <a:srgbClr val="686F77"/>
      </a:accent6>
      <a:hlink>
        <a:srgbClr val="0078B4"/>
      </a:hlink>
      <a:folHlink>
        <a:srgbClr val="004B70"/>
      </a:folHlink>
    </a:clrScheme>
    <a:fontScheme name="Namirial">
      <a:majorFont>
        <a:latin typeface="Open Sans Semibold"/>
        <a:ea typeface="Open Sans Semibold"/>
        <a:cs typeface="Arial"/>
      </a:majorFont>
      <a:minorFont>
        <a:latin typeface="Open Sans"/>
        <a:ea typeface="Open San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2023 Namirial Presentation Template - Green Version">
  <a:themeElements>
    <a:clrScheme name="Namirial-2024">
      <a:dk1>
        <a:srgbClr val="111820"/>
      </a:dk1>
      <a:lt1>
        <a:srgbClr val="FFFFFF"/>
      </a:lt1>
      <a:dk2>
        <a:srgbClr val="35364A"/>
      </a:dk2>
      <a:lt2>
        <a:srgbClr val="F7F7F8"/>
      </a:lt2>
      <a:accent1>
        <a:srgbClr val="CCEDEB"/>
      </a:accent1>
      <a:accent2>
        <a:srgbClr val="33B8B1"/>
      </a:accent2>
      <a:accent3>
        <a:srgbClr val="00A69D"/>
      </a:accent3>
      <a:accent4>
        <a:srgbClr val="00645E"/>
      </a:accent4>
      <a:accent5>
        <a:srgbClr val="CDCDD2"/>
      </a:accent5>
      <a:accent6>
        <a:srgbClr val="94949F"/>
      </a:accent6>
      <a:hlink>
        <a:srgbClr val="555667"/>
      </a:hlink>
      <a:folHlink>
        <a:srgbClr val="005E8C"/>
      </a:folHlink>
    </a:clrScheme>
    <a:fontScheme name="Namirial Default Font">
      <a:majorFont>
        <a:latin typeface="Open Sans Semi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sz="1200" dirty="0" smtClean="0">
            <a:solidFill>
              <a:schemeClr val="accent5">
                <a:lumMod val="10000"/>
              </a:schemeClr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4_2023 Namirial Presentation Template - Green Version">
  <a:themeElements>
    <a:clrScheme name="Namirial-2024">
      <a:dk1>
        <a:srgbClr val="111820"/>
      </a:dk1>
      <a:lt1>
        <a:srgbClr val="FFFFFF"/>
      </a:lt1>
      <a:dk2>
        <a:srgbClr val="35364A"/>
      </a:dk2>
      <a:lt2>
        <a:srgbClr val="F7F7F8"/>
      </a:lt2>
      <a:accent1>
        <a:srgbClr val="CCEDEB"/>
      </a:accent1>
      <a:accent2>
        <a:srgbClr val="33B8B1"/>
      </a:accent2>
      <a:accent3>
        <a:srgbClr val="00A69D"/>
      </a:accent3>
      <a:accent4>
        <a:srgbClr val="00645E"/>
      </a:accent4>
      <a:accent5>
        <a:srgbClr val="CDCDD2"/>
      </a:accent5>
      <a:accent6>
        <a:srgbClr val="94949F"/>
      </a:accent6>
      <a:hlink>
        <a:srgbClr val="555667"/>
      </a:hlink>
      <a:folHlink>
        <a:srgbClr val="005E8C"/>
      </a:folHlink>
    </a:clrScheme>
    <a:fontScheme name="Namirial Default Font">
      <a:majorFont>
        <a:latin typeface="Open Sans Semi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2023 Namirial Presentation Template - Green Version">
  <a:themeElements>
    <a:clrScheme name="Namirial 2022">
      <a:dk1>
        <a:srgbClr val="111820"/>
      </a:dk1>
      <a:lt1>
        <a:srgbClr val="FFFFFF"/>
      </a:lt1>
      <a:dk2>
        <a:srgbClr val="35364A"/>
      </a:dk2>
      <a:lt2>
        <a:srgbClr val="F8F8F8"/>
      </a:lt2>
      <a:accent1>
        <a:srgbClr val="00A69D"/>
      </a:accent1>
      <a:accent2>
        <a:srgbClr val="00645E"/>
      </a:accent2>
      <a:accent3>
        <a:srgbClr val="80D3CE"/>
      </a:accent3>
      <a:accent4>
        <a:srgbClr val="CDCFD2"/>
      </a:accent4>
      <a:accent5>
        <a:srgbClr val="F8F8F7"/>
      </a:accent5>
      <a:accent6>
        <a:srgbClr val="686F77"/>
      </a:accent6>
      <a:hlink>
        <a:srgbClr val="0078B4"/>
      </a:hlink>
      <a:folHlink>
        <a:srgbClr val="004B7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51</TotalTime>
  <Words>768</Words>
  <Application>Microsoft Macintosh PowerPoint</Application>
  <PresentationFormat>Widescreen</PresentationFormat>
  <Paragraphs>172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Aptos</vt:lpstr>
      <vt:lpstr>Arial</vt:lpstr>
      <vt:lpstr>Calibri</vt:lpstr>
      <vt:lpstr>Inter Medium</vt:lpstr>
      <vt:lpstr>Open Sans</vt:lpstr>
      <vt:lpstr>Open Sans </vt:lpstr>
      <vt:lpstr>Open Sans Light</vt:lpstr>
      <vt:lpstr>Open Sans SemiBold</vt:lpstr>
      <vt:lpstr>Open Sans SemiBold</vt:lpstr>
      <vt:lpstr>Quattrocento Sans</vt:lpstr>
      <vt:lpstr>2023 Namirial Presentation Template - Green Version</vt:lpstr>
      <vt:lpstr>2_2023 Namirial Presentation Template - Green Version</vt:lpstr>
      <vt:lpstr>4_2023 Namirial Presentation Template - Green Version</vt:lpstr>
      <vt:lpstr>5_2023 Namirial Presentation Template - Green Version</vt:lpstr>
      <vt:lpstr>think-cell Slide</vt:lpstr>
      <vt:lpstr>Identità Digitale e Pagamenti: il nuovo equilibrio europeo nell’era di eIDAS 2  </vt:lpstr>
      <vt:lpstr>PowerPoint Presentation</vt:lpstr>
      <vt:lpstr>PowerPoint Presentation</vt:lpstr>
      <vt:lpstr>PowerPoint Presentation</vt:lpstr>
      <vt:lpstr>Where Laws Shake Hands: AMLR Art 22 Meets eIDAS – waiting new CDD RTS..</vt:lpstr>
      <vt:lpstr>The Window Opens: Turn Compliance Into Competitive Edge</vt:lpstr>
      <vt:lpstr>The Wallet Revolution: Real Value at Sca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eo Panfilo</dc:creator>
  <cp:lastModifiedBy>Matteo Panfilo</cp:lastModifiedBy>
  <cp:revision>11</cp:revision>
  <dcterms:created xsi:type="dcterms:W3CDTF">2026-03-23T21:49:29Z</dcterms:created>
  <dcterms:modified xsi:type="dcterms:W3CDTF">2026-04-27T17:56:56Z</dcterms:modified>
</cp:coreProperties>
</file>